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32.xml" ContentType="application/vnd.openxmlformats-officedocument.presentationml.tags+xml"/>
  <Override PartName="/ppt/notesSlides/notesSlide4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4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37.xml" ContentType="application/vnd.openxmlformats-officedocument.presentationml.tags+xml"/>
  <Override PartName="/ppt/tags/tag38.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1.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55.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56.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57.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58.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39.xml" ContentType="application/vnd.openxmlformats-officedocument.presentationml.tags+xml"/>
  <Override PartName="/ppt/notesSlides/notesSlide5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6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46.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70.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71.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72.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73.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tags/tag47.xml" ContentType="application/vnd.openxmlformats-officedocument.presentationml.tags+xml"/>
  <Override PartName="/ppt/notesSlides/notesSlide74.xml" ContentType="application/vnd.openxmlformats-officedocument.presentationml.notesSlide+xml"/>
  <Override PartName="/ppt/tags/tag48.xml" ContentType="application/vnd.openxmlformats-officedocument.presentationml.tags+xml"/>
  <Override PartName="/ppt/notesSlides/notesSlide75.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tags/tag49.xml" ContentType="application/vnd.openxmlformats-officedocument.presentationml.tags+xml"/>
  <Override PartName="/ppt/notesSlides/notesSlide76.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tags/tag50.xml" ContentType="application/vnd.openxmlformats-officedocument.presentationml.tags+xml"/>
  <Override PartName="/ppt/notesSlides/notesSlide77.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78.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79.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8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6"/>
    <p:sldMasterId id="2147483763" r:id="rId17"/>
    <p:sldMasterId id="2147483834" r:id="rId18"/>
    <p:sldMasterId id="2147483891" r:id="rId19"/>
    <p:sldMasterId id="2147483986" r:id="rId20"/>
    <p:sldMasterId id="2147484037" r:id="rId21"/>
    <p:sldMasterId id="2147484085" r:id="rId22"/>
  </p:sldMasterIdLst>
  <p:notesMasterIdLst>
    <p:notesMasterId r:id="rId114"/>
  </p:notesMasterIdLst>
  <p:handoutMasterIdLst>
    <p:handoutMasterId r:id="rId115"/>
  </p:handoutMasterIdLst>
  <p:sldIdLst>
    <p:sldId id="260" r:id="rId23"/>
    <p:sldId id="562" r:id="rId24"/>
    <p:sldId id="561" r:id="rId25"/>
    <p:sldId id="534" r:id="rId26"/>
    <p:sldId id="1602" r:id="rId27"/>
    <p:sldId id="257" r:id="rId28"/>
    <p:sldId id="461" r:id="rId29"/>
    <p:sldId id="605" r:id="rId30"/>
    <p:sldId id="606" r:id="rId31"/>
    <p:sldId id="327" r:id="rId32"/>
    <p:sldId id="1499" r:id="rId33"/>
    <p:sldId id="531" r:id="rId34"/>
    <p:sldId id="1502" r:id="rId35"/>
    <p:sldId id="1503" r:id="rId36"/>
    <p:sldId id="608" r:id="rId37"/>
    <p:sldId id="612" r:id="rId38"/>
    <p:sldId id="1596" r:id="rId39"/>
    <p:sldId id="1597" r:id="rId40"/>
    <p:sldId id="611" r:id="rId41"/>
    <p:sldId id="620" r:id="rId42"/>
    <p:sldId id="560" r:id="rId43"/>
    <p:sldId id="563" r:id="rId44"/>
    <p:sldId id="564" r:id="rId45"/>
    <p:sldId id="565" r:id="rId46"/>
    <p:sldId id="1501" r:id="rId47"/>
    <p:sldId id="622" r:id="rId48"/>
    <p:sldId id="623" r:id="rId49"/>
    <p:sldId id="566" r:id="rId50"/>
    <p:sldId id="625" r:id="rId51"/>
    <p:sldId id="626" r:id="rId52"/>
    <p:sldId id="10027" r:id="rId53"/>
    <p:sldId id="10028" r:id="rId54"/>
    <p:sldId id="10023" r:id="rId55"/>
    <p:sldId id="569" r:id="rId56"/>
    <p:sldId id="571" r:id="rId57"/>
    <p:sldId id="572" r:id="rId58"/>
    <p:sldId id="573" r:id="rId59"/>
    <p:sldId id="667" r:id="rId60"/>
    <p:sldId id="638" r:id="rId61"/>
    <p:sldId id="639" r:id="rId62"/>
    <p:sldId id="640" r:id="rId63"/>
    <p:sldId id="641" r:id="rId64"/>
    <p:sldId id="642" r:id="rId65"/>
    <p:sldId id="643" r:id="rId66"/>
    <p:sldId id="574" r:id="rId67"/>
    <p:sldId id="664" r:id="rId68"/>
    <p:sldId id="576" r:id="rId69"/>
    <p:sldId id="577" r:id="rId70"/>
    <p:sldId id="585" r:id="rId71"/>
    <p:sldId id="586" r:id="rId72"/>
    <p:sldId id="652" r:id="rId73"/>
    <p:sldId id="653" r:id="rId74"/>
    <p:sldId id="654" r:id="rId75"/>
    <p:sldId id="656" r:id="rId76"/>
    <p:sldId id="657" r:id="rId77"/>
    <p:sldId id="1595" r:id="rId78"/>
    <p:sldId id="616" r:id="rId79"/>
    <p:sldId id="644" r:id="rId80"/>
    <p:sldId id="1593" r:id="rId81"/>
    <p:sldId id="1594" r:id="rId82"/>
    <p:sldId id="645" r:id="rId83"/>
    <p:sldId id="628" r:id="rId84"/>
    <p:sldId id="629" r:id="rId85"/>
    <p:sldId id="659" r:id="rId86"/>
    <p:sldId id="666" r:id="rId87"/>
    <p:sldId id="658" r:id="rId88"/>
    <p:sldId id="589" r:id="rId89"/>
    <p:sldId id="590" r:id="rId90"/>
    <p:sldId id="591" r:id="rId91"/>
    <p:sldId id="578" r:id="rId92"/>
    <p:sldId id="579" r:id="rId93"/>
    <p:sldId id="1397" r:id="rId94"/>
    <p:sldId id="362" r:id="rId95"/>
    <p:sldId id="10022" r:id="rId96"/>
    <p:sldId id="363" r:id="rId97"/>
    <p:sldId id="1520" r:id="rId98"/>
    <p:sldId id="1591" r:id="rId99"/>
    <p:sldId id="1598" r:id="rId100"/>
    <p:sldId id="1523" r:id="rId101"/>
    <p:sldId id="1524" r:id="rId102"/>
    <p:sldId id="1473" r:id="rId103"/>
    <p:sldId id="370" r:id="rId104"/>
    <p:sldId id="10024" r:id="rId105"/>
    <p:sldId id="10025" r:id="rId106"/>
    <p:sldId id="10026" r:id="rId107"/>
    <p:sldId id="360" r:id="rId108"/>
    <p:sldId id="1479" r:id="rId109"/>
    <p:sldId id="1498" r:id="rId110"/>
    <p:sldId id="583" r:id="rId111"/>
    <p:sldId id="584" r:id="rId112"/>
    <p:sldId id="259" r:id="rId113"/>
  </p:sldIdLst>
  <p:sldSz cx="12192000" cy="6858000"/>
  <p:notesSz cx="6858000" cy="9144000"/>
  <p:custDataLst>
    <p:tags r:id="rId1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Lst>
        </p14:section>
        <p14:section name="Lesson 1: Index Internals" id="{25ADF4C8-2200-4410-9F45-B05F5BA6D4E6}">
          <p14:sldIdLst>
            <p14:sldId id="561"/>
            <p14:sldId id="534"/>
            <p14:sldId id="1602"/>
            <p14:sldId id="257"/>
            <p14:sldId id="461"/>
            <p14:sldId id="605"/>
            <p14:sldId id="606"/>
            <p14:sldId id="327"/>
            <p14:sldId id="1499"/>
            <p14:sldId id="531"/>
            <p14:sldId id="1502"/>
            <p14:sldId id="1503"/>
            <p14:sldId id="608"/>
            <p14:sldId id="612"/>
            <p14:sldId id="1596"/>
            <p14:sldId id="1597"/>
            <p14:sldId id="611"/>
            <p14:sldId id="620"/>
            <p14:sldId id="560"/>
            <p14:sldId id="563"/>
          </p14:sldIdLst>
        </p14:section>
        <p14:section name="Lesson 2: Index Strategy" id="{6F639A05-2893-48A9-A600-6681E43668C4}">
          <p14:sldIdLst>
            <p14:sldId id="564"/>
            <p14:sldId id="565"/>
            <p14:sldId id="1501"/>
            <p14:sldId id="622"/>
            <p14:sldId id="623"/>
            <p14:sldId id="566"/>
            <p14:sldId id="625"/>
            <p14:sldId id="626"/>
            <p14:sldId id="10027"/>
            <p14:sldId id="10028"/>
            <p14:sldId id="10023"/>
            <p14:sldId id="569"/>
          </p14:sldIdLst>
        </p14:section>
        <p14:section name="Lesson 3: Partitioned Tables and Indexes" id="{555EB127-B06E-428F-91FE-B308FD5309AF}">
          <p14:sldIdLst>
            <p14:sldId id="571"/>
            <p14:sldId id="572"/>
            <p14:sldId id="573"/>
            <p14:sldId id="667"/>
            <p14:sldId id="638"/>
            <p14:sldId id="639"/>
            <p14:sldId id="640"/>
            <p14:sldId id="641"/>
            <p14:sldId id="642"/>
            <p14:sldId id="643"/>
            <p14:sldId id="574"/>
            <p14:sldId id="664"/>
            <p14:sldId id="576"/>
            <p14:sldId id="577"/>
          </p14:sldIdLst>
        </p14:section>
        <p14:section name="Lesson 4: Index Monitoring and Fragmentation" id="{116884A5-6A67-4FED-B1AB-448E0EBD0925}">
          <p14:sldIdLst>
            <p14:sldId id="585"/>
            <p14:sldId id="586"/>
            <p14:sldId id="652"/>
            <p14:sldId id="653"/>
            <p14:sldId id="654"/>
            <p14:sldId id="656"/>
            <p14:sldId id="657"/>
            <p14:sldId id="1595"/>
            <p14:sldId id="616"/>
            <p14:sldId id="644"/>
            <p14:sldId id="1593"/>
            <p14:sldId id="1594"/>
            <p14:sldId id="645"/>
            <p14:sldId id="628"/>
            <p14:sldId id="629"/>
            <p14:sldId id="659"/>
            <p14:sldId id="666"/>
            <p14:sldId id="658"/>
            <p14:sldId id="589"/>
            <p14:sldId id="590"/>
            <p14:sldId id="591"/>
          </p14:sldIdLst>
        </p14:section>
        <p14:section name="Lesson 5: Columnstore Indexes" id="{C164F977-020D-4418-9DE6-021C7FD230FE}">
          <p14:sldIdLst>
            <p14:sldId id="578"/>
            <p14:sldId id="579"/>
            <p14:sldId id="1397"/>
            <p14:sldId id="362"/>
            <p14:sldId id="10022"/>
            <p14:sldId id="363"/>
            <p14:sldId id="1520"/>
            <p14:sldId id="1591"/>
            <p14:sldId id="1598"/>
            <p14:sldId id="1523"/>
            <p14:sldId id="1524"/>
            <p14:sldId id="1473"/>
            <p14:sldId id="370"/>
            <p14:sldId id="10024"/>
            <p14:sldId id="10025"/>
            <p14:sldId id="10026"/>
            <p14:sldId id="360"/>
            <p14:sldId id="1479"/>
            <p14:sldId id="1498"/>
            <p14:sldId id="583"/>
            <p14:sldId id="584"/>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1080D7"/>
    <a:srgbClr val="CFC0E8"/>
    <a:srgbClr val="91ABD5"/>
    <a:srgbClr val="CFE5F7"/>
    <a:srgbClr val="3091DC"/>
    <a:srgbClr val="666666"/>
    <a:srgbClr val="00569B"/>
    <a:srgbClr val="D1D3D6"/>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C0E672-B7B6-48CC-BF11-DDA6C671B1E9}" v="225" dt="2023-04-05T16:09:42.8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69332" autoAdjust="0"/>
  </p:normalViewPr>
  <p:slideViewPr>
    <p:cSldViewPr snapToGrid="0">
      <p:cViewPr varScale="1">
        <p:scale>
          <a:sx n="57" d="100"/>
          <a:sy n="57" d="100"/>
        </p:scale>
        <p:origin x="1646"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117" Type="http://schemas.openxmlformats.org/officeDocument/2006/relationships/commentAuthors" Target="commentAuthors.xml"/><Relationship Id="rId21" Type="http://schemas.openxmlformats.org/officeDocument/2006/relationships/slideMaster" Target="slideMasters/slideMaster6.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slide" Target="slides/slide62.xml"/><Relationship Id="rId89" Type="http://schemas.openxmlformats.org/officeDocument/2006/relationships/slide" Target="slides/slide67.xml"/><Relationship Id="rId112" Type="http://schemas.openxmlformats.org/officeDocument/2006/relationships/slide" Target="slides/slide90.xml"/><Relationship Id="rId16" Type="http://schemas.openxmlformats.org/officeDocument/2006/relationships/slideMaster" Target="slideMasters/slideMaster1.xml"/><Relationship Id="rId107" Type="http://schemas.openxmlformats.org/officeDocument/2006/relationships/slide" Target="slides/slide85.xml"/><Relationship Id="rId11" Type="http://schemas.openxmlformats.org/officeDocument/2006/relationships/customXml" Target="../customXml/item11.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102" Type="http://schemas.openxmlformats.org/officeDocument/2006/relationships/slide" Target="slides/slide80.xml"/><Relationship Id="rId123" Type="http://schemas.microsoft.com/office/2015/10/relationships/revisionInfo" Target="revisionInfo.xml"/><Relationship Id="rId5" Type="http://schemas.openxmlformats.org/officeDocument/2006/relationships/customXml" Target="../customXml/item5.xml"/><Relationship Id="rId90" Type="http://schemas.openxmlformats.org/officeDocument/2006/relationships/slide" Target="slides/slide68.xml"/><Relationship Id="rId95" Type="http://schemas.openxmlformats.org/officeDocument/2006/relationships/slide" Target="slides/slide73.xml"/><Relationship Id="rId22" Type="http://schemas.openxmlformats.org/officeDocument/2006/relationships/slideMaster" Target="slideMasters/slideMaster7.xml"/><Relationship Id="rId27" Type="http://schemas.openxmlformats.org/officeDocument/2006/relationships/slide" Target="slides/slide5.xml"/><Relationship Id="rId43" Type="http://schemas.openxmlformats.org/officeDocument/2006/relationships/slide" Target="slides/slide21.xml"/><Relationship Id="rId48" Type="http://schemas.openxmlformats.org/officeDocument/2006/relationships/slide" Target="slides/slide26.xml"/><Relationship Id="rId64" Type="http://schemas.openxmlformats.org/officeDocument/2006/relationships/slide" Target="slides/slide42.xml"/><Relationship Id="rId69" Type="http://schemas.openxmlformats.org/officeDocument/2006/relationships/slide" Target="slides/slide47.xml"/><Relationship Id="rId113" Type="http://schemas.openxmlformats.org/officeDocument/2006/relationships/slide" Target="slides/slide91.xml"/><Relationship Id="rId118" Type="http://schemas.openxmlformats.org/officeDocument/2006/relationships/presProps" Target="presProps.xml"/><Relationship Id="rId80" Type="http://schemas.openxmlformats.org/officeDocument/2006/relationships/slide" Target="slides/slide58.xml"/><Relationship Id="rId85" Type="http://schemas.openxmlformats.org/officeDocument/2006/relationships/slide" Target="slides/slide63.xml"/><Relationship Id="rId12" Type="http://schemas.openxmlformats.org/officeDocument/2006/relationships/customXml" Target="../customXml/item12.xml"/><Relationship Id="rId17" Type="http://schemas.openxmlformats.org/officeDocument/2006/relationships/slideMaster" Target="slideMasters/slideMaster2.xml"/><Relationship Id="rId33" Type="http://schemas.openxmlformats.org/officeDocument/2006/relationships/slide" Target="slides/slide11.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08" Type="http://schemas.openxmlformats.org/officeDocument/2006/relationships/slide" Target="slides/slide86.xml"/><Relationship Id="rId54" Type="http://schemas.openxmlformats.org/officeDocument/2006/relationships/slide" Target="slides/slide32.xml"/><Relationship Id="rId70" Type="http://schemas.openxmlformats.org/officeDocument/2006/relationships/slide" Target="slides/slide48.xml"/><Relationship Id="rId75" Type="http://schemas.openxmlformats.org/officeDocument/2006/relationships/slide" Target="slides/slide53.xml"/><Relationship Id="rId91" Type="http://schemas.openxmlformats.org/officeDocument/2006/relationships/slide" Target="slides/slide69.xml"/><Relationship Id="rId96" Type="http://schemas.openxmlformats.org/officeDocument/2006/relationships/slide" Target="slides/slide74.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notesMaster" Target="notesMasters/notesMaster1.xml"/><Relationship Id="rId119" Type="http://schemas.openxmlformats.org/officeDocument/2006/relationships/viewProps" Target="viewProps.xml"/><Relationship Id="rId44" Type="http://schemas.openxmlformats.org/officeDocument/2006/relationships/slide" Target="slides/slide22.xml"/><Relationship Id="rId60" Type="http://schemas.openxmlformats.org/officeDocument/2006/relationships/slide" Target="slides/slide38.xml"/><Relationship Id="rId65" Type="http://schemas.openxmlformats.org/officeDocument/2006/relationships/slide" Target="slides/slide43.xml"/><Relationship Id="rId81" Type="http://schemas.openxmlformats.org/officeDocument/2006/relationships/slide" Target="slides/slide59.xml"/><Relationship Id="rId86" Type="http://schemas.openxmlformats.org/officeDocument/2006/relationships/slide" Target="slides/slide64.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3.xml"/><Relationship Id="rId39" Type="http://schemas.openxmlformats.org/officeDocument/2006/relationships/slide" Target="slides/slide17.xml"/><Relationship Id="rId109" Type="http://schemas.openxmlformats.org/officeDocument/2006/relationships/slide" Target="slides/slide8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04" Type="http://schemas.openxmlformats.org/officeDocument/2006/relationships/slide" Target="slides/slide82.xml"/><Relationship Id="rId120"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handoutMaster" Target="handoutMasters/handoutMaster1.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4.xml"/><Relationship Id="rId14" Type="http://schemas.openxmlformats.org/officeDocument/2006/relationships/customXml" Target="../customXml/item14.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8" Type="http://schemas.openxmlformats.org/officeDocument/2006/relationships/customXml" Target="../customXml/item8.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tags" Target="tags/tag1.xml"/><Relationship Id="rId20" Type="http://schemas.openxmlformats.org/officeDocument/2006/relationships/slideMaster" Target="slideMasters/slideMaster5.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5" Type="http://schemas.openxmlformats.org/officeDocument/2006/relationships/customXml" Target="../customXml/item15.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0" Type="http://schemas.openxmlformats.org/officeDocument/2006/relationships/customXml" Target="../customXml/item10.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Hord" userId="7478402321db30a2" providerId="LiveId" clId="{2BE8268A-D9D2-41A8-B4C6-48F6B669FF4C}"/>
    <pc:docChg chg="undo custSel modSld">
      <pc:chgData name="Steve Hord" userId="7478402321db30a2" providerId="LiveId" clId="{2BE8268A-D9D2-41A8-B4C6-48F6B669FF4C}" dt="2020-04-22T23:40:43.759" v="1155" actId="255"/>
      <pc:docMkLst>
        <pc:docMk/>
      </pc:docMkLst>
      <pc:sldChg chg="modSp modNotesTx">
        <pc:chgData name="Steve Hord" userId="7478402321db30a2" providerId="LiveId" clId="{2BE8268A-D9D2-41A8-B4C6-48F6B669FF4C}" dt="2020-04-21T22:24:11.498" v="73" actId="114"/>
        <pc:sldMkLst>
          <pc:docMk/>
          <pc:sldMk cId="4267675391" sldId="531"/>
        </pc:sldMkLst>
        <pc:spChg chg="mod">
          <ac:chgData name="Steve Hord" userId="7478402321db30a2" providerId="LiveId" clId="{2BE8268A-D9D2-41A8-B4C6-48F6B669FF4C}" dt="2020-04-21T22:23:46.709" v="71" actId="20577"/>
          <ac:spMkLst>
            <pc:docMk/>
            <pc:sldMk cId="4267675391" sldId="531"/>
            <ac:spMk id="6" creationId="{637E159C-9ACF-48AE-927A-D5FB13695C7F}"/>
          </ac:spMkLst>
        </pc:spChg>
      </pc:sldChg>
      <pc:sldChg chg="modSp">
        <pc:chgData name="Steve Hord" userId="7478402321db30a2" providerId="LiveId" clId="{2BE8268A-D9D2-41A8-B4C6-48F6B669FF4C}" dt="2020-04-21T21:57:35.650" v="3" actId="20577"/>
        <pc:sldMkLst>
          <pc:docMk/>
          <pc:sldMk cId="2621600474" sldId="534"/>
        </pc:sldMkLst>
        <pc:spChg chg="mod">
          <ac:chgData name="Steve Hord" userId="7478402321db30a2" providerId="LiveId" clId="{2BE8268A-D9D2-41A8-B4C6-48F6B669FF4C}" dt="2020-04-21T21:57:35.650" v="3" actId="20577"/>
          <ac:spMkLst>
            <pc:docMk/>
            <pc:sldMk cId="2621600474" sldId="534"/>
            <ac:spMk id="5" creationId="{55182462-DFDF-4D48-A92C-42FD52821C4E}"/>
          </ac:spMkLst>
        </pc:spChg>
      </pc:sldChg>
      <pc:sldChg chg="modSp">
        <pc:chgData name="Steve Hord" userId="7478402321db30a2" providerId="LiveId" clId="{2BE8268A-D9D2-41A8-B4C6-48F6B669FF4C}" dt="2020-04-21T22:35:44.645" v="107" actId="255"/>
        <pc:sldMkLst>
          <pc:docMk/>
          <pc:sldMk cId="2980146838" sldId="560"/>
        </pc:sldMkLst>
        <pc:spChg chg="mod">
          <ac:chgData name="Steve Hord" userId="7478402321db30a2" providerId="LiveId" clId="{2BE8268A-D9D2-41A8-B4C6-48F6B669FF4C}" dt="2020-04-21T22:35:44.645" v="107" actId="255"/>
          <ac:spMkLst>
            <pc:docMk/>
            <pc:sldMk cId="2980146838" sldId="560"/>
            <ac:spMk id="2" creationId="{4615BB0C-211A-4A6B-A4FE-D9C725309C49}"/>
          </ac:spMkLst>
        </pc:spChg>
      </pc:sldChg>
      <pc:sldChg chg="modSp modNotesTx">
        <pc:chgData name="Steve Hord" userId="7478402321db30a2" providerId="LiveId" clId="{2BE8268A-D9D2-41A8-B4C6-48F6B669FF4C}" dt="2020-04-21T22:38:54.992" v="112" actId="20577"/>
        <pc:sldMkLst>
          <pc:docMk/>
          <pc:sldMk cId="3735096506" sldId="563"/>
        </pc:sldMkLst>
        <pc:graphicFrameChg chg="mod">
          <ac:chgData name="Steve Hord" userId="7478402321db30a2" providerId="LiveId" clId="{2BE8268A-D9D2-41A8-B4C6-48F6B669FF4C}" dt="2020-04-21T22:37:31.828" v="110" actId="255"/>
          <ac:graphicFrameMkLst>
            <pc:docMk/>
            <pc:sldMk cId="3735096506" sldId="563"/>
            <ac:graphicFrameMk id="3" creationId="{9484E1FE-7534-495E-863C-657A46F5E628}"/>
          </ac:graphicFrameMkLst>
        </pc:graphicFrameChg>
      </pc:sldChg>
      <pc:sldChg chg="modSp">
        <pc:chgData name="Steve Hord" userId="7478402321db30a2" providerId="LiveId" clId="{2BE8268A-D9D2-41A8-B4C6-48F6B669FF4C}" dt="2020-04-21T22:41:23.571" v="119" actId="20577"/>
        <pc:sldMkLst>
          <pc:docMk/>
          <pc:sldMk cId="2034824179" sldId="565"/>
        </pc:sldMkLst>
        <pc:spChg chg="mod">
          <ac:chgData name="Steve Hord" userId="7478402321db30a2" providerId="LiveId" clId="{2BE8268A-D9D2-41A8-B4C6-48F6B669FF4C}" dt="2020-04-21T22:41:23.571" v="119" actId="20577"/>
          <ac:spMkLst>
            <pc:docMk/>
            <pc:sldMk cId="2034824179" sldId="565"/>
            <ac:spMk id="5" creationId="{55182462-DFDF-4D48-A92C-42FD52821C4E}"/>
          </ac:spMkLst>
        </pc:spChg>
      </pc:sldChg>
      <pc:sldChg chg="modSp">
        <pc:chgData name="Steve Hord" userId="7478402321db30a2" providerId="LiveId" clId="{2BE8268A-D9D2-41A8-B4C6-48F6B669FF4C}" dt="2020-04-21T23:09:46.321" v="147" actId="20577"/>
        <pc:sldMkLst>
          <pc:docMk/>
          <pc:sldMk cId="4221783869" sldId="566"/>
        </pc:sldMkLst>
        <pc:graphicFrameChg chg="mod">
          <ac:chgData name="Steve Hord" userId="7478402321db30a2" providerId="LiveId" clId="{2BE8268A-D9D2-41A8-B4C6-48F6B669FF4C}" dt="2020-04-21T23:09:46.321" v="147" actId="20577"/>
          <ac:graphicFrameMkLst>
            <pc:docMk/>
            <pc:sldMk cId="4221783869" sldId="566"/>
            <ac:graphicFrameMk id="5" creationId="{25A6B57F-352F-4FDB-9602-F090C817F748}"/>
          </ac:graphicFrameMkLst>
        </pc:graphicFrameChg>
      </pc:sldChg>
      <pc:sldChg chg="modSp">
        <pc:chgData name="Steve Hord" userId="7478402321db30a2" providerId="LiveId" clId="{2BE8268A-D9D2-41A8-B4C6-48F6B669FF4C}" dt="2020-04-22T16:54:25.556" v="448" actId="255"/>
        <pc:sldMkLst>
          <pc:docMk/>
          <pc:sldMk cId="1617064737" sldId="569"/>
        </pc:sldMkLst>
        <pc:spChg chg="mod">
          <ac:chgData name="Steve Hord" userId="7478402321db30a2" providerId="LiveId" clId="{2BE8268A-D9D2-41A8-B4C6-48F6B669FF4C}" dt="2020-04-22T16:54:25.556" v="448" actId="255"/>
          <ac:spMkLst>
            <pc:docMk/>
            <pc:sldMk cId="1617064737" sldId="569"/>
            <ac:spMk id="2" creationId="{4615BB0C-211A-4A6B-A4FE-D9C725309C49}"/>
          </ac:spMkLst>
        </pc:spChg>
      </pc:sldChg>
      <pc:sldChg chg="modSp modNotesTx">
        <pc:chgData name="Steve Hord" userId="7478402321db30a2" providerId="LiveId" clId="{2BE8268A-D9D2-41A8-B4C6-48F6B669FF4C}" dt="2020-04-22T17:00:06.946" v="458" actId="114"/>
        <pc:sldMkLst>
          <pc:docMk/>
          <pc:sldMk cId="2346840044" sldId="570"/>
        </pc:sldMkLst>
        <pc:graphicFrameChg chg="mod">
          <ac:chgData name="Steve Hord" userId="7478402321db30a2" providerId="LiveId" clId="{2BE8268A-D9D2-41A8-B4C6-48F6B669FF4C}" dt="2020-04-22T16:56:17.086" v="454" actId="255"/>
          <ac:graphicFrameMkLst>
            <pc:docMk/>
            <pc:sldMk cId="2346840044" sldId="570"/>
            <ac:graphicFrameMk id="3" creationId="{9484E1FE-7534-495E-863C-657A46F5E628}"/>
          </ac:graphicFrameMkLst>
        </pc:graphicFrameChg>
      </pc:sldChg>
      <pc:sldChg chg="modSp">
        <pc:chgData name="Steve Hord" userId="7478402321db30a2" providerId="LiveId" clId="{2BE8268A-D9D2-41A8-B4C6-48F6B669FF4C}" dt="2020-04-22T17:01:19.453" v="465" actId="20577"/>
        <pc:sldMkLst>
          <pc:docMk/>
          <pc:sldMk cId="2314306782" sldId="572"/>
        </pc:sldMkLst>
        <pc:spChg chg="mod">
          <ac:chgData name="Steve Hord" userId="7478402321db30a2" providerId="LiveId" clId="{2BE8268A-D9D2-41A8-B4C6-48F6B669FF4C}" dt="2020-04-22T17:01:19.453" v="465" actId="20577"/>
          <ac:spMkLst>
            <pc:docMk/>
            <pc:sldMk cId="2314306782" sldId="572"/>
            <ac:spMk id="5" creationId="{55182462-DFDF-4D48-A92C-42FD52821C4E}"/>
          </ac:spMkLst>
        </pc:spChg>
      </pc:sldChg>
      <pc:sldChg chg="modSp">
        <pc:chgData name="Steve Hord" userId="7478402321db30a2" providerId="LiveId" clId="{2BE8268A-D9D2-41A8-B4C6-48F6B669FF4C}" dt="2020-04-22T17:02:35.297" v="467" actId="255"/>
        <pc:sldMkLst>
          <pc:docMk/>
          <pc:sldMk cId="4248838292" sldId="573"/>
        </pc:sldMkLst>
        <pc:graphicFrameChg chg="mod">
          <ac:chgData name="Steve Hord" userId="7478402321db30a2" providerId="LiveId" clId="{2BE8268A-D9D2-41A8-B4C6-48F6B669FF4C}" dt="2020-04-22T17:02:35.297" v="467" actId="255"/>
          <ac:graphicFrameMkLst>
            <pc:docMk/>
            <pc:sldMk cId="4248838292" sldId="573"/>
            <ac:graphicFrameMk id="5" creationId="{1F83612F-0834-42B2-AA7B-98B8BAB0DB29}"/>
          </ac:graphicFrameMkLst>
        </pc:graphicFrameChg>
      </pc:sldChg>
      <pc:sldChg chg="modSp modNotesTx">
        <pc:chgData name="Steve Hord" userId="7478402321db30a2" providerId="LiveId" clId="{2BE8268A-D9D2-41A8-B4C6-48F6B669FF4C}" dt="2020-04-22T18:06:35.563" v="557" actId="114"/>
        <pc:sldMkLst>
          <pc:docMk/>
          <pc:sldMk cId="1487953619" sldId="574"/>
        </pc:sldMkLst>
        <pc:spChg chg="mod">
          <ac:chgData name="Steve Hord" userId="7478402321db30a2" providerId="LiveId" clId="{2BE8268A-D9D2-41A8-B4C6-48F6B669FF4C}" dt="2020-04-22T18:06:27.564" v="556" actId="20577"/>
          <ac:spMkLst>
            <pc:docMk/>
            <pc:sldMk cId="1487953619" sldId="574"/>
            <ac:spMk id="6" creationId="{637E159C-9ACF-48AE-927A-D5FB13695C7F}"/>
          </ac:spMkLst>
        </pc:spChg>
      </pc:sldChg>
      <pc:sldChg chg="modSp">
        <pc:chgData name="Steve Hord" userId="7478402321db30a2" providerId="LiveId" clId="{2BE8268A-D9D2-41A8-B4C6-48F6B669FF4C}" dt="2020-04-22T18:07:33.107" v="558" actId="255"/>
        <pc:sldMkLst>
          <pc:docMk/>
          <pc:sldMk cId="1775931326" sldId="576"/>
        </pc:sldMkLst>
        <pc:spChg chg="mod">
          <ac:chgData name="Steve Hord" userId="7478402321db30a2" providerId="LiveId" clId="{2BE8268A-D9D2-41A8-B4C6-48F6B669FF4C}" dt="2020-04-22T18:07:33.107" v="558" actId="255"/>
          <ac:spMkLst>
            <pc:docMk/>
            <pc:sldMk cId="1775931326" sldId="576"/>
            <ac:spMk id="2" creationId="{4615BB0C-211A-4A6B-A4FE-D9C725309C49}"/>
          </ac:spMkLst>
        </pc:spChg>
      </pc:sldChg>
      <pc:sldChg chg="modSp modNotesTx">
        <pc:chgData name="Steve Hord" userId="7478402321db30a2" providerId="LiveId" clId="{2BE8268A-D9D2-41A8-B4C6-48F6B669FF4C}" dt="2020-04-22T18:13:01.409" v="566" actId="20577"/>
        <pc:sldMkLst>
          <pc:docMk/>
          <pc:sldMk cId="4206133277" sldId="577"/>
        </pc:sldMkLst>
        <pc:graphicFrameChg chg="mod">
          <ac:chgData name="Steve Hord" userId="7478402321db30a2" providerId="LiveId" clId="{2BE8268A-D9D2-41A8-B4C6-48F6B669FF4C}" dt="2020-04-22T18:08:31.996" v="562" actId="20577"/>
          <ac:graphicFrameMkLst>
            <pc:docMk/>
            <pc:sldMk cId="4206133277" sldId="577"/>
            <ac:graphicFrameMk id="3" creationId="{9484E1FE-7534-495E-863C-657A46F5E628}"/>
          </ac:graphicFrameMkLst>
        </pc:graphicFrameChg>
      </pc:sldChg>
      <pc:sldChg chg="modSp">
        <pc:chgData name="Steve Hord" userId="7478402321db30a2" providerId="LiveId" clId="{2BE8268A-D9D2-41A8-B4C6-48F6B669FF4C}" dt="2020-04-22T18:13:46.389" v="569" actId="20577"/>
        <pc:sldMkLst>
          <pc:docMk/>
          <pc:sldMk cId="3424530645" sldId="579"/>
        </pc:sldMkLst>
        <pc:spChg chg="mod">
          <ac:chgData name="Steve Hord" userId="7478402321db30a2" providerId="LiveId" clId="{2BE8268A-D9D2-41A8-B4C6-48F6B669FF4C}" dt="2020-04-22T18:13:46.389" v="569" actId="20577"/>
          <ac:spMkLst>
            <pc:docMk/>
            <pc:sldMk cId="3424530645" sldId="579"/>
            <ac:spMk id="5" creationId="{55182462-DFDF-4D48-A92C-42FD52821C4E}"/>
          </ac:spMkLst>
        </pc:spChg>
      </pc:sldChg>
      <pc:sldChg chg="modNotesTx">
        <pc:chgData name="Steve Hord" userId="7478402321db30a2" providerId="LiveId" clId="{2BE8268A-D9D2-41A8-B4C6-48F6B669FF4C}" dt="2020-04-22T20:33:24.327" v="735" actId="114"/>
        <pc:sldMkLst>
          <pc:docMk/>
          <pc:sldMk cId="3006523152" sldId="581"/>
        </pc:sldMkLst>
      </pc:sldChg>
      <pc:sldChg chg="modSp">
        <pc:chgData name="Steve Hord" userId="7478402321db30a2" providerId="LiveId" clId="{2BE8268A-D9D2-41A8-B4C6-48F6B669FF4C}" dt="2020-04-22T20:34:28.472" v="737" actId="255"/>
        <pc:sldMkLst>
          <pc:docMk/>
          <pc:sldMk cId="376975876" sldId="583"/>
        </pc:sldMkLst>
        <pc:spChg chg="mod">
          <ac:chgData name="Steve Hord" userId="7478402321db30a2" providerId="LiveId" clId="{2BE8268A-D9D2-41A8-B4C6-48F6B669FF4C}" dt="2020-04-22T20:34:28.472" v="737" actId="255"/>
          <ac:spMkLst>
            <pc:docMk/>
            <pc:sldMk cId="376975876" sldId="583"/>
            <ac:spMk id="2" creationId="{4615BB0C-211A-4A6B-A4FE-D9C725309C49}"/>
          </ac:spMkLst>
        </pc:spChg>
      </pc:sldChg>
      <pc:sldChg chg="modSp modNotesTx">
        <pc:chgData name="Steve Hord" userId="7478402321db30a2" providerId="LiveId" clId="{2BE8268A-D9D2-41A8-B4C6-48F6B669FF4C}" dt="2020-04-22T20:36:27.275" v="741" actId="20577"/>
        <pc:sldMkLst>
          <pc:docMk/>
          <pc:sldMk cId="2444463328" sldId="584"/>
        </pc:sldMkLst>
        <pc:graphicFrameChg chg="mod">
          <ac:chgData name="Steve Hord" userId="7478402321db30a2" providerId="LiveId" clId="{2BE8268A-D9D2-41A8-B4C6-48F6B669FF4C}" dt="2020-04-22T20:35:41.757" v="740" actId="255"/>
          <ac:graphicFrameMkLst>
            <pc:docMk/>
            <pc:sldMk cId="2444463328" sldId="584"/>
            <ac:graphicFrameMk id="3" creationId="{9484E1FE-7534-495E-863C-657A46F5E628}"/>
          </ac:graphicFrameMkLst>
        </pc:graphicFrameChg>
      </pc:sldChg>
      <pc:sldChg chg="modSp">
        <pc:chgData name="Steve Hord" userId="7478402321db30a2" providerId="LiveId" clId="{2BE8268A-D9D2-41A8-B4C6-48F6B669FF4C}" dt="2020-04-22T20:37:18.662" v="749" actId="20577"/>
        <pc:sldMkLst>
          <pc:docMk/>
          <pc:sldMk cId="3258136525" sldId="586"/>
        </pc:sldMkLst>
        <pc:spChg chg="mod">
          <ac:chgData name="Steve Hord" userId="7478402321db30a2" providerId="LiveId" clId="{2BE8268A-D9D2-41A8-B4C6-48F6B669FF4C}" dt="2020-04-22T20:37:18.662" v="749" actId="20577"/>
          <ac:spMkLst>
            <pc:docMk/>
            <pc:sldMk cId="3258136525" sldId="586"/>
            <ac:spMk id="5" creationId="{55182462-DFDF-4D48-A92C-42FD52821C4E}"/>
          </ac:spMkLst>
        </pc:spChg>
      </pc:sldChg>
      <pc:sldChg chg="modSp modNotesTx">
        <pc:chgData name="Steve Hord" userId="7478402321db30a2" providerId="LiveId" clId="{2BE8268A-D9D2-41A8-B4C6-48F6B669FF4C}" dt="2020-04-22T22:33:27.016" v="884" actId="114"/>
        <pc:sldMkLst>
          <pc:docMk/>
          <pc:sldMk cId="1564438252" sldId="588"/>
        </pc:sldMkLst>
        <pc:spChg chg="mod">
          <ac:chgData name="Steve Hord" userId="7478402321db30a2" providerId="LiveId" clId="{2BE8268A-D9D2-41A8-B4C6-48F6B669FF4C}" dt="2020-04-22T22:33:18.994" v="883" actId="20577"/>
          <ac:spMkLst>
            <pc:docMk/>
            <pc:sldMk cId="1564438252" sldId="588"/>
            <ac:spMk id="6" creationId="{637E159C-9ACF-48AE-927A-D5FB13695C7F}"/>
          </ac:spMkLst>
        </pc:spChg>
      </pc:sldChg>
      <pc:sldChg chg="modSp">
        <pc:chgData name="Steve Hord" userId="7478402321db30a2" providerId="LiveId" clId="{2BE8268A-D9D2-41A8-B4C6-48F6B669FF4C}" dt="2020-04-22T22:33:54.689" v="885" actId="255"/>
        <pc:sldMkLst>
          <pc:docMk/>
          <pc:sldMk cId="1844966639" sldId="590"/>
        </pc:sldMkLst>
        <pc:spChg chg="mod">
          <ac:chgData name="Steve Hord" userId="7478402321db30a2" providerId="LiveId" clId="{2BE8268A-D9D2-41A8-B4C6-48F6B669FF4C}" dt="2020-04-22T22:33:54.689" v="885" actId="255"/>
          <ac:spMkLst>
            <pc:docMk/>
            <pc:sldMk cId="1844966639" sldId="590"/>
            <ac:spMk id="2" creationId="{4615BB0C-211A-4A6B-A4FE-D9C725309C49}"/>
          </ac:spMkLst>
        </pc:spChg>
      </pc:sldChg>
      <pc:sldChg chg="modSp modNotesTx">
        <pc:chgData name="Steve Hord" userId="7478402321db30a2" providerId="LiveId" clId="{2BE8268A-D9D2-41A8-B4C6-48F6B669FF4C}" dt="2020-04-22T22:35:40.674" v="891" actId="20577"/>
        <pc:sldMkLst>
          <pc:docMk/>
          <pc:sldMk cId="1737290916" sldId="591"/>
        </pc:sldMkLst>
        <pc:graphicFrameChg chg="mod">
          <ac:chgData name="Steve Hord" userId="7478402321db30a2" providerId="LiveId" clId="{2BE8268A-D9D2-41A8-B4C6-48F6B669FF4C}" dt="2020-04-22T22:34:51.928" v="888" actId="255"/>
          <ac:graphicFrameMkLst>
            <pc:docMk/>
            <pc:sldMk cId="1737290916" sldId="591"/>
            <ac:graphicFrameMk id="3" creationId="{9484E1FE-7534-495E-863C-657A46F5E628}"/>
          </ac:graphicFrameMkLst>
        </pc:graphicFrameChg>
      </pc:sldChg>
      <pc:sldChg chg="modSp">
        <pc:chgData name="Steve Hord" userId="7478402321db30a2" providerId="LiveId" clId="{2BE8268A-D9D2-41A8-B4C6-48F6B669FF4C}" dt="2020-04-22T22:36:46.626" v="895" actId="20577"/>
        <pc:sldMkLst>
          <pc:docMk/>
          <pc:sldMk cId="1849063011" sldId="593"/>
        </pc:sldMkLst>
        <pc:spChg chg="mod">
          <ac:chgData name="Steve Hord" userId="7478402321db30a2" providerId="LiveId" clId="{2BE8268A-D9D2-41A8-B4C6-48F6B669FF4C}" dt="2020-04-22T22:36:46.626" v="895" actId="20577"/>
          <ac:spMkLst>
            <pc:docMk/>
            <pc:sldMk cId="1849063011" sldId="593"/>
            <ac:spMk id="5" creationId="{55182462-DFDF-4D48-A92C-42FD52821C4E}"/>
          </ac:spMkLst>
        </pc:spChg>
      </pc:sldChg>
      <pc:sldChg chg="modSp">
        <pc:chgData name="Steve Hord" userId="7478402321db30a2" providerId="LiveId" clId="{2BE8268A-D9D2-41A8-B4C6-48F6B669FF4C}" dt="2020-04-22T23:40:43.759" v="1155" actId="255"/>
        <pc:sldMkLst>
          <pc:docMk/>
          <pc:sldMk cId="4224256510" sldId="597"/>
        </pc:sldMkLst>
        <pc:spChg chg="mod">
          <ac:chgData name="Steve Hord" userId="7478402321db30a2" providerId="LiveId" clId="{2BE8268A-D9D2-41A8-B4C6-48F6B669FF4C}" dt="2020-04-22T23:40:43.759" v="1155" actId="255"/>
          <ac:spMkLst>
            <pc:docMk/>
            <pc:sldMk cId="4224256510" sldId="597"/>
            <ac:spMk id="2" creationId="{4615BB0C-211A-4A6B-A4FE-D9C725309C49}"/>
          </ac:spMkLst>
        </pc:spChg>
      </pc:sldChg>
      <pc:sldChg chg="modSp modNotesTx">
        <pc:chgData name="Steve Hord" userId="7478402321db30a2" providerId="LiveId" clId="{2BE8268A-D9D2-41A8-B4C6-48F6B669FF4C}" dt="2020-04-21T22:04:54.941" v="27" actId="115"/>
        <pc:sldMkLst>
          <pc:docMk/>
          <pc:sldMk cId="230581017" sldId="605"/>
        </pc:sldMkLst>
        <pc:graphicFrameChg chg="mod">
          <ac:chgData name="Steve Hord" userId="7478402321db30a2" providerId="LiveId" clId="{2BE8268A-D9D2-41A8-B4C6-48F6B669FF4C}" dt="2020-04-21T22:02:19.312" v="17" actId="20577"/>
          <ac:graphicFrameMkLst>
            <pc:docMk/>
            <pc:sldMk cId="230581017" sldId="605"/>
            <ac:graphicFrameMk id="5" creationId="{B4B3A3A5-9D01-4F4F-AACF-3434015E1C8E}"/>
          </ac:graphicFrameMkLst>
        </pc:graphicFrameChg>
      </pc:sldChg>
      <pc:sldChg chg="modNotesTx">
        <pc:chgData name="Steve Hord" userId="7478402321db30a2" providerId="LiveId" clId="{2BE8268A-D9D2-41A8-B4C6-48F6B669FF4C}" dt="2020-04-21T22:12:01.585" v="38" actId="20577"/>
        <pc:sldMkLst>
          <pc:docMk/>
          <pc:sldMk cId="2390424317" sldId="606"/>
        </pc:sldMkLst>
      </pc:sldChg>
      <pc:sldChg chg="modSp modNotesTx">
        <pc:chgData name="Steve Hord" userId="7478402321db30a2" providerId="LiveId" clId="{2BE8268A-D9D2-41A8-B4C6-48F6B669FF4C}" dt="2020-04-21T22:00:53.154" v="13" actId="6549"/>
        <pc:sldMkLst>
          <pc:docMk/>
          <pc:sldMk cId="1325009333" sldId="607"/>
        </pc:sldMkLst>
        <pc:graphicFrameChg chg="mod">
          <ac:chgData name="Steve Hord" userId="7478402321db30a2" providerId="LiveId" clId="{2BE8268A-D9D2-41A8-B4C6-48F6B669FF4C}" dt="2020-04-21T21:58:23.171" v="5" actId="20577"/>
          <ac:graphicFrameMkLst>
            <pc:docMk/>
            <pc:sldMk cId="1325009333" sldId="607"/>
            <ac:graphicFrameMk id="16" creationId="{93C23775-6963-43D2-A76C-D134C16F4E3C}"/>
          </ac:graphicFrameMkLst>
        </pc:graphicFrameChg>
      </pc:sldChg>
      <pc:sldChg chg="modSp modNotesTx">
        <pc:chgData name="Steve Hord" userId="7478402321db30a2" providerId="LiveId" clId="{2BE8268A-D9D2-41A8-B4C6-48F6B669FF4C}" dt="2020-04-21T22:18:59.871" v="49" actId="20577"/>
        <pc:sldMkLst>
          <pc:docMk/>
          <pc:sldMk cId="442293443" sldId="608"/>
        </pc:sldMkLst>
        <pc:spChg chg="mod">
          <ac:chgData name="Steve Hord" userId="7478402321db30a2" providerId="LiveId" clId="{2BE8268A-D9D2-41A8-B4C6-48F6B669FF4C}" dt="2020-04-21T22:14:33.161" v="39" actId="20577"/>
          <ac:spMkLst>
            <pc:docMk/>
            <pc:sldMk cId="442293443" sldId="608"/>
            <ac:spMk id="3" creationId="{F35E8CBB-5A7D-4DEF-BAF7-8DD5D042F9E0}"/>
          </ac:spMkLst>
        </pc:spChg>
        <pc:graphicFrameChg chg="mod">
          <ac:chgData name="Steve Hord" userId="7478402321db30a2" providerId="LiveId" clId="{2BE8268A-D9D2-41A8-B4C6-48F6B669FF4C}" dt="2020-04-21T22:15:44.505" v="48" actId="20577"/>
          <ac:graphicFrameMkLst>
            <pc:docMk/>
            <pc:sldMk cId="442293443" sldId="608"/>
            <ac:graphicFrameMk id="7" creationId="{CF7C7A3B-A65D-40B2-92A1-6E44F518C1B2}"/>
          </ac:graphicFrameMkLst>
        </pc:graphicFrameChg>
      </pc:sldChg>
      <pc:sldChg chg="modNotesTx">
        <pc:chgData name="Steve Hord" userId="7478402321db30a2" providerId="LiveId" clId="{2BE8268A-D9D2-41A8-B4C6-48F6B669FF4C}" dt="2020-04-21T22:22:19.326" v="69" actId="20577"/>
        <pc:sldMkLst>
          <pc:docMk/>
          <pc:sldMk cId="3928707589" sldId="609"/>
        </pc:sldMkLst>
      </pc:sldChg>
      <pc:sldChg chg="modSp">
        <pc:chgData name="Steve Hord" userId="7478402321db30a2" providerId="LiveId" clId="{2BE8268A-D9D2-41A8-B4C6-48F6B669FF4C}" dt="2020-04-21T22:27:35.911" v="79" actId="20577"/>
        <pc:sldMkLst>
          <pc:docMk/>
          <pc:sldMk cId="2729675242" sldId="611"/>
        </pc:sldMkLst>
        <pc:graphicFrameChg chg="mod">
          <ac:chgData name="Steve Hord" userId="7478402321db30a2" providerId="LiveId" clId="{2BE8268A-D9D2-41A8-B4C6-48F6B669FF4C}" dt="2020-04-21T22:27:35.911" v="79" actId="20577"/>
          <ac:graphicFrameMkLst>
            <pc:docMk/>
            <pc:sldMk cId="2729675242" sldId="611"/>
            <ac:graphicFrameMk id="14" creationId="{5A678193-540D-4760-9964-3541B6B737B9}"/>
          </ac:graphicFrameMkLst>
        </pc:graphicFrameChg>
      </pc:sldChg>
      <pc:sldChg chg="modSp modNotesTx">
        <pc:chgData name="Steve Hord" userId="7478402321db30a2" providerId="LiveId" clId="{2BE8268A-D9D2-41A8-B4C6-48F6B669FF4C}" dt="2020-04-21T22:32:45.670" v="95" actId="313"/>
        <pc:sldMkLst>
          <pc:docMk/>
          <pc:sldMk cId="4229513381" sldId="612"/>
        </pc:sldMkLst>
        <pc:graphicFrameChg chg="mod">
          <ac:chgData name="Steve Hord" userId="7478402321db30a2" providerId="LiveId" clId="{2BE8268A-D9D2-41A8-B4C6-48F6B669FF4C}" dt="2020-04-21T22:29:42.833" v="84" actId="20577"/>
          <ac:graphicFrameMkLst>
            <pc:docMk/>
            <pc:sldMk cId="4229513381" sldId="612"/>
            <ac:graphicFrameMk id="6" creationId="{072122DA-A0C2-49BE-8963-1784B342297D}"/>
          </ac:graphicFrameMkLst>
        </pc:graphicFrameChg>
      </pc:sldChg>
      <pc:sldChg chg="modSp modNotesTx">
        <pc:chgData name="Steve Hord" userId="7478402321db30a2" providerId="LiveId" clId="{2BE8268A-D9D2-41A8-B4C6-48F6B669FF4C}" dt="2020-04-21T22:35:30.478" v="106" actId="20577"/>
        <pc:sldMkLst>
          <pc:docMk/>
          <pc:sldMk cId="3301692604" sldId="616"/>
        </pc:sldMkLst>
        <pc:spChg chg="mod">
          <ac:chgData name="Steve Hord" userId="7478402321db30a2" providerId="LiveId" clId="{2BE8268A-D9D2-41A8-B4C6-48F6B669FF4C}" dt="2020-04-21T22:33:57.575" v="99" actId="14100"/>
          <ac:spMkLst>
            <pc:docMk/>
            <pc:sldMk cId="3301692604" sldId="616"/>
            <ac:spMk id="8" creationId="{A1A983F2-5871-48C1-95D4-E5D9ADD59778}"/>
          </ac:spMkLst>
        </pc:spChg>
        <pc:graphicFrameChg chg="mod">
          <ac:chgData name="Steve Hord" userId="7478402321db30a2" providerId="LiveId" clId="{2BE8268A-D9D2-41A8-B4C6-48F6B669FF4C}" dt="2020-04-21T22:35:02.666" v="105" actId="20577"/>
          <ac:graphicFrameMkLst>
            <pc:docMk/>
            <pc:sldMk cId="3301692604" sldId="616"/>
            <ac:graphicFrameMk id="6" creationId="{5612EB1D-0D08-4DC1-A9CE-1B591A4F97E6}"/>
          </ac:graphicFrameMkLst>
        </pc:graphicFrameChg>
      </pc:sldChg>
      <pc:sldChg chg="modNotesTx">
        <pc:chgData name="Steve Hord" userId="7478402321db30a2" providerId="LiveId" clId="{2BE8268A-D9D2-41A8-B4C6-48F6B669FF4C}" dt="2020-04-21T22:33:23.706" v="96" actId="114"/>
        <pc:sldMkLst>
          <pc:docMk/>
          <pc:sldMk cId="3117416934" sldId="620"/>
        </pc:sldMkLst>
      </pc:sldChg>
      <pc:sldChg chg="modNotesTx">
        <pc:chgData name="Steve Hord" userId="7478402321db30a2" providerId="LiveId" clId="{2BE8268A-D9D2-41A8-B4C6-48F6B669FF4C}" dt="2020-04-21T22:45:33.370" v="126" actId="115"/>
        <pc:sldMkLst>
          <pc:docMk/>
          <pc:sldMk cId="4187810366" sldId="622"/>
        </pc:sldMkLst>
      </pc:sldChg>
      <pc:sldChg chg="modSp modNotesTx">
        <pc:chgData name="Steve Hord" userId="7478402321db30a2" providerId="LiveId" clId="{2BE8268A-D9D2-41A8-B4C6-48F6B669FF4C}" dt="2020-04-21T22:49:56.611" v="135" actId="113"/>
        <pc:sldMkLst>
          <pc:docMk/>
          <pc:sldMk cId="1318002608" sldId="623"/>
        </pc:sldMkLst>
        <pc:graphicFrameChg chg="mod">
          <ac:chgData name="Steve Hord" userId="7478402321db30a2" providerId="LiveId" clId="{2BE8268A-D9D2-41A8-B4C6-48F6B669FF4C}" dt="2020-04-21T22:47:08.705" v="127" actId="255"/>
          <ac:graphicFrameMkLst>
            <pc:docMk/>
            <pc:sldMk cId="1318002608" sldId="623"/>
            <ac:graphicFrameMk id="6" creationId="{FE39FBFC-2347-4F5C-9A5B-6BC4070C7FFE}"/>
          </ac:graphicFrameMkLst>
        </pc:graphicFrameChg>
      </pc:sldChg>
      <pc:sldChg chg="modSp modNotesTx">
        <pc:chgData name="Steve Hord" userId="7478402321db30a2" providerId="LiveId" clId="{2BE8268A-D9D2-41A8-B4C6-48F6B669FF4C}" dt="2020-04-21T22:58:06.519" v="137" actId="114"/>
        <pc:sldMkLst>
          <pc:docMk/>
          <pc:sldMk cId="1706074310" sldId="624"/>
        </pc:sldMkLst>
        <pc:spChg chg="mod">
          <ac:chgData name="Steve Hord" userId="7478402321db30a2" providerId="LiveId" clId="{2BE8268A-D9D2-41A8-B4C6-48F6B669FF4C}" dt="2020-04-21T22:57:56.957" v="136" actId="20577"/>
          <ac:spMkLst>
            <pc:docMk/>
            <pc:sldMk cId="1706074310" sldId="624"/>
            <ac:spMk id="6" creationId="{637E159C-9ACF-48AE-927A-D5FB13695C7F}"/>
          </ac:spMkLst>
        </pc:spChg>
      </pc:sldChg>
      <pc:sldChg chg="modSp modNotesTx">
        <pc:chgData name="Steve Hord" userId="7478402321db30a2" providerId="LiveId" clId="{2BE8268A-D9D2-41A8-B4C6-48F6B669FF4C}" dt="2020-04-21T23:20:40.880" v="287" actId="6549"/>
        <pc:sldMkLst>
          <pc:docMk/>
          <pc:sldMk cId="3250101842" sldId="625"/>
        </pc:sldMkLst>
        <pc:graphicFrameChg chg="mod">
          <ac:chgData name="Steve Hord" userId="7478402321db30a2" providerId="LiveId" clId="{2BE8268A-D9D2-41A8-B4C6-48F6B669FF4C}" dt="2020-04-21T23:11:44.162" v="158" actId="20577"/>
          <ac:graphicFrameMkLst>
            <pc:docMk/>
            <pc:sldMk cId="3250101842" sldId="625"/>
            <ac:graphicFrameMk id="5" creationId="{5D7438D8-5693-4DB1-95DC-55A0C8D2FCF2}"/>
          </ac:graphicFrameMkLst>
        </pc:graphicFrameChg>
      </pc:sldChg>
      <pc:sldChg chg="modSp modNotesTx">
        <pc:chgData name="Steve Hord" userId="7478402321db30a2" providerId="LiveId" clId="{2BE8268A-D9D2-41A8-B4C6-48F6B669FF4C}" dt="2020-04-21T23:24:20.135" v="297" actId="20577"/>
        <pc:sldMkLst>
          <pc:docMk/>
          <pc:sldMk cId="2221033715" sldId="626"/>
        </pc:sldMkLst>
        <pc:graphicFrameChg chg="mod">
          <ac:chgData name="Steve Hord" userId="7478402321db30a2" providerId="LiveId" clId="{2BE8268A-D9D2-41A8-B4C6-48F6B669FF4C}" dt="2020-04-21T23:22:54.027" v="291" actId="20577"/>
          <ac:graphicFrameMkLst>
            <pc:docMk/>
            <pc:sldMk cId="2221033715" sldId="626"/>
            <ac:graphicFrameMk id="6" creationId="{C6DD82E5-4CD6-4965-867A-3C9E652E2635}"/>
          </ac:graphicFrameMkLst>
        </pc:graphicFrameChg>
      </pc:sldChg>
      <pc:sldChg chg="modSp modNotesTx">
        <pc:chgData name="Steve Hord" userId="7478402321db30a2" providerId="LiveId" clId="{2BE8268A-D9D2-41A8-B4C6-48F6B669FF4C}" dt="2020-04-21T23:33:09.789" v="326" actId="20577"/>
        <pc:sldMkLst>
          <pc:docMk/>
          <pc:sldMk cId="2095964457" sldId="627"/>
        </pc:sldMkLst>
        <pc:graphicFrameChg chg="mod">
          <ac:chgData name="Steve Hord" userId="7478402321db30a2" providerId="LiveId" clId="{2BE8268A-D9D2-41A8-B4C6-48F6B669FF4C}" dt="2020-04-21T23:28:23.481" v="313" actId="20577"/>
          <ac:graphicFrameMkLst>
            <pc:docMk/>
            <pc:sldMk cId="2095964457" sldId="627"/>
            <ac:graphicFrameMk id="7" creationId="{1178B55D-984E-41D0-A9BA-E9D52330A210}"/>
          </ac:graphicFrameMkLst>
        </pc:graphicFrameChg>
      </pc:sldChg>
      <pc:sldChg chg="modSp modNotesTx">
        <pc:chgData name="Steve Hord" userId="7478402321db30a2" providerId="LiveId" clId="{2BE8268A-D9D2-41A8-B4C6-48F6B669FF4C}" dt="2020-04-21T23:47:47.980" v="364" actId="6549"/>
        <pc:sldMkLst>
          <pc:docMk/>
          <pc:sldMk cId="1868519924" sldId="628"/>
        </pc:sldMkLst>
        <pc:spChg chg="mod">
          <ac:chgData name="Steve Hord" userId="7478402321db30a2" providerId="LiveId" clId="{2BE8268A-D9D2-41A8-B4C6-48F6B669FF4C}" dt="2020-04-21T23:43:06.606" v="356" actId="2711"/>
          <ac:spMkLst>
            <pc:docMk/>
            <pc:sldMk cId="1868519924" sldId="628"/>
            <ac:spMk id="5" creationId="{2E5CD34F-F989-43B8-B265-5903EA6E24D4}"/>
          </ac:spMkLst>
        </pc:spChg>
        <pc:graphicFrameChg chg="mod">
          <ac:chgData name="Steve Hord" userId="7478402321db30a2" providerId="LiveId" clId="{2BE8268A-D9D2-41A8-B4C6-48F6B669FF4C}" dt="2020-04-21T23:42:27.051" v="354" actId="20577"/>
          <ac:graphicFrameMkLst>
            <pc:docMk/>
            <pc:sldMk cId="1868519924" sldId="628"/>
            <ac:graphicFrameMk id="6" creationId="{CB893BEC-7F4D-4425-80FF-BA6D91F13E90}"/>
          </ac:graphicFrameMkLst>
        </pc:graphicFrameChg>
      </pc:sldChg>
      <pc:sldChg chg="modSp modNotesTx">
        <pc:chgData name="Steve Hord" userId="7478402321db30a2" providerId="LiveId" clId="{2BE8268A-D9D2-41A8-B4C6-48F6B669FF4C}" dt="2020-04-21T23:52:10.517" v="376" actId="113"/>
        <pc:sldMkLst>
          <pc:docMk/>
          <pc:sldMk cId="1324540104" sldId="629"/>
        </pc:sldMkLst>
        <pc:graphicFrameChg chg="mod">
          <ac:chgData name="Steve Hord" userId="7478402321db30a2" providerId="LiveId" clId="{2BE8268A-D9D2-41A8-B4C6-48F6B669FF4C}" dt="2020-04-21T23:49:41.911" v="370" actId="20577"/>
          <ac:graphicFrameMkLst>
            <pc:docMk/>
            <pc:sldMk cId="1324540104" sldId="629"/>
            <ac:graphicFrameMk id="5" creationId="{09EAD516-1026-4FE2-95B8-45F49E2A26BC}"/>
          </ac:graphicFrameMkLst>
        </pc:graphicFrameChg>
      </pc:sldChg>
      <pc:sldChg chg="modSp modNotesTx">
        <pc:chgData name="Steve Hord" userId="7478402321db30a2" providerId="LiveId" clId="{2BE8268A-D9D2-41A8-B4C6-48F6B669FF4C}" dt="2020-04-21T23:34:38.935" v="328" actId="114"/>
        <pc:sldMkLst>
          <pc:docMk/>
          <pc:sldMk cId="840088110" sldId="630"/>
        </pc:sldMkLst>
        <pc:spChg chg="mod">
          <ac:chgData name="Steve Hord" userId="7478402321db30a2" providerId="LiveId" clId="{2BE8268A-D9D2-41A8-B4C6-48F6B669FF4C}" dt="2020-04-21T23:34:30.508" v="327" actId="20577"/>
          <ac:spMkLst>
            <pc:docMk/>
            <pc:sldMk cId="840088110" sldId="630"/>
            <ac:spMk id="6" creationId="{637E159C-9ACF-48AE-927A-D5FB13695C7F}"/>
          </ac:spMkLst>
        </pc:spChg>
      </pc:sldChg>
      <pc:sldChg chg="modSp">
        <pc:chgData name="Steve Hord" userId="7478402321db30a2" providerId="LiveId" clId="{2BE8268A-D9D2-41A8-B4C6-48F6B669FF4C}" dt="2020-04-22T16:53:50.957" v="447" actId="20577"/>
        <pc:sldMkLst>
          <pc:docMk/>
          <pc:sldMk cId="2114274025" sldId="633"/>
        </pc:sldMkLst>
        <pc:spChg chg="mod">
          <ac:chgData name="Steve Hord" userId="7478402321db30a2" providerId="LiveId" clId="{2BE8268A-D9D2-41A8-B4C6-48F6B669FF4C}" dt="2020-04-22T16:53:50.957" v="447" actId="20577"/>
          <ac:spMkLst>
            <pc:docMk/>
            <pc:sldMk cId="2114274025" sldId="633"/>
            <ac:spMk id="6" creationId="{637E159C-9ACF-48AE-927A-D5FB13695C7F}"/>
          </ac:spMkLst>
        </pc:spChg>
      </pc:sldChg>
      <pc:sldChg chg="modNotesTx">
        <pc:chgData name="Steve Hord" userId="7478402321db30a2" providerId="LiveId" clId="{2BE8268A-D9D2-41A8-B4C6-48F6B669FF4C}" dt="2020-04-22T00:01:03.588" v="415" actId="20577"/>
        <pc:sldMkLst>
          <pc:docMk/>
          <pc:sldMk cId="1470332785" sldId="634"/>
        </pc:sldMkLst>
      </pc:sldChg>
      <pc:sldChg chg="modSp modNotesTx">
        <pc:chgData name="Steve Hord" userId="7478402321db30a2" providerId="LiveId" clId="{2BE8268A-D9D2-41A8-B4C6-48F6B669FF4C}" dt="2020-04-22T16:52:15.967" v="446" actId="6549"/>
        <pc:sldMkLst>
          <pc:docMk/>
          <pc:sldMk cId="3006177986" sldId="635"/>
        </pc:sldMkLst>
        <pc:spChg chg="mod">
          <ac:chgData name="Steve Hord" userId="7478402321db30a2" providerId="LiveId" clId="{2BE8268A-D9D2-41A8-B4C6-48F6B669FF4C}" dt="2020-04-22T16:45:36.263" v="425" actId="2711"/>
          <ac:spMkLst>
            <pc:docMk/>
            <pc:sldMk cId="3006177986" sldId="635"/>
            <ac:spMk id="6" creationId="{080F1DBD-D8BC-48EA-9E78-35A3DF9F3437}"/>
          </ac:spMkLst>
        </pc:spChg>
        <pc:graphicFrameChg chg="mod">
          <ac:chgData name="Steve Hord" userId="7478402321db30a2" providerId="LiveId" clId="{2BE8268A-D9D2-41A8-B4C6-48F6B669FF4C}" dt="2020-04-22T16:44:47.356" v="424" actId="255"/>
          <ac:graphicFrameMkLst>
            <pc:docMk/>
            <pc:sldMk cId="3006177986" sldId="635"/>
            <ac:graphicFrameMk id="7" creationId="{E263420C-A34F-429D-962E-2B1CC6B16DD6}"/>
          </ac:graphicFrameMkLst>
        </pc:graphicFrameChg>
      </pc:sldChg>
      <pc:sldChg chg="modSp modNotesTx">
        <pc:chgData name="Steve Hord" userId="7478402321db30a2" providerId="LiveId" clId="{2BE8268A-D9D2-41A8-B4C6-48F6B669FF4C}" dt="2020-04-22T16:43:46.750" v="422" actId="20577"/>
        <pc:sldMkLst>
          <pc:docMk/>
          <pc:sldMk cId="170750579" sldId="636"/>
        </pc:sldMkLst>
        <pc:spChg chg="mod">
          <ac:chgData name="Steve Hord" userId="7478402321db30a2" providerId="LiveId" clId="{2BE8268A-D9D2-41A8-B4C6-48F6B669FF4C}" dt="2020-04-22T00:01:43.437" v="416" actId="2711"/>
          <ac:spMkLst>
            <pc:docMk/>
            <pc:sldMk cId="170750579" sldId="636"/>
            <ac:spMk id="5" creationId="{6C5BD28A-E22B-4A39-A6F2-E49BE61F13EE}"/>
          </ac:spMkLst>
        </pc:spChg>
      </pc:sldChg>
      <pc:sldChg chg="modSp modNotesTx">
        <pc:chgData name="Steve Hord" userId="7478402321db30a2" providerId="LiveId" clId="{2BE8268A-D9D2-41A8-B4C6-48F6B669FF4C}" dt="2020-04-22T17:29:18.077" v="498" actId="20577"/>
        <pc:sldMkLst>
          <pc:docMk/>
          <pc:sldMk cId="732669774" sldId="639"/>
        </pc:sldMkLst>
        <pc:graphicFrameChg chg="mod">
          <ac:chgData name="Steve Hord" userId="7478402321db30a2" providerId="LiveId" clId="{2BE8268A-D9D2-41A8-B4C6-48F6B669FF4C}" dt="2020-04-22T17:25:29.094" v="487" actId="20577"/>
          <ac:graphicFrameMkLst>
            <pc:docMk/>
            <pc:sldMk cId="732669774" sldId="639"/>
            <ac:graphicFrameMk id="5" creationId="{09902D76-AF24-4822-BD55-215875E1D268}"/>
          </ac:graphicFrameMkLst>
        </pc:graphicFrameChg>
      </pc:sldChg>
      <pc:sldChg chg="modSp modNotesTx">
        <pc:chgData name="Steve Hord" userId="7478402321db30a2" providerId="LiveId" clId="{2BE8268A-D9D2-41A8-B4C6-48F6B669FF4C}" dt="2020-04-22T17:33:12.322" v="505" actId="20577"/>
        <pc:sldMkLst>
          <pc:docMk/>
          <pc:sldMk cId="3930368789" sldId="640"/>
        </pc:sldMkLst>
        <pc:graphicFrameChg chg="mod">
          <ac:chgData name="Steve Hord" userId="7478402321db30a2" providerId="LiveId" clId="{2BE8268A-D9D2-41A8-B4C6-48F6B669FF4C}" dt="2020-04-22T17:31:28.097" v="503" actId="20577"/>
          <ac:graphicFrameMkLst>
            <pc:docMk/>
            <pc:sldMk cId="3930368789" sldId="640"/>
            <ac:graphicFrameMk id="5" creationId="{6F1B5E90-CEBF-4537-91EB-AC0DBCBA5210}"/>
          </ac:graphicFrameMkLst>
        </pc:graphicFrameChg>
      </pc:sldChg>
      <pc:sldChg chg="modSp modNotesTx">
        <pc:chgData name="Steve Hord" userId="7478402321db30a2" providerId="LiveId" clId="{2BE8268A-D9D2-41A8-B4C6-48F6B669FF4C}" dt="2020-04-22T17:43:33.486" v="521" actId="20577"/>
        <pc:sldMkLst>
          <pc:docMk/>
          <pc:sldMk cId="172937384" sldId="641"/>
        </pc:sldMkLst>
        <pc:spChg chg="mod">
          <ac:chgData name="Steve Hord" userId="7478402321db30a2" providerId="LiveId" clId="{2BE8268A-D9D2-41A8-B4C6-48F6B669FF4C}" dt="2020-04-22T17:35:59.957" v="514" actId="2711"/>
          <ac:spMkLst>
            <pc:docMk/>
            <pc:sldMk cId="172937384" sldId="641"/>
            <ac:spMk id="5" creationId="{6CB2FA83-0DB2-4D69-AEAC-E1C657B6D68D}"/>
          </ac:spMkLst>
        </pc:spChg>
        <pc:graphicFrameChg chg="mod">
          <ac:chgData name="Steve Hord" userId="7478402321db30a2" providerId="LiveId" clId="{2BE8268A-D9D2-41A8-B4C6-48F6B669FF4C}" dt="2020-04-22T17:35:39.598" v="513" actId="20577"/>
          <ac:graphicFrameMkLst>
            <pc:docMk/>
            <pc:sldMk cId="172937384" sldId="641"/>
            <ac:graphicFrameMk id="6" creationId="{18B894D6-E22E-4CFC-A540-F16B2A407F36}"/>
          </ac:graphicFrameMkLst>
        </pc:graphicFrameChg>
      </pc:sldChg>
      <pc:sldChg chg="modSp">
        <pc:chgData name="Steve Hord" userId="7478402321db30a2" providerId="LiveId" clId="{2BE8268A-D9D2-41A8-B4C6-48F6B669FF4C}" dt="2020-04-22T17:45:04.280" v="522" actId="2711"/>
        <pc:sldMkLst>
          <pc:docMk/>
          <pc:sldMk cId="3714785798" sldId="642"/>
        </pc:sldMkLst>
        <pc:spChg chg="mod">
          <ac:chgData name="Steve Hord" userId="7478402321db30a2" providerId="LiveId" clId="{2BE8268A-D9D2-41A8-B4C6-48F6B669FF4C}" dt="2020-04-22T17:45:04.280" v="522" actId="2711"/>
          <ac:spMkLst>
            <pc:docMk/>
            <pc:sldMk cId="3714785798" sldId="642"/>
            <ac:spMk id="6" creationId="{5BEE3541-3FB8-4584-8442-720F972358C6}"/>
          </ac:spMkLst>
        </pc:spChg>
      </pc:sldChg>
      <pc:sldChg chg="modSp modNotesTx">
        <pc:chgData name="Steve Hord" userId="7478402321db30a2" providerId="LiveId" clId="{2BE8268A-D9D2-41A8-B4C6-48F6B669FF4C}" dt="2020-04-22T18:01:10.444" v="555" actId="20577"/>
        <pc:sldMkLst>
          <pc:docMk/>
          <pc:sldMk cId="1075660142" sldId="643"/>
        </pc:sldMkLst>
        <pc:spChg chg="mod">
          <ac:chgData name="Steve Hord" userId="7478402321db30a2" providerId="LiveId" clId="{2BE8268A-D9D2-41A8-B4C6-48F6B669FF4C}" dt="2020-04-22T17:52:46.597" v="523" actId="2711"/>
          <ac:spMkLst>
            <pc:docMk/>
            <pc:sldMk cId="1075660142" sldId="643"/>
            <ac:spMk id="5" creationId="{5D5E76E1-09E0-48F1-B1DE-ABBB0E586ACF}"/>
          </ac:spMkLst>
        </pc:spChg>
      </pc:sldChg>
      <pc:sldChg chg="modSp modNotesTx">
        <pc:chgData name="Steve Hord" userId="7478402321db30a2" providerId="LiveId" clId="{2BE8268A-D9D2-41A8-B4C6-48F6B669FF4C}" dt="2020-04-22T22:03:48.732" v="795" actId="6549"/>
        <pc:sldMkLst>
          <pc:docMk/>
          <pc:sldMk cId="3559491282" sldId="644"/>
        </pc:sldMkLst>
        <pc:graphicFrameChg chg="mod">
          <ac:chgData name="Steve Hord" userId="7478402321db30a2" providerId="LiveId" clId="{2BE8268A-D9D2-41A8-B4C6-48F6B669FF4C}" dt="2020-04-22T22:00:33.816" v="787" actId="255"/>
          <ac:graphicFrameMkLst>
            <pc:docMk/>
            <pc:sldMk cId="3559491282" sldId="644"/>
            <ac:graphicFrameMk id="5" creationId="{245B2B36-0B74-4B3E-B10A-918A3616B657}"/>
          </ac:graphicFrameMkLst>
        </pc:graphicFrameChg>
      </pc:sldChg>
      <pc:sldChg chg="modSp modNotesTx">
        <pc:chgData name="Steve Hord" userId="7478402321db30a2" providerId="LiveId" clId="{2BE8268A-D9D2-41A8-B4C6-48F6B669FF4C}" dt="2020-04-22T22:13:06.076" v="844" actId="20577"/>
        <pc:sldMkLst>
          <pc:docMk/>
          <pc:sldMk cId="3740111246" sldId="645"/>
        </pc:sldMkLst>
        <pc:graphicFrameChg chg="modGraphic">
          <ac:chgData name="Steve Hord" userId="7478402321db30a2" providerId="LiveId" clId="{2BE8268A-D9D2-41A8-B4C6-48F6B669FF4C}" dt="2020-04-22T22:05:48.507" v="815" actId="20577"/>
          <ac:graphicFrameMkLst>
            <pc:docMk/>
            <pc:sldMk cId="3740111246" sldId="645"/>
            <ac:graphicFrameMk id="7" creationId="{34AC8C55-62B7-42B0-A5E2-38B7F90A62F4}"/>
          </ac:graphicFrameMkLst>
        </pc:graphicFrameChg>
      </pc:sldChg>
      <pc:sldChg chg="modSp modNotesTx">
        <pc:chgData name="Steve Hord" userId="7478402321db30a2" providerId="LiveId" clId="{2BE8268A-D9D2-41A8-B4C6-48F6B669FF4C}" dt="2020-04-22T22:21:41.851" v="865" actId="113"/>
        <pc:sldMkLst>
          <pc:docMk/>
          <pc:sldMk cId="3406017694" sldId="646"/>
        </pc:sldMkLst>
        <pc:graphicFrameChg chg="mod">
          <ac:chgData name="Steve Hord" userId="7478402321db30a2" providerId="LiveId" clId="{2BE8268A-D9D2-41A8-B4C6-48F6B669FF4C}" dt="2020-04-22T22:15:27.672" v="852" actId="255"/>
          <ac:graphicFrameMkLst>
            <pc:docMk/>
            <pc:sldMk cId="3406017694" sldId="646"/>
            <ac:graphicFrameMk id="6" creationId="{41AC8C61-B717-4C41-B581-C2B4D565FD9A}"/>
          </ac:graphicFrameMkLst>
        </pc:graphicFrameChg>
      </pc:sldChg>
      <pc:sldChg chg="modSp">
        <pc:chgData name="Steve Hord" userId="7478402321db30a2" providerId="LiveId" clId="{2BE8268A-D9D2-41A8-B4C6-48F6B669FF4C}" dt="2020-04-22T22:23:12.141" v="867" actId="255"/>
        <pc:sldMkLst>
          <pc:docMk/>
          <pc:sldMk cId="2150837780" sldId="647"/>
        </pc:sldMkLst>
        <pc:graphicFrameChg chg="mod">
          <ac:chgData name="Steve Hord" userId="7478402321db30a2" providerId="LiveId" clId="{2BE8268A-D9D2-41A8-B4C6-48F6B669FF4C}" dt="2020-04-22T22:23:12.141" v="867" actId="255"/>
          <ac:graphicFrameMkLst>
            <pc:docMk/>
            <pc:sldMk cId="2150837780" sldId="647"/>
            <ac:graphicFrameMk id="5" creationId="{A5FDCDBF-FA5D-4CEB-8207-A136249012DF}"/>
          </ac:graphicFrameMkLst>
        </pc:graphicFrameChg>
      </pc:sldChg>
      <pc:sldChg chg="modSp modNotesTx">
        <pc:chgData name="Steve Hord" userId="7478402321db30a2" providerId="LiveId" clId="{2BE8268A-D9D2-41A8-B4C6-48F6B669FF4C}" dt="2020-04-22T22:29:18.511" v="880" actId="20577"/>
        <pc:sldMkLst>
          <pc:docMk/>
          <pc:sldMk cId="2721394381" sldId="648"/>
        </pc:sldMkLst>
        <pc:spChg chg="mod">
          <ac:chgData name="Steve Hord" userId="7478402321db30a2" providerId="LiveId" clId="{2BE8268A-D9D2-41A8-B4C6-48F6B669FF4C}" dt="2020-04-22T22:25:16.792" v="871" actId="20577"/>
          <ac:spMkLst>
            <pc:docMk/>
            <pc:sldMk cId="2721394381" sldId="648"/>
            <ac:spMk id="4" creationId="{F3616A99-090F-45E1-9334-58D58B148205}"/>
          </ac:spMkLst>
        </pc:spChg>
        <pc:spChg chg="mod">
          <ac:chgData name="Steve Hord" userId="7478402321db30a2" providerId="LiveId" clId="{2BE8268A-D9D2-41A8-B4C6-48F6B669FF4C}" dt="2020-04-22T22:25:39.852" v="872" actId="2711"/>
          <ac:spMkLst>
            <pc:docMk/>
            <pc:sldMk cId="2721394381" sldId="648"/>
            <ac:spMk id="5" creationId="{F86A7CF7-DBA0-4B09-89A8-9B6A792598D9}"/>
          </ac:spMkLst>
        </pc:spChg>
      </pc:sldChg>
      <pc:sldChg chg="modNotesTx">
        <pc:chgData name="Steve Hord" userId="7478402321db30a2" providerId="LiveId" clId="{2BE8268A-D9D2-41A8-B4C6-48F6B669FF4C}" dt="2020-04-22T22:31:33.166" v="882" actId="6549"/>
        <pc:sldMkLst>
          <pc:docMk/>
          <pc:sldMk cId="3526675307" sldId="649"/>
        </pc:sldMkLst>
      </pc:sldChg>
      <pc:sldChg chg="modSp modNotesTx">
        <pc:chgData name="Steve Hord" userId="7478402321db30a2" providerId="LiveId" clId="{2BE8268A-D9D2-41A8-B4C6-48F6B669FF4C}" dt="2020-04-22T20:40:49.616" v="759" actId="20577"/>
        <pc:sldMkLst>
          <pc:docMk/>
          <pc:sldMk cId="414429562" sldId="652"/>
        </pc:sldMkLst>
        <pc:graphicFrameChg chg="mod">
          <ac:chgData name="Steve Hord" userId="7478402321db30a2" providerId="LiveId" clId="{2BE8268A-D9D2-41A8-B4C6-48F6B669FF4C}" dt="2020-04-22T20:39:29.301" v="757" actId="20577"/>
          <ac:graphicFrameMkLst>
            <pc:docMk/>
            <pc:sldMk cId="414429562" sldId="652"/>
            <ac:graphicFrameMk id="7" creationId="{8E814E8D-720B-47C9-8A1F-4441C2B85411}"/>
          </ac:graphicFrameMkLst>
        </pc:graphicFrameChg>
      </pc:sldChg>
      <pc:sldChg chg="modSp">
        <pc:chgData name="Steve Hord" userId="7478402321db30a2" providerId="LiveId" clId="{2BE8268A-D9D2-41A8-B4C6-48F6B669FF4C}" dt="2020-04-22T21:43:19.178" v="764" actId="255"/>
        <pc:sldMkLst>
          <pc:docMk/>
          <pc:sldMk cId="2508506295" sldId="653"/>
        </pc:sldMkLst>
        <pc:graphicFrameChg chg="modGraphic">
          <ac:chgData name="Steve Hord" userId="7478402321db30a2" providerId="LiveId" clId="{2BE8268A-D9D2-41A8-B4C6-48F6B669FF4C}" dt="2020-04-22T21:43:19.178" v="764" actId="255"/>
          <ac:graphicFrameMkLst>
            <pc:docMk/>
            <pc:sldMk cId="2508506295" sldId="653"/>
            <ac:graphicFrameMk id="10" creationId="{7FC218A8-88B5-4B09-9039-98226F89CDF8}"/>
          </ac:graphicFrameMkLst>
        </pc:graphicFrameChg>
      </pc:sldChg>
      <pc:sldChg chg="modSp">
        <pc:chgData name="Steve Hord" userId="7478402321db30a2" providerId="LiveId" clId="{2BE8268A-D9D2-41A8-B4C6-48F6B669FF4C}" dt="2020-04-22T21:44:47.737" v="766" actId="255"/>
        <pc:sldMkLst>
          <pc:docMk/>
          <pc:sldMk cId="668974516" sldId="654"/>
        </pc:sldMkLst>
        <pc:graphicFrameChg chg="modGraphic">
          <ac:chgData name="Steve Hord" userId="7478402321db30a2" providerId="LiveId" clId="{2BE8268A-D9D2-41A8-B4C6-48F6B669FF4C}" dt="2020-04-22T21:44:47.737" v="766" actId="255"/>
          <ac:graphicFrameMkLst>
            <pc:docMk/>
            <pc:sldMk cId="668974516" sldId="654"/>
            <ac:graphicFrameMk id="5" creationId="{D3FE1FB0-9FF4-44EA-99AB-92BAF660D1B8}"/>
          </ac:graphicFrameMkLst>
        </pc:graphicFrameChg>
      </pc:sldChg>
      <pc:sldChg chg="modSp modNotesTx">
        <pc:chgData name="Steve Hord" userId="7478402321db30a2" providerId="LiveId" clId="{2BE8268A-D9D2-41A8-B4C6-48F6B669FF4C}" dt="2020-04-22T21:48:22.040" v="772" actId="20577"/>
        <pc:sldMkLst>
          <pc:docMk/>
          <pc:sldMk cId="2471988427" sldId="656"/>
        </pc:sldMkLst>
        <pc:spChg chg="mod">
          <ac:chgData name="Steve Hord" userId="7478402321db30a2" providerId="LiveId" clId="{2BE8268A-D9D2-41A8-B4C6-48F6B669FF4C}" dt="2020-04-22T21:46:26.046" v="769" actId="255"/>
          <ac:spMkLst>
            <pc:docMk/>
            <pc:sldMk cId="2471988427" sldId="656"/>
            <ac:spMk id="4" creationId="{F3616A99-090F-45E1-9334-58D58B148205}"/>
          </ac:spMkLst>
        </pc:spChg>
        <pc:spChg chg="mod">
          <ac:chgData name="Steve Hord" userId="7478402321db30a2" providerId="LiveId" clId="{2BE8268A-D9D2-41A8-B4C6-48F6B669FF4C}" dt="2020-04-22T21:47:03.066" v="770" actId="14100"/>
          <ac:spMkLst>
            <pc:docMk/>
            <pc:sldMk cId="2471988427" sldId="656"/>
            <ac:spMk id="6" creationId="{52A792B6-1B28-444F-8A7C-2727FAFF8B02}"/>
          </ac:spMkLst>
        </pc:spChg>
      </pc:sldChg>
      <pc:sldChg chg="modSp modNotesTx">
        <pc:chgData name="Steve Hord" userId="7478402321db30a2" providerId="LiveId" clId="{2BE8268A-D9D2-41A8-B4C6-48F6B669FF4C}" dt="2020-04-22T21:50:43.484" v="774" actId="20577"/>
        <pc:sldMkLst>
          <pc:docMk/>
          <pc:sldMk cId="1683744399" sldId="657"/>
        </pc:sldMkLst>
        <pc:spChg chg="mod">
          <ac:chgData name="Steve Hord" userId="7478402321db30a2" providerId="LiveId" clId="{2BE8268A-D9D2-41A8-B4C6-48F6B669FF4C}" dt="2020-04-22T21:49:59.501" v="773" actId="2711"/>
          <ac:spMkLst>
            <pc:docMk/>
            <pc:sldMk cId="1683744399" sldId="657"/>
            <ac:spMk id="6" creationId="{52A792B6-1B28-444F-8A7C-2727FAFF8B02}"/>
          </ac:spMkLst>
        </pc:spChg>
      </pc:sldChg>
      <pc:sldChg chg="modSp modNotesTx">
        <pc:chgData name="Steve Hord" userId="7478402321db30a2" providerId="LiveId" clId="{2BE8268A-D9D2-41A8-B4C6-48F6B669FF4C}" dt="2020-04-22T21:52:21.497" v="776" actId="114"/>
        <pc:sldMkLst>
          <pc:docMk/>
          <pc:sldMk cId="3912230581" sldId="658"/>
        </pc:sldMkLst>
        <pc:spChg chg="mod">
          <ac:chgData name="Steve Hord" userId="7478402321db30a2" providerId="LiveId" clId="{2BE8268A-D9D2-41A8-B4C6-48F6B669FF4C}" dt="2020-04-22T21:51:52.130" v="775" actId="20577"/>
          <ac:spMkLst>
            <pc:docMk/>
            <pc:sldMk cId="3912230581" sldId="658"/>
            <ac:spMk id="6" creationId="{637E159C-9ACF-48AE-927A-D5FB13695C7F}"/>
          </ac:spMkLst>
        </pc:spChg>
      </pc:sldChg>
      <pc:sldChg chg="modSp modNotesTx">
        <pc:chgData name="Steve Hord" userId="7478402321db30a2" providerId="LiveId" clId="{2BE8268A-D9D2-41A8-B4C6-48F6B669FF4C}" dt="2020-04-22T21:59:08.648" v="785" actId="114"/>
        <pc:sldMkLst>
          <pc:docMk/>
          <pc:sldMk cId="1838965179" sldId="661"/>
        </pc:sldMkLst>
        <pc:spChg chg="mod">
          <ac:chgData name="Steve Hord" userId="7478402321db30a2" providerId="LiveId" clId="{2BE8268A-D9D2-41A8-B4C6-48F6B669FF4C}" dt="2020-04-22T21:58:59.677" v="783" actId="20577"/>
          <ac:spMkLst>
            <pc:docMk/>
            <pc:sldMk cId="1838965179" sldId="661"/>
            <ac:spMk id="6" creationId="{637E159C-9ACF-48AE-927A-D5FB13695C7F}"/>
          </ac:spMkLst>
        </pc:spChg>
      </pc:sldChg>
      <pc:sldChg chg="modSp">
        <pc:chgData name="Steve Hord" userId="7478402321db30a2" providerId="LiveId" clId="{2BE8268A-D9D2-41A8-B4C6-48F6B669FF4C}" dt="2020-04-22T21:57:21.665" v="782" actId="20577"/>
        <pc:sldMkLst>
          <pc:docMk/>
          <pc:sldMk cId="79963935" sldId="662"/>
        </pc:sldMkLst>
        <pc:graphicFrameChg chg="mod">
          <ac:chgData name="Steve Hord" userId="7478402321db30a2" providerId="LiveId" clId="{2BE8268A-D9D2-41A8-B4C6-48F6B669FF4C}" dt="2020-04-22T21:57:21.665" v="782" actId="20577"/>
          <ac:graphicFrameMkLst>
            <pc:docMk/>
            <pc:sldMk cId="79963935" sldId="662"/>
            <ac:graphicFrameMk id="5" creationId="{B4176FC8-D990-4BE6-9629-E246FC64ACDF}"/>
          </ac:graphicFrameMkLst>
        </pc:graphicFrameChg>
      </pc:sldChg>
      <pc:sldChg chg="modSp modNotesTx">
        <pc:chgData name="Steve Hord" userId="7478402321db30a2" providerId="LiveId" clId="{2BE8268A-D9D2-41A8-B4C6-48F6B669FF4C}" dt="2020-04-21T23:40:32.318" v="348" actId="12"/>
        <pc:sldMkLst>
          <pc:docMk/>
          <pc:sldMk cId="1743105056" sldId="665"/>
        </pc:sldMkLst>
        <pc:graphicFrameChg chg="mod">
          <ac:chgData name="Steve Hord" userId="7478402321db30a2" providerId="LiveId" clId="{2BE8268A-D9D2-41A8-B4C6-48F6B669FF4C}" dt="2020-04-21T23:36:56.978" v="336" actId="20577"/>
          <ac:graphicFrameMkLst>
            <pc:docMk/>
            <pc:sldMk cId="1743105056" sldId="665"/>
            <ac:graphicFrameMk id="7" creationId="{1178B55D-984E-41D0-A9BA-E9D52330A210}"/>
          </ac:graphicFrameMkLst>
        </pc:graphicFrameChg>
      </pc:sldChg>
      <pc:sldChg chg="modSp modNotesTx">
        <pc:chgData name="Steve Hord" userId="7478402321db30a2" providerId="LiveId" clId="{2BE8268A-D9D2-41A8-B4C6-48F6B669FF4C}" dt="2020-04-21T23:54:49.404" v="387" actId="113"/>
        <pc:sldMkLst>
          <pc:docMk/>
          <pc:sldMk cId="3922378719" sldId="666"/>
        </pc:sldMkLst>
        <pc:spChg chg="mod">
          <ac:chgData name="Steve Hord" userId="7478402321db30a2" providerId="LiveId" clId="{2BE8268A-D9D2-41A8-B4C6-48F6B669FF4C}" dt="2020-04-21T23:53:48.052" v="379" actId="255"/>
          <ac:spMkLst>
            <pc:docMk/>
            <pc:sldMk cId="3922378719" sldId="666"/>
            <ac:spMk id="4" creationId="{137A33B6-B3D2-4115-BBAF-642663B99AE8}"/>
          </ac:spMkLst>
        </pc:spChg>
        <pc:graphicFrameChg chg="mod">
          <ac:chgData name="Steve Hord" userId="7478402321db30a2" providerId="LiveId" clId="{2BE8268A-D9D2-41A8-B4C6-48F6B669FF4C}" dt="2020-04-21T23:53:49.621" v="380"/>
          <ac:graphicFrameMkLst>
            <pc:docMk/>
            <pc:sldMk cId="3922378719" sldId="666"/>
            <ac:graphicFrameMk id="5" creationId="{09EAD516-1026-4FE2-95B8-45F49E2A26BC}"/>
          </ac:graphicFrameMkLst>
        </pc:graphicFrameChg>
      </pc:sldChg>
      <pc:sldChg chg="modSp">
        <pc:chgData name="Steve Hord" userId="7478402321db30a2" providerId="LiveId" clId="{2BE8268A-D9D2-41A8-B4C6-48F6B669FF4C}" dt="2020-04-22T17:20:14.615" v="472" actId="20577"/>
        <pc:sldMkLst>
          <pc:docMk/>
          <pc:sldMk cId="979826723" sldId="667"/>
        </pc:sldMkLst>
        <pc:graphicFrameChg chg="mod">
          <ac:chgData name="Steve Hord" userId="7478402321db30a2" providerId="LiveId" clId="{2BE8268A-D9D2-41A8-B4C6-48F6B669FF4C}" dt="2020-04-22T17:20:14.615" v="472" actId="20577"/>
          <ac:graphicFrameMkLst>
            <pc:docMk/>
            <pc:sldMk cId="979826723" sldId="667"/>
            <ac:graphicFrameMk id="5" creationId="{1F83612F-0834-42B2-AA7B-98B8BAB0DB29}"/>
          </ac:graphicFrameMkLst>
        </pc:graphicFrameChg>
      </pc:sldChg>
      <pc:sldChg chg="modSp modNotesTx">
        <pc:chgData name="Steve Hord" userId="7478402321db30a2" providerId="LiveId" clId="{2BE8268A-D9D2-41A8-B4C6-48F6B669FF4C}" dt="2020-04-21T23:56:12.479" v="390" actId="114"/>
        <pc:sldMkLst>
          <pc:docMk/>
          <pc:sldMk cId="2074685303" sldId="668"/>
        </pc:sldMkLst>
        <pc:spChg chg="mod">
          <ac:chgData name="Steve Hord" userId="7478402321db30a2" providerId="LiveId" clId="{2BE8268A-D9D2-41A8-B4C6-48F6B669FF4C}" dt="2020-04-21T23:56:04.452" v="389" actId="20577"/>
          <ac:spMkLst>
            <pc:docMk/>
            <pc:sldMk cId="2074685303" sldId="668"/>
            <ac:spMk id="6" creationId="{637E159C-9ACF-48AE-927A-D5FB13695C7F}"/>
          </ac:spMkLst>
        </pc:spChg>
      </pc:sldChg>
      <pc:sldChg chg="modSp">
        <pc:chgData name="Steve Hord" userId="7478402321db30a2" providerId="LiveId" clId="{2BE8268A-D9D2-41A8-B4C6-48F6B669FF4C}" dt="2020-04-22T22:39:07.970" v="1063" actId="1036"/>
        <pc:sldMkLst>
          <pc:docMk/>
          <pc:sldMk cId="1985242486" sldId="669"/>
        </pc:sldMkLst>
        <pc:spChg chg="mod">
          <ac:chgData name="Steve Hord" userId="7478402321db30a2" providerId="LiveId" clId="{2BE8268A-D9D2-41A8-B4C6-48F6B669FF4C}" dt="2020-04-22T22:39:07.970" v="1063" actId="1036"/>
          <ac:spMkLst>
            <pc:docMk/>
            <pc:sldMk cId="1985242486" sldId="669"/>
            <ac:spMk id="9" creationId="{610DD977-6571-4E75-91F5-C5F710C78F56}"/>
          </ac:spMkLst>
        </pc:spChg>
      </pc:sldChg>
      <pc:sldChg chg="modSp modNotesTx">
        <pc:chgData name="Steve Hord" userId="7478402321db30a2" providerId="LiveId" clId="{2BE8268A-D9D2-41A8-B4C6-48F6B669FF4C}" dt="2020-04-22T22:58:54.833" v="1073" actId="20577"/>
        <pc:sldMkLst>
          <pc:docMk/>
          <pc:sldMk cId="555630791" sldId="670"/>
        </pc:sldMkLst>
        <pc:graphicFrameChg chg="mod">
          <ac:chgData name="Steve Hord" userId="7478402321db30a2" providerId="LiveId" clId="{2BE8268A-D9D2-41A8-B4C6-48F6B669FF4C}" dt="2020-04-22T22:46:30.920" v="1072" actId="255"/>
          <ac:graphicFrameMkLst>
            <pc:docMk/>
            <pc:sldMk cId="555630791" sldId="670"/>
            <ac:graphicFrameMk id="5" creationId="{A0F8EEBB-1F60-49BA-B82D-D4F2B222B4C1}"/>
          </ac:graphicFrameMkLst>
        </pc:graphicFrameChg>
      </pc:sldChg>
      <pc:sldChg chg="modNotesTx">
        <pc:chgData name="Steve Hord" userId="7478402321db30a2" providerId="LiveId" clId="{2BE8268A-D9D2-41A8-B4C6-48F6B669FF4C}" dt="2020-04-22T23:14:50.871" v="1127" actId="20577"/>
        <pc:sldMkLst>
          <pc:docMk/>
          <pc:sldMk cId="1245107683" sldId="672"/>
        </pc:sldMkLst>
      </pc:sldChg>
      <pc:sldChg chg="modSp">
        <pc:chgData name="Steve Hord" userId="7478402321db30a2" providerId="LiveId" clId="{2BE8268A-D9D2-41A8-B4C6-48F6B669FF4C}" dt="2020-04-22T23:20:49.270" v="1132" actId="255"/>
        <pc:sldMkLst>
          <pc:docMk/>
          <pc:sldMk cId="2745452252" sldId="673"/>
        </pc:sldMkLst>
        <pc:graphicFrameChg chg="mod">
          <ac:chgData name="Steve Hord" userId="7478402321db30a2" providerId="LiveId" clId="{2BE8268A-D9D2-41A8-B4C6-48F6B669FF4C}" dt="2020-04-22T23:20:49.270" v="1132" actId="255"/>
          <ac:graphicFrameMkLst>
            <pc:docMk/>
            <pc:sldMk cId="2745452252" sldId="673"/>
            <ac:graphicFrameMk id="5" creationId="{7D108DBB-E906-4DC1-A452-84D184316AB6}"/>
          </ac:graphicFrameMkLst>
        </pc:graphicFrameChg>
      </pc:sldChg>
      <pc:sldChg chg="modNotesTx">
        <pc:chgData name="Steve Hord" userId="7478402321db30a2" providerId="LiveId" clId="{2BE8268A-D9D2-41A8-B4C6-48F6B669FF4C}" dt="2020-04-22T23:17:47.069" v="1128" actId="20577"/>
        <pc:sldMkLst>
          <pc:docMk/>
          <pc:sldMk cId="3635708424" sldId="674"/>
        </pc:sldMkLst>
      </pc:sldChg>
      <pc:sldChg chg="modNotesTx">
        <pc:chgData name="Steve Hord" userId="7478402321db30a2" providerId="LiveId" clId="{2BE8268A-D9D2-41A8-B4C6-48F6B669FF4C}" dt="2020-04-22T23:23:16.959" v="1135" actId="6549"/>
        <pc:sldMkLst>
          <pc:docMk/>
          <pc:sldMk cId="2423425577" sldId="678"/>
        </pc:sldMkLst>
      </pc:sldChg>
      <pc:sldChg chg="modNotesTx">
        <pc:chgData name="Steve Hord" userId="7478402321db30a2" providerId="LiveId" clId="{2BE8268A-D9D2-41A8-B4C6-48F6B669FF4C}" dt="2020-04-22T23:30:25.515" v="1146" actId="114"/>
        <pc:sldMkLst>
          <pc:docMk/>
          <pc:sldMk cId="3179011032" sldId="680"/>
        </pc:sldMkLst>
      </pc:sldChg>
      <pc:sldChg chg="modNotesTx">
        <pc:chgData name="Steve Hord" userId="7478402321db30a2" providerId="LiveId" clId="{2BE8268A-D9D2-41A8-B4C6-48F6B669FF4C}" dt="2020-04-22T23:28:28.583" v="1140" actId="114"/>
        <pc:sldMkLst>
          <pc:docMk/>
          <pc:sldMk cId="936353458" sldId="682"/>
        </pc:sldMkLst>
      </pc:sldChg>
      <pc:sldChg chg="modSp">
        <pc:chgData name="Steve Hord" userId="7478402321db30a2" providerId="LiveId" clId="{2BE8268A-D9D2-41A8-B4C6-48F6B669FF4C}" dt="2020-04-22T18:17:12.587" v="634" actId="20577"/>
        <pc:sldMkLst>
          <pc:docMk/>
          <pc:sldMk cId="1667766974" sldId="1397"/>
        </pc:sldMkLst>
        <pc:spChg chg="mod">
          <ac:chgData name="Steve Hord" userId="7478402321db30a2" providerId="LiveId" clId="{2BE8268A-D9D2-41A8-B4C6-48F6B669FF4C}" dt="2020-04-22T18:17:12.587" v="634" actId="20577"/>
          <ac:spMkLst>
            <pc:docMk/>
            <pc:sldMk cId="1667766974" sldId="1397"/>
            <ac:spMk id="6" creationId="{00000000-0000-0000-0000-000000000000}"/>
          </ac:spMkLst>
        </pc:spChg>
        <pc:spChg chg="mod">
          <ac:chgData name="Steve Hord" userId="7478402321db30a2" providerId="LiveId" clId="{2BE8268A-D9D2-41A8-B4C6-48F6B669FF4C}" dt="2020-04-22T18:15:30.491" v="604" actId="255"/>
          <ac:spMkLst>
            <pc:docMk/>
            <pc:sldMk cId="1667766974" sldId="1397"/>
            <ac:spMk id="15" creationId="{00000000-0000-0000-0000-000000000000}"/>
          </ac:spMkLst>
        </pc:spChg>
      </pc:sldChg>
      <pc:sldChg chg="modSp">
        <pc:chgData name="Steve Hord" userId="7478402321db30a2" providerId="LiveId" clId="{2BE8268A-D9D2-41A8-B4C6-48F6B669FF4C}" dt="2020-04-22T18:18:43.229" v="636" actId="255"/>
        <pc:sldMkLst>
          <pc:docMk/>
          <pc:sldMk cId="3087139904" sldId="1402"/>
        </pc:sldMkLst>
        <pc:spChg chg="mod">
          <ac:chgData name="Steve Hord" userId="7478402321db30a2" providerId="LiveId" clId="{2BE8268A-D9D2-41A8-B4C6-48F6B669FF4C}" dt="2020-04-22T18:18:43.229" v="636" actId="255"/>
          <ac:spMkLst>
            <pc:docMk/>
            <pc:sldMk cId="3087139904" sldId="1402"/>
            <ac:spMk id="30" creationId="{00000000-0000-0000-0000-000000000000}"/>
          </ac:spMkLst>
        </pc:spChg>
        <pc:spChg chg="mod">
          <ac:chgData name="Steve Hord" userId="7478402321db30a2" providerId="LiveId" clId="{2BE8268A-D9D2-41A8-B4C6-48F6B669FF4C}" dt="2020-04-22T18:18:20.438" v="635" actId="20577"/>
          <ac:spMkLst>
            <pc:docMk/>
            <pc:sldMk cId="3087139904" sldId="1402"/>
            <ac:spMk id="31" creationId="{00000000-0000-0000-0000-000000000000}"/>
          </ac:spMkLst>
        </pc:spChg>
      </pc:sldChg>
      <pc:sldChg chg="modSp modNotesTx">
        <pc:chgData name="Steve Hord" userId="7478402321db30a2" providerId="LiveId" clId="{2BE8268A-D9D2-41A8-B4C6-48F6B669FF4C}" dt="2020-04-22T18:26:20.776" v="646" actId="6549"/>
        <pc:sldMkLst>
          <pc:docMk/>
          <pc:sldMk cId="1483710239" sldId="1403"/>
        </pc:sldMkLst>
        <pc:spChg chg="mod">
          <ac:chgData name="Steve Hord" userId="7478402321db30a2" providerId="LiveId" clId="{2BE8268A-D9D2-41A8-B4C6-48F6B669FF4C}" dt="2020-04-22T18:22:33.451" v="640" actId="255"/>
          <ac:spMkLst>
            <pc:docMk/>
            <pc:sldMk cId="1483710239" sldId="1403"/>
            <ac:spMk id="2" creationId="{00000000-0000-0000-0000-000000000000}"/>
          </ac:spMkLst>
        </pc:spChg>
        <pc:spChg chg="mod">
          <ac:chgData name="Steve Hord" userId="7478402321db30a2" providerId="LiveId" clId="{2BE8268A-D9D2-41A8-B4C6-48F6B669FF4C}" dt="2020-04-22T18:22:59.163" v="642" actId="255"/>
          <ac:spMkLst>
            <pc:docMk/>
            <pc:sldMk cId="1483710239" sldId="1403"/>
            <ac:spMk id="3" creationId="{00000000-0000-0000-0000-000000000000}"/>
          </ac:spMkLst>
        </pc:spChg>
      </pc:sldChg>
      <pc:sldChg chg="modSp">
        <pc:chgData name="Steve Hord" userId="7478402321db30a2" providerId="LiveId" clId="{2BE8268A-D9D2-41A8-B4C6-48F6B669FF4C}" dt="2020-04-22T18:29:56.540" v="661" actId="20577"/>
        <pc:sldMkLst>
          <pc:docMk/>
          <pc:sldMk cId="235990786" sldId="1420"/>
        </pc:sldMkLst>
        <pc:spChg chg="mod">
          <ac:chgData name="Steve Hord" userId="7478402321db30a2" providerId="LiveId" clId="{2BE8268A-D9D2-41A8-B4C6-48F6B669FF4C}" dt="2020-04-22T18:29:56.540" v="661" actId="20577"/>
          <ac:spMkLst>
            <pc:docMk/>
            <pc:sldMk cId="235990786" sldId="1420"/>
            <ac:spMk id="3" creationId="{00000000-0000-0000-0000-000000000000}"/>
          </ac:spMkLst>
        </pc:spChg>
      </pc:sldChg>
      <pc:sldChg chg="modSp">
        <pc:chgData name="Steve Hord" userId="7478402321db30a2" providerId="LiveId" clId="{2BE8268A-D9D2-41A8-B4C6-48F6B669FF4C}" dt="2020-04-22T20:19:14.630" v="694" actId="1036"/>
        <pc:sldMkLst>
          <pc:docMk/>
          <pc:sldMk cId="2843153520" sldId="1422"/>
        </pc:sldMkLst>
        <pc:spChg chg="mod">
          <ac:chgData name="Steve Hord" userId="7478402321db30a2" providerId="LiveId" clId="{2BE8268A-D9D2-41A8-B4C6-48F6B669FF4C}" dt="2020-04-22T20:19:14.630" v="694" actId="1036"/>
          <ac:spMkLst>
            <pc:docMk/>
            <pc:sldMk cId="2843153520" sldId="1422"/>
            <ac:spMk id="12" creationId="{00000000-0000-0000-0000-000000000000}"/>
          </ac:spMkLst>
        </pc:spChg>
      </pc:sldChg>
      <pc:sldChg chg="modSp">
        <pc:chgData name="Steve Hord" userId="7478402321db30a2" providerId="LiveId" clId="{2BE8268A-D9D2-41A8-B4C6-48F6B669FF4C}" dt="2020-04-22T20:30:57.646" v="734" actId="255"/>
        <pc:sldMkLst>
          <pc:docMk/>
          <pc:sldMk cId="1726345108" sldId="1438"/>
        </pc:sldMkLst>
        <pc:spChg chg="mod">
          <ac:chgData name="Steve Hord" userId="7478402321db30a2" providerId="LiveId" clId="{2BE8268A-D9D2-41A8-B4C6-48F6B669FF4C}" dt="2020-04-22T20:30:57.646" v="734" actId="255"/>
          <ac:spMkLst>
            <pc:docMk/>
            <pc:sldMk cId="1726345108" sldId="1438"/>
            <ac:spMk id="3" creationId="{00000000-0000-0000-0000-000000000000}"/>
          </ac:spMkLst>
        </pc:spChg>
        <pc:spChg chg="mod">
          <ac:chgData name="Steve Hord" userId="7478402321db30a2" providerId="LiveId" clId="{2BE8268A-D9D2-41A8-B4C6-48F6B669FF4C}" dt="2020-04-22T20:30:33.064" v="733" actId="2711"/>
          <ac:spMkLst>
            <pc:docMk/>
            <pc:sldMk cId="1726345108" sldId="1438"/>
            <ac:spMk id="27" creationId="{00000000-0000-0000-0000-000000000000}"/>
          </ac:spMkLst>
        </pc:spChg>
      </pc:sldChg>
      <pc:sldChg chg="modSp">
        <pc:chgData name="Steve Hord" userId="7478402321db30a2" providerId="LiveId" clId="{2BE8268A-D9D2-41A8-B4C6-48F6B669FF4C}" dt="2020-04-22T20:22:34.621" v="715" actId="1036"/>
        <pc:sldMkLst>
          <pc:docMk/>
          <pc:sldMk cId="572847463" sldId="1469"/>
        </pc:sldMkLst>
        <pc:spChg chg="mod">
          <ac:chgData name="Steve Hord" userId="7478402321db30a2" providerId="LiveId" clId="{2BE8268A-D9D2-41A8-B4C6-48F6B669FF4C}" dt="2020-04-22T20:22:34.621" v="715" actId="1036"/>
          <ac:spMkLst>
            <pc:docMk/>
            <pc:sldMk cId="572847463" sldId="1469"/>
            <ac:spMk id="2" creationId="{00000000-0000-0000-0000-000000000000}"/>
          </ac:spMkLst>
        </pc:spChg>
      </pc:sldChg>
      <pc:sldChg chg="modSp">
        <pc:chgData name="Steve Hord" userId="7478402321db30a2" providerId="LiveId" clId="{2BE8268A-D9D2-41A8-B4C6-48F6B669FF4C}" dt="2020-04-22T20:25:44.331" v="726" actId="113"/>
        <pc:sldMkLst>
          <pc:docMk/>
          <pc:sldMk cId="3837107871" sldId="1470"/>
        </pc:sldMkLst>
        <pc:graphicFrameChg chg="mod">
          <ac:chgData name="Steve Hord" userId="7478402321db30a2" providerId="LiveId" clId="{2BE8268A-D9D2-41A8-B4C6-48F6B669FF4C}" dt="2020-04-22T20:25:44.331" v="726" actId="113"/>
          <ac:graphicFrameMkLst>
            <pc:docMk/>
            <pc:sldMk cId="3837107871" sldId="1470"/>
            <ac:graphicFrameMk id="32" creationId="{F51D10F5-C1EE-42D4-81CB-39B1964BEC29}"/>
          </ac:graphicFrameMkLst>
        </pc:graphicFrameChg>
      </pc:sldChg>
      <pc:sldChg chg="modSp">
        <pc:chgData name="Steve Hord" userId="7478402321db30a2" providerId="LiveId" clId="{2BE8268A-D9D2-41A8-B4C6-48F6B669FF4C}" dt="2020-04-22T18:21:17.427" v="639" actId="255"/>
        <pc:sldMkLst>
          <pc:docMk/>
          <pc:sldMk cId="1951336761" sldId="1476"/>
        </pc:sldMkLst>
        <pc:graphicFrameChg chg="mod">
          <ac:chgData name="Steve Hord" userId="7478402321db30a2" providerId="LiveId" clId="{2BE8268A-D9D2-41A8-B4C6-48F6B669FF4C}" dt="2020-04-22T18:21:17.427" v="639" actId="255"/>
          <ac:graphicFrameMkLst>
            <pc:docMk/>
            <pc:sldMk cId="1951336761" sldId="1476"/>
            <ac:graphicFrameMk id="9" creationId="{B7D25272-154E-46BF-B0DF-2CF9F77FF2EB}"/>
          </ac:graphicFrameMkLst>
        </pc:graphicFrameChg>
      </pc:sldChg>
      <pc:sldChg chg="modNotesTx">
        <pc:chgData name="Steve Hord" userId="7478402321db30a2" providerId="LiveId" clId="{2BE8268A-D9D2-41A8-B4C6-48F6B669FF4C}" dt="2020-04-22T20:28:55.818" v="732" actId="6549"/>
        <pc:sldMkLst>
          <pc:docMk/>
          <pc:sldMk cId="107517723" sldId="1479"/>
        </pc:sldMkLst>
      </pc:sldChg>
      <pc:sldChg chg="modSp">
        <pc:chgData name="Steve Hord" userId="7478402321db30a2" providerId="LiveId" clId="{2BE8268A-D9D2-41A8-B4C6-48F6B669FF4C}" dt="2020-04-22T23:22:01.336" v="1134" actId="20577"/>
        <pc:sldMkLst>
          <pc:docMk/>
          <pc:sldMk cId="565001887" sldId="1481"/>
        </pc:sldMkLst>
        <pc:graphicFrameChg chg="mod">
          <ac:chgData name="Steve Hord" userId="7478402321db30a2" providerId="LiveId" clId="{2BE8268A-D9D2-41A8-B4C6-48F6B669FF4C}" dt="2020-04-22T23:22:01.336" v="1134" actId="20577"/>
          <ac:graphicFrameMkLst>
            <pc:docMk/>
            <pc:sldMk cId="565001887" sldId="1481"/>
            <ac:graphicFrameMk id="5" creationId="{7D108DBB-E906-4DC1-A452-84D184316AB6}"/>
          </ac:graphicFrameMkLst>
        </pc:graphicFrameChg>
      </pc:sldChg>
      <pc:sldChg chg="modNotesTx">
        <pc:chgData name="Steve Hord" userId="7478402321db30a2" providerId="LiveId" clId="{2BE8268A-D9D2-41A8-B4C6-48F6B669FF4C}" dt="2020-04-22T23:29:42.932" v="1145" actId="114"/>
        <pc:sldMkLst>
          <pc:docMk/>
          <pc:sldMk cId="2597649565" sldId="1483"/>
        </pc:sldMkLst>
      </pc:sldChg>
      <pc:sldChg chg="modNotesTx">
        <pc:chgData name="Steve Hord" userId="7478402321db30a2" providerId="LiveId" clId="{2BE8268A-D9D2-41A8-B4C6-48F6B669FF4C}" dt="2020-04-22T23:34:19.667" v="1149" actId="20577"/>
        <pc:sldMkLst>
          <pc:docMk/>
          <pc:sldMk cId="1619754780" sldId="1486"/>
        </pc:sldMkLst>
      </pc:sldChg>
      <pc:sldChg chg="modNotesTx">
        <pc:chgData name="Steve Hord" userId="7478402321db30a2" providerId="LiveId" clId="{2BE8268A-D9D2-41A8-B4C6-48F6B669FF4C}" dt="2020-04-22T23:40:23.478" v="1154" actId="114"/>
        <pc:sldMkLst>
          <pc:docMk/>
          <pc:sldMk cId="1932756397" sldId="1490"/>
        </pc:sldMkLst>
      </pc:sldChg>
      <pc:sldChg chg="modSp">
        <pc:chgData name="Steve Hord" userId="7478402321db30a2" providerId="LiveId" clId="{2BE8268A-D9D2-41A8-B4C6-48F6B669FF4C}" dt="2020-04-22T22:42:43.265" v="1068" actId="14100"/>
        <pc:sldMkLst>
          <pc:docMk/>
          <pc:sldMk cId="2378945749" sldId="1491"/>
        </pc:sldMkLst>
        <pc:spChg chg="mod">
          <ac:chgData name="Steve Hord" userId="7478402321db30a2" providerId="LiveId" clId="{2BE8268A-D9D2-41A8-B4C6-48F6B669FF4C}" dt="2020-04-22T22:42:43.265" v="1068" actId="14100"/>
          <ac:spMkLst>
            <pc:docMk/>
            <pc:sldMk cId="2378945749" sldId="1491"/>
            <ac:spMk id="5" creationId="{14A2538D-0515-4508-B6B4-89744A2416D4}"/>
          </ac:spMkLst>
        </pc:spChg>
        <pc:graphicFrameChg chg="mod">
          <ac:chgData name="Steve Hord" userId="7478402321db30a2" providerId="LiveId" clId="{2BE8268A-D9D2-41A8-B4C6-48F6B669FF4C}" dt="2020-04-22T22:42:14.378" v="1067" actId="255"/>
          <ac:graphicFrameMkLst>
            <pc:docMk/>
            <pc:sldMk cId="2378945749" sldId="1491"/>
            <ac:graphicFrameMk id="4" creationId="{8E6A15FB-C436-4785-ACB8-B812481A9D36}"/>
          </ac:graphicFrameMkLst>
        </pc:graphicFrameChg>
      </pc:sldChg>
      <pc:sldChg chg="modSp modNotesTx">
        <pc:chgData name="Steve Hord" userId="7478402321db30a2" providerId="LiveId" clId="{2BE8268A-D9D2-41A8-B4C6-48F6B669FF4C}" dt="2020-04-22T23:39:44.141" v="1153" actId="113"/>
        <pc:sldMkLst>
          <pc:docMk/>
          <pc:sldMk cId="116317705" sldId="1492"/>
        </pc:sldMkLst>
        <pc:graphicFrameChg chg="mod">
          <ac:chgData name="Steve Hord" userId="7478402321db30a2" providerId="LiveId" clId="{2BE8268A-D9D2-41A8-B4C6-48F6B669FF4C}" dt="2020-04-22T23:38:18.751" v="1152" actId="20577"/>
          <ac:graphicFrameMkLst>
            <pc:docMk/>
            <pc:sldMk cId="116317705" sldId="1492"/>
            <ac:graphicFrameMk id="9" creationId="{F7CC1D9E-88F5-456E-993A-578CEA5E3534}"/>
          </ac:graphicFrameMkLst>
        </pc:graphicFrameChg>
      </pc:sldChg>
      <pc:sldChg chg="modSp">
        <pc:chgData name="Steve Hord" userId="7478402321db30a2" providerId="LiveId" clId="{2BE8268A-D9D2-41A8-B4C6-48F6B669FF4C}" dt="2020-04-22T22:43:55.713" v="1070" actId="255"/>
        <pc:sldMkLst>
          <pc:docMk/>
          <pc:sldMk cId="594598944" sldId="1494"/>
        </pc:sldMkLst>
        <pc:graphicFrameChg chg="mod">
          <ac:chgData name="Steve Hord" userId="7478402321db30a2" providerId="LiveId" clId="{2BE8268A-D9D2-41A8-B4C6-48F6B669FF4C}" dt="2020-04-22T22:43:55.713" v="1070" actId="255"/>
          <ac:graphicFrameMkLst>
            <pc:docMk/>
            <pc:sldMk cId="594598944" sldId="1494"/>
            <ac:graphicFrameMk id="6" creationId="{ECD4F830-3F57-4416-97C9-3E857291381E}"/>
          </ac:graphicFrameMkLst>
        </pc:graphicFrameChg>
      </pc:sldChg>
      <pc:sldChg chg="modSp">
        <pc:chgData name="Steve Hord" userId="7478402321db30a2" providerId="LiveId" clId="{2BE8268A-D9D2-41A8-B4C6-48F6B669FF4C}" dt="2020-04-22T20:33:42.389" v="736" actId="20577"/>
        <pc:sldMkLst>
          <pc:docMk/>
          <pc:sldMk cId="865064506" sldId="1498"/>
        </pc:sldMkLst>
        <pc:spChg chg="mod">
          <ac:chgData name="Steve Hord" userId="7478402321db30a2" providerId="LiveId" clId="{2BE8268A-D9D2-41A8-B4C6-48F6B669FF4C}" dt="2020-04-22T20:33:42.389" v="736" actId="20577"/>
          <ac:spMkLst>
            <pc:docMk/>
            <pc:sldMk cId="865064506" sldId="1498"/>
            <ac:spMk id="3" creationId="{4897B8F8-26DF-42FB-ACB0-59929F1C2344}"/>
          </ac:spMkLst>
        </pc:spChg>
      </pc:sldChg>
    </pc:docChg>
  </pc:docChgLst>
  <pc:docChgLst>
    <pc:chgData name="Varinder Singh" userId="S::varising@microsoft.com::e78eab9f-fa20-4bd5-9745-875ae6e7a1cb" providerId="AD" clId="Web-{3BF7E6E9-F4C9-4D5C-BEA6-6D4CE2B41640}"/>
    <pc:docChg chg="addSld delSld modSld sldOrd modSection">
      <pc:chgData name="Varinder Singh" userId="S::varising@microsoft.com::e78eab9f-fa20-4bd5-9745-875ae6e7a1cb" providerId="AD" clId="Web-{3BF7E6E9-F4C9-4D5C-BEA6-6D4CE2B41640}" dt="2020-03-07T16:36:52.981" v="90"/>
      <pc:docMkLst>
        <pc:docMk/>
      </pc:docMkLst>
      <pc:sldChg chg="del">
        <pc:chgData name="Varinder Singh" userId="S::varising@microsoft.com::e78eab9f-fa20-4bd5-9745-875ae6e7a1cb" providerId="AD" clId="Web-{3BF7E6E9-F4C9-4D5C-BEA6-6D4CE2B41640}" dt="2020-03-07T16:36:52.981" v="90"/>
        <pc:sldMkLst>
          <pc:docMk/>
          <pc:sldMk cId="2627857805" sldId="613"/>
        </pc:sldMkLst>
      </pc:sldChg>
      <pc:sldChg chg="del">
        <pc:chgData name="Varinder Singh" userId="S::varising@microsoft.com::e78eab9f-fa20-4bd5-9745-875ae6e7a1cb" providerId="AD" clId="Web-{3BF7E6E9-F4C9-4D5C-BEA6-6D4CE2B41640}" dt="2020-03-07T16:36:37.012" v="89"/>
        <pc:sldMkLst>
          <pc:docMk/>
          <pc:sldMk cId="147614051" sldId="617"/>
        </pc:sldMkLst>
      </pc:sldChg>
      <pc:sldChg chg="modSp ord modNotes">
        <pc:chgData name="Varinder Singh" userId="S::varising@microsoft.com::e78eab9f-fa20-4bd5-9745-875ae6e7a1cb" providerId="AD" clId="Web-{3BF7E6E9-F4C9-4D5C-BEA6-6D4CE2B41640}" dt="2020-03-07T16:34:58.277" v="84"/>
        <pc:sldMkLst>
          <pc:docMk/>
          <pc:sldMk cId="840088110" sldId="630"/>
        </pc:sldMkLst>
        <pc:spChg chg="mod">
          <ac:chgData name="Varinder Singh" userId="S::varising@microsoft.com::e78eab9f-fa20-4bd5-9745-875ae6e7a1cb" providerId="AD" clId="Web-{3BF7E6E9-F4C9-4D5C-BEA6-6D4CE2B41640}" dt="2020-03-07T16:31:31.574" v="22" actId="20577"/>
          <ac:spMkLst>
            <pc:docMk/>
            <pc:sldMk cId="840088110" sldId="630"/>
            <ac:spMk id="3" creationId="{8F64A22E-2B43-4FC6-AF08-0CDB3F9E9269}"/>
          </ac:spMkLst>
        </pc:spChg>
        <pc:spChg chg="mod">
          <ac:chgData name="Varinder Singh" userId="S::varising@microsoft.com::e78eab9f-fa20-4bd5-9745-875ae6e7a1cb" providerId="AD" clId="Web-{3BF7E6E9-F4C9-4D5C-BEA6-6D4CE2B41640}" dt="2020-03-07T16:32:42.402" v="76" actId="20577"/>
          <ac:spMkLst>
            <pc:docMk/>
            <pc:sldMk cId="840088110" sldId="630"/>
            <ac:spMk id="6" creationId="{637E159C-9ACF-48AE-927A-D5FB13695C7F}"/>
          </ac:spMkLst>
        </pc:spChg>
      </pc:sldChg>
      <pc:sldChg chg="del">
        <pc:chgData name="Varinder Singh" userId="S::varising@microsoft.com::e78eab9f-fa20-4bd5-9745-875ae6e7a1cb" providerId="AD" clId="Web-{3BF7E6E9-F4C9-4D5C-BEA6-6D4CE2B41640}" dt="2020-03-07T16:28:31.917" v="0"/>
        <pc:sldMkLst>
          <pc:docMk/>
          <pc:sldMk cId="150279395" sldId="637"/>
        </pc:sldMkLst>
      </pc:sldChg>
      <pc:sldChg chg="modSp">
        <pc:chgData name="Varinder Singh" userId="S::varising@microsoft.com::e78eab9f-fa20-4bd5-9745-875ae6e7a1cb" providerId="AD" clId="Web-{3BF7E6E9-F4C9-4D5C-BEA6-6D4CE2B41640}" dt="2020-03-07T16:35:40.465" v="87" actId="20577"/>
        <pc:sldMkLst>
          <pc:docMk/>
          <pc:sldMk cId="3922378719" sldId="666"/>
        </pc:sldMkLst>
        <pc:spChg chg="mod">
          <ac:chgData name="Varinder Singh" userId="S::varising@microsoft.com::e78eab9f-fa20-4bd5-9745-875ae6e7a1cb" providerId="AD" clId="Web-{3BF7E6E9-F4C9-4D5C-BEA6-6D4CE2B41640}" dt="2020-03-07T16:35:40.465" v="87" actId="20577"/>
          <ac:spMkLst>
            <pc:docMk/>
            <pc:sldMk cId="3922378719" sldId="666"/>
            <ac:spMk id="4" creationId="{137A33B6-B3D2-4115-BBAF-642663B99AE8}"/>
          </ac:spMkLst>
        </pc:spChg>
      </pc:sldChg>
      <pc:sldChg chg="add replId">
        <pc:chgData name="Varinder Singh" userId="S::varising@microsoft.com::e78eab9f-fa20-4bd5-9745-875ae6e7a1cb" providerId="AD" clId="Web-{3BF7E6E9-F4C9-4D5C-BEA6-6D4CE2B41640}" dt="2020-03-07T16:31:01.745" v="14"/>
        <pc:sldMkLst>
          <pc:docMk/>
          <pc:sldMk cId="2074685303" sldId="668"/>
        </pc:sldMkLst>
      </pc:sldChg>
    </pc:docChg>
  </pc:docChgLst>
  <pc:docChgLst>
    <pc:chgData name="Sam Mesel" userId="1ee7badb-5d1f-4872-89ae-dcf7b71f276a" providerId="ADAL" clId="{53886FC4-CEC3-49C2-A16F-E052A3E85A45}"/>
    <pc:docChg chg="undo custSel addSld delSld modSld sldOrd modSection">
      <pc:chgData name="Sam Mesel" userId="1ee7badb-5d1f-4872-89ae-dcf7b71f276a" providerId="ADAL" clId="{53886FC4-CEC3-49C2-A16F-E052A3E85A45}" dt="2020-03-20T19:24:52.319" v="16036" actId="12"/>
      <pc:docMkLst>
        <pc:docMk/>
      </pc:docMkLst>
      <pc:sldChg chg="modSp mod">
        <pc:chgData name="Sam Mesel" userId="1ee7badb-5d1f-4872-89ae-dcf7b71f276a" providerId="ADAL" clId="{53886FC4-CEC3-49C2-A16F-E052A3E85A45}" dt="2020-03-18T02:46:53.889" v="5322" actId="6549"/>
        <pc:sldMkLst>
          <pc:docMk/>
          <pc:sldMk cId="1196121053" sldId="260"/>
        </pc:sldMkLst>
        <pc:spChg chg="mod">
          <ac:chgData name="Sam Mesel" userId="1ee7badb-5d1f-4872-89ae-dcf7b71f276a" providerId="ADAL" clId="{53886FC4-CEC3-49C2-A16F-E052A3E85A45}" dt="2020-03-18T02:46:53.889" v="5322" actId="6549"/>
          <ac:spMkLst>
            <pc:docMk/>
            <pc:sldMk cId="1196121053" sldId="260"/>
            <ac:spMk id="4" creationId="{5D85DF47-300F-4085-B774-DDE734B96F99}"/>
          </ac:spMkLst>
        </pc:spChg>
      </pc:sldChg>
      <pc:sldChg chg="add del setBg">
        <pc:chgData name="Sam Mesel" userId="1ee7badb-5d1f-4872-89ae-dcf7b71f276a" providerId="ADAL" clId="{53886FC4-CEC3-49C2-A16F-E052A3E85A45}" dt="2020-03-11T02:47:19.747" v="3015"/>
        <pc:sldMkLst>
          <pc:docMk/>
          <pc:sldMk cId="364842060" sldId="290"/>
        </pc:sldMkLst>
      </pc:sldChg>
      <pc:sldChg chg="modSp mod">
        <pc:chgData name="Sam Mesel" userId="1ee7badb-5d1f-4872-89ae-dcf7b71f276a" providerId="ADAL" clId="{53886FC4-CEC3-49C2-A16F-E052A3E85A45}" dt="2020-03-04T23:36:23.957" v="1609" actId="6549"/>
        <pc:sldMkLst>
          <pc:docMk/>
          <pc:sldMk cId="3931192502" sldId="414"/>
        </pc:sldMkLst>
        <pc:spChg chg="mod">
          <ac:chgData name="Sam Mesel" userId="1ee7badb-5d1f-4872-89ae-dcf7b71f276a" providerId="ADAL" clId="{53886FC4-CEC3-49C2-A16F-E052A3E85A45}" dt="2020-03-04T23:36:23.957" v="1609" actId="6549"/>
          <ac:spMkLst>
            <pc:docMk/>
            <pc:sldMk cId="3931192502" sldId="414"/>
            <ac:spMk id="15" creationId="{F1FE9ECC-87E8-4E90-B453-0D8472E1073C}"/>
          </ac:spMkLst>
        </pc:spChg>
      </pc:sldChg>
      <pc:sldChg chg="modSp mod">
        <pc:chgData name="Sam Mesel" userId="1ee7badb-5d1f-4872-89ae-dcf7b71f276a" providerId="ADAL" clId="{53886FC4-CEC3-49C2-A16F-E052A3E85A45}" dt="2020-03-04T16:58:07.539" v="19" actId="6549"/>
        <pc:sldMkLst>
          <pc:docMk/>
          <pc:sldMk cId="2621600474" sldId="534"/>
        </pc:sldMkLst>
        <pc:spChg chg="mod">
          <ac:chgData name="Sam Mesel" userId="1ee7badb-5d1f-4872-89ae-dcf7b71f276a" providerId="ADAL" clId="{53886FC4-CEC3-49C2-A16F-E052A3E85A45}" dt="2020-03-04T16:58:07.539" v="19" actId="6549"/>
          <ac:spMkLst>
            <pc:docMk/>
            <pc:sldMk cId="2621600474" sldId="534"/>
            <ac:spMk id="5" creationId="{55182462-DFDF-4D48-A92C-42FD52821C4E}"/>
          </ac:spMkLst>
        </pc:spChg>
      </pc:sldChg>
      <pc:sldChg chg="modSp mod">
        <pc:chgData name="Sam Mesel" userId="1ee7badb-5d1f-4872-89ae-dcf7b71f276a" providerId="ADAL" clId="{53886FC4-CEC3-49C2-A16F-E052A3E85A45}" dt="2020-03-18T02:47:02.854" v="5323" actId="6549"/>
        <pc:sldMkLst>
          <pc:docMk/>
          <pc:sldMk cId="4083746080" sldId="561"/>
        </pc:sldMkLst>
        <pc:spChg chg="mod">
          <ac:chgData name="Sam Mesel" userId="1ee7badb-5d1f-4872-89ae-dcf7b71f276a" providerId="ADAL" clId="{53886FC4-CEC3-49C2-A16F-E052A3E85A45}" dt="2020-03-18T02:47:02.854" v="5323" actId="6549"/>
          <ac:spMkLst>
            <pc:docMk/>
            <pc:sldMk cId="4083746080" sldId="561"/>
            <ac:spMk id="2" creationId="{74CD77A6-E28D-4D8D-9FE5-64ADAA827AC9}"/>
          </ac:spMkLst>
        </pc:spChg>
      </pc:sldChg>
      <pc:sldChg chg="modSp mod">
        <pc:chgData name="Sam Mesel" userId="1ee7badb-5d1f-4872-89ae-dcf7b71f276a" providerId="ADAL" clId="{53886FC4-CEC3-49C2-A16F-E052A3E85A45}" dt="2020-03-18T02:46:34.992" v="5320" actId="6549"/>
        <pc:sldMkLst>
          <pc:docMk/>
          <pc:sldMk cId="1615560134" sldId="562"/>
        </pc:sldMkLst>
        <pc:spChg chg="mod">
          <ac:chgData name="Sam Mesel" userId="1ee7badb-5d1f-4872-89ae-dcf7b71f276a" providerId="ADAL" clId="{53886FC4-CEC3-49C2-A16F-E052A3E85A45}" dt="2020-03-18T02:46:34.992" v="5320" actId="6549"/>
          <ac:spMkLst>
            <pc:docMk/>
            <pc:sldMk cId="1615560134" sldId="562"/>
            <ac:spMk id="3" creationId="{859B2BAE-A383-4E74-B3CF-9AC64DA11727}"/>
          </ac:spMkLst>
        </pc:spChg>
      </pc:sldChg>
      <pc:sldChg chg="modNotesTx">
        <pc:chgData name="Sam Mesel" userId="1ee7badb-5d1f-4872-89ae-dcf7b71f276a" providerId="ADAL" clId="{53886FC4-CEC3-49C2-A16F-E052A3E85A45}" dt="2020-03-04T20:29:00.982" v="422" actId="20577"/>
        <pc:sldMkLst>
          <pc:docMk/>
          <pc:sldMk cId="3735096506" sldId="563"/>
        </pc:sldMkLst>
      </pc:sldChg>
      <pc:sldChg chg="modSp mod">
        <pc:chgData name="Sam Mesel" userId="1ee7badb-5d1f-4872-89ae-dcf7b71f276a" providerId="ADAL" clId="{53886FC4-CEC3-49C2-A16F-E052A3E85A45}" dt="2020-03-18T02:47:09.291" v="5324" actId="6549"/>
        <pc:sldMkLst>
          <pc:docMk/>
          <pc:sldMk cId="289400407" sldId="564"/>
        </pc:sldMkLst>
        <pc:spChg chg="mod">
          <ac:chgData name="Sam Mesel" userId="1ee7badb-5d1f-4872-89ae-dcf7b71f276a" providerId="ADAL" clId="{53886FC4-CEC3-49C2-A16F-E052A3E85A45}" dt="2020-03-18T02:47:09.291" v="5324" actId="6549"/>
          <ac:spMkLst>
            <pc:docMk/>
            <pc:sldMk cId="289400407" sldId="564"/>
            <ac:spMk id="2" creationId="{74CD77A6-E28D-4D8D-9FE5-64ADAA827AC9}"/>
          </ac:spMkLst>
        </pc:spChg>
      </pc:sldChg>
      <pc:sldChg chg="modSp mod">
        <pc:chgData name="Sam Mesel" userId="1ee7badb-5d1f-4872-89ae-dcf7b71f276a" providerId="ADAL" clId="{53886FC4-CEC3-49C2-A16F-E052A3E85A45}" dt="2020-03-04T20:33:31.864" v="442" actId="5793"/>
        <pc:sldMkLst>
          <pc:docMk/>
          <pc:sldMk cId="2034824179" sldId="565"/>
        </pc:sldMkLst>
        <pc:spChg chg="mod">
          <ac:chgData name="Sam Mesel" userId="1ee7badb-5d1f-4872-89ae-dcf7b71f276a" providerId="ADAL" clId="{53886FC4-CEC3-49C2-A16F-E052A3E85A45}" dt="2020-03-04T20:33:31.864" v="442" actId="5793"/>
          <ac:spMkLst>
            <pc:docMk/>
            <pc:sldMk cId="2034824179" sldId="565"/>
            <ac:spMk id="5" creationId="{55182462-DFDF-4D48-A92C-42FD52821C4E}"/>
          </ac:spMkLst>
        </pc:spChg>
      </pc:sldChg>
      <pc:sldChg chg="modSp mod">
        <pc:chgData name="Sam Mesel" userId="1ee7badb-5d1f-4872-89ae-dcf7b71f276a" providerId="ADAL" clId="{53886FC4-CEC3-49C2-A16F-E052A3E85A45}" dt="2020-03-18T02:47:16.657" v="5325" actId="6549"/>
        <pc:sldMkLst>
          <pc:docMk/>
          <pc:sldMk cId="57495843" sldId="571"/>
        </pc:sldMkLst>
        <pc:spChg chg="mod">
          <ac:chgData name="Sam Mesel" userId="1ee7badb-5d1f-4872-89ae-dcf7b71f276a" providerId="ADAL" clId="{53886FC4-CEC3-49C2-A16F-E052A3E85A45}" dt="2020-03-18T02:47:16.657" v="5325" actId="6549"/>
          <ac:spMkLst>
            <pc:docMk/>
            <pc:sldMk cId="57495843" sldId="571"/>
            <ac:spMk id="2" creationId="{74CD77A6-E28D-4D8D-9FE5-64ADAA827AC9}"/>
          </ac:spMkLst>
        </pc:spChg>
      </pc:sldChg>
      <pc:sldChg chg="modSp mod">
        <pc:chgData name="Sam Mesel" userId="1ee7badb-5d1f-4872-89ae-dcf7b71f276a" providerId="ADAL" clId="{53886FC4-CEC3-49C2-A16F-E052A3E85A45}" dt="2020-03-04T21:40:33.209" v="740" actId="6549"/>
        <pc:sldMkLst>
          <pc:docMk/>
          <pc:sldMk cId="2314306782" sldId="572"/>
        </pc:sldMkLst>
        <pc:spChg chg="mod">
          <ac:chgData name="Sam Mesel" userId="1ee7badb-5d1f-4872-89ae-dcf7b71f276a" providerId="ADAL" clId="{53886FC4-CEC3-49C2-A16F-E052A3E85A45}" dt="2020-03-04T21:40:33.209" v="740" actId="6549"/>
          <ac:spMkLst>
            <pc:docMk/>
            <pc:sldMk cId="2314306782" sldId="572"/>
            <ac:spMk id="5" creationId="{55182462-DFDF-4D48-A92C-42FD52821C4E}"/>
          </ac:spMkLst>
        </pc:spChg>
      </pc:sldChg>
      <pc:sldChg chg="modSp">
        <pc:chgData name="Sam Mesel" userId="1ee7badb-5d1f-4872-89ae-dcf7b71f276a" providerId="ADAL" clId="{53886FC4-CEC3-49C2-A16F-E052A3E85A45}" dt="2020-03-04T21:50:31.706" v="744" actId="20577"/>
        <pc:sldMkLst>
          <pc:docMk/>
          <pc:sldMk cId="4248838292" sldId="573"/>
        </pc:sldMkLst>
        <pc:graphicFrameChg chg="mod">
          <ac:chgData name="Sam Mesel" userId="1ee7badb-5d1f-4872-89ae-dcf7b71f276a" providerId="ADAL" clId="{53886FC4-CEC3-49C2-A16F-E052A3E85A45}" dt="2020-03-04T21:50:31.706" v="744" actId="20577"/>
          <ac:graphicFrameMkLst>
            <pc:docMk/>
            <pc:sldMk cId="4248838292" sldId="573"/>
            <ac:graphicFrameMk id="5" creationId="{1F83612F-0834-42B2-AA7B-98B8BAB0DB29}"/>
          </ac:graphicFrameMkLst>
        </pc:graphicFrameChg>
      </pc:sldChg>
      <pc:sldChg chg="modSp mod">
        <pc:chgData name="Sam Mesel" userId="1ee7badb-5d1f-4872-89ae-dcf7b71f276a" providerId="ADAL" clId="{53886FC4-CEC3-49C2-A16F-E052A3E85A45}" dt="2020-03-18T02:34:58.412" v="5299" actId="6549"/>
        <pc:sldMkLst>
          <pc:docMk/>
          <pc:sldMk cId="1611742758" sldId="578"/>
        </pc:sldMkLst>
        <pc:spChg chg="mod">
          <ac:chgData name="Sam Mesel" userId="1ee7badb-5d1f-4872-89ae-dcf7b71f276a" providerId="ADAL" clId="{53886FC4-CEC3-49C2-A16F-E052A3E85A45}" dt="2020-03-18T02:34:58.412" v="5299" actId="6549"/>
          <ac:spMkLst>
            <pc:docMk/>
            <pc:sldMk cId="1611742758" sldId="578"/>
            <ac:spMk id="2" creationId="{74CD77A6-E28D-4D8D-9FE5-64ADAA827AC9}"/>
          </ac:spMkLst>
        </pc:spChg>
      </pc:sldChg>
      <pc:sldChg chg="modSp mod">
        <pc:chgData name="Sam Mesel" userId="1ee7badb-5d1f-4872-89ae-dcf7b71f276a" providerId="ADAL" clId="{53886FC4-CEC3-49C2-A16F-E052A3E85A45}" dt="2020-03-18T02:35:25.971" v="5306" actId="6549"/>
        <pc:sldMkLst>
          <pc:docMk/>
          <pc:sldMk cId="3424530645" sldId="579"/>
        </pc:sldMkLst>
        <pc:spChg chg="mod">
          <ac:chgData name="Sam Mesel" userId="1ee7badb-5d1f-4872-89ae-dcf7b71f276a" providerId="ADAL" clId="{53886FC4-CEC3-49C2-A16F-E052A3E85A45}" dt="2020-03-18T02:35:25.971" v="5306" actId="6549"/>
          <ac:spMkLst>
            <pc:docMk/>
            <pc:sldMk cId="3424530645" sldId="579"/>
            <ac:spMk id="5" creationId="{55182462-DFDF-4D48-A92C-42FD52821C4E}"/>
          </ac:spMkLst>
        </pc:spChg>
      </pc:sldChg>
      <pc:sldChg chg="modSp mod">
        <pc:chgData name="Sam Mesel" userId="1ee7badb-5d1f-4872-89ae-dcf7b71f276a" providerId="ADAL" clId="{53886FC4-CEC3-49C2-A16F-E052A3E85A45}" dt="2020-03-18T02:46:10.952" v="5314" actId="6549"/>
        <pc:sldMkLst>
          <pc:docMk/>
          <pc:sldMk cId="3265042349" sldId="585"/>
        </pc:sldMkLst>
        <pc:spChg chg="mod">
          <ac:chgData name="Sam Mesel" userId="1ee7badb-5d1f-4872-89ae-dcf7b71f276a" providerId="ADAL" clId="{53886FC4-CEC3-49C2-A16F-E052A3E85A45}" dt="2020-03-18T02:46:10.952" v="5314" actId="6549"/>
          <ac:spMkLst>
            <pc:docMk/>
            <pc:sldMk cId="3265042349" sldId="585"/>
            <ac:spMk id="2" creationId="{74CD77A6-E28D-4D8D-9FE5-64ADAA827AC9}"/>
          </ac:spMkLst>
        </pc:spChg>
      </pc:sldChg>
      <pc:sldChg chg="modSp mod">
        <pc:chgData name="Sam Mesel" userId="1ee7badb-5d1f-4872-89ae-dcf7b71f276a" providerId="ADAL" clId="{53886FC4-CEC3-49C2-A16F-E052A3E85A45}" dt="2020-03-04T23:19:08.162" v="1458" actId="20577"/>
        <pc:sldMkLst>
          <pc:docMk/>
          <pc:sldMk cId="3258136525" sldId="586"/>
        </pc:sldMkLst>
        <pc:spChg chg="mod">
          <ac:chgData name="Sam Mesel" userId="1ee7badb-5d1f-4872-89ae-dcf7b71f276a" providerId="ADAL" clId="{53886FC4-CEC3-49C2-A16F-E052A3E85A45}" dt="2020-03-04T23:19:08.162" v="1458" actId="20577"/>
          <ac:spMkLst>
            <pc:docMk/>
            <pc:sldMk cId="3258136525" sldId="586"/>
            <ac:spMk id="5" creationId="{55182462-DFDF-4D48-A92C-42FD52821C4E}"/>
          </ac:spMkLst>
        </pc:spChg>
      </pc:sldChg>
      <pc:sldChg chg="modSp mod">
        <pc:chgData name="Sam Mesel" userId="1ee7badb-5d1f-4872-89ae-dcf7b71f276a" providerId="ADAL" clId="{53886FC4-CEC3-49C2-A16F-E052A3E85A45}" dt="2020-03-20T19:21:47.831" v="16018" actId="12"/>
        <pc:sldMkLst>
          <pc:docMk/>
          <pc:sldMk cId="2725246263" sldId="589"/>
        </pc:sldMkLst>
        <pc:spChg chg="mod">
          <ac:chgData name="Sam Mesel" userId="1ee7badb-5d1f-4872-89ae-dcf7b71f276a" providerId="ADAL" clId="{53886FC4-CEC3-49C2-A16F-E052A3E85A45}" dt="2020-03-20T19:21:25.911" v="16007" actId="108"/>
          <ac:spMkLst>
            <pc:docMk/>
            <pc:sldMk cId="2725246263" sldId="589"/>
            <ac:spMk id="2" creationId="{BC57B38C-8413-4861-A4F5-7DF656AEAD0D}"/>
          </ac:spMkLst>
        </pc:spChg>
        <pc:spChg chg="mod">
          <ac:chgData name="Sam Mesel" userId="1ee7badb-5d1f-4872-89ae-dcf7b71f276a" providerId="ADAL" clId="{53886FC4-CEC3-49C2-A16F-E052A3E85A45}" dt="2020-03-20T19:21:47.831" v="16018" actId="12"/>
          <ac:spMkLst>
            <pc:docMk/>
            <pc:sldMk cId="2725246263" sldId="589"/>
            <ac:spMk id="3" creationId="{4897B8F8-26DF-42FB-ACB0-59929F1C2344}"/>
          </ac:spMkLst>
        </pc:spChg>
      </pc:sldChg>
      <pc:sldChg chg="modSp mod">
        <pc:chgData name="Sam Mesel" userId="1ee7badb-5d1f-4872-89ae-dcf7b71f276a" providerId="ADAL" clId="{53886FC4-CEC3-49C2-A16F-E052A3E85A45}" dt="2020-03-18T02:47:29.079" v="5326" actId="6549"/>
        <pc:sldMkLst>
          <pc:docMk/>
          <pc:sldMk cId="1945948018" sldId="592"/>
        </pc:sldMkLst>
        <pc:spChg chg="mod">
          <ac:chgData name="Sam Mesel" userId="1ee7badb-5d1f-4872-89ae-dcf7b71f276a" providerId="ADAL" clId="{53886FC4-CEC3-49C2-A16F-E052A3E85A45}" dt="2020-03-18T02:47:29.079" v="5326" actId="6549"/>
          <ac:spMkLst>
            <pc:docMk/>
            <pc:sldMk cId="1945948018" sldId="592"/>
            <ac:spMk id="2" creationId="{74CD77A6-E28D-4D8D-9FE5-64ADAA827AC9}"/>
          </ac:spMkLst>
        </pc:spChg>
      </pc:sldChg>
      <pc:sldChg chg="modSp mod setBg">
        <pc:chgData name="Sam Mesel" userId="1ee7badb-5d1f-4872-89ae-dcf7b71f276a" providerId="ADAL" clId="{53886FC4-CEC3-49C2-A16F-E052A3E85A45}" dt="2020-03-20T16:32:17.302" v="14976" actId="20577"/>
        <pc:sldMkLst>
          <pc:docMk/>
          <pc:sldMk cId="1849063011" sldId="593"/>
        </pc:sldMkLst>
        <pc:spChg chg="mod">
          <ac:chgData name="Sam Mesel" userId="1ee7badb-5d1f-4872-89ae-dcf7b71f276a" providerId="ADAL" clId="{53886FC4-CEC3-49C2-A16F-E052A3E85A45}" dt="2020-03-20T16:32:17.302" v="14976" actId="20577"/>
          <ac:spMkLst>
            <pc:docMk/>
            <pc:sldMk cId="1849063011" sldId="593"/>
            <ac:spMk id="5" creationId="{55182462-DFDF-4D48-A92C-42FD52821C4E}"/>
          </ac:spMkLst>
        </pc:spChg>
      </pc:sldChg>
      <pc:sldChg chg="addSp delSp modSp del mod">
        <pc:chgData name="Sam Mesel" userId="1ee7badb-5d1f-4872-89ae-dcf7b71f276a" providerId="ADAL" clId="{53886FC4-CEC3-49C2-A16F-E052A3E85A45}" dt="2020-03-11T21:49:01.667" v="3646" actId="2696"/>
        <pc:sldMkLst>
          <pc:docMk/>
          <pc:sldMk cId="512892420" sldId="594"/>
        </pc:sldMkLst>
        <pc:spChg chg="add del mod">
          <ac:chgData name="Sam Mesel" userId="1ee7badb-5d1f-4872-89ae-dcf7b71f276a" providerId="ADAL" clId="{53886FC4-CEC3-49C2-A16F-E052A3E85A45}" dt="2020-03-11T01:27:38.449" v="1870" actId="12084"/>
          <ac:spMkLst>
            <pc:docMk/>
            <pc:sldMk cId="512892420" sldId="594"/>
            <ac:spMk id="5" creationId="{C4FC2365-5893-46BF-AD77-13D6BF30F156}"/>
          </ac:spMkLst>
        </pc:spChg>
        <pc:graphicFrameChg chg="add del mod">
          <ac:chgData name="Sam Mesel" userId="1ee7badb-5d1f-4872-89ae-dcf7b71f276a" providerId="ADAL" clId="{53886FC4-CEC3-49C2-A16F-E052A3E85A45}" dt="2020-03-11T01:27:47.627" v="1872" actId="21"/>
          <ac:graphicFrameMkLst>
            <pc:docMk/>
            <pc:sldMk cId="512892420" sldId="594"/>
            <ac:graphicFrameMk id="6" creationId="{F156BDB3-C664-40EC-9E9D-2BB8FD52799A}"/>
          </ac:graphicFrameMkLst>
        </pc:graphicFrameChg>
      </pc:sldChg>
      <pc:sldChg chg="modSp del mod ord modNotesTx">
        <pc:chgData name="Sam Mesel" userId="1ee7badb-5d1f-4872-89ae-dcf7b71f276a" providerId="ADAL" clId="{53886FC4-CEC3-49C2-A16F-E052A3E85A45}" dt="2020-03-20T00:36:57.087" v="13070" actId="47"/>
        <pc:sldMkLst>
          <pc:docMk/>
          <pc:sldMk cId="1064848225" sldId="595"/>
        </pc:sldMkLst>
        <pc:spChg chg="mod">
          <ac:chgData name="Sam Mesel" userId="1ee7badb-5d1f-4872-89ae-dcf7b71f276a" providerId="ADAL" clId="{53886FC4-CEC3-49C2-A16F-E052A3E85A45}" dt="2020-03-20T00:36:29.400" v="13062" actId="21"/>
          <ac:spMkLst>
            <pc:docMk/>
            <pc:sldMk cId="1064848225" sldId="595"/>
            <ac:spMk id="6" creationId="{637E159C-9ACF-48AE-927A-D5FB13695C7F}"/>
          </ac:spMkLst>
        </pc:spChg>
      </pc:sldChg>
      <pc:sldChg chg="modSp mod">
        <pc:chgData name="Sam Mesel" userId="1ee7badb-5d1f-4872-89ae-dcf7b71f276a" providerId="ADAL" clId="{53886FC4-CEC3-49C2-A16F-E052A3E85A45}" dt="2020-03-20T19:20:55.453" v="16005" actId="12"/>
        <pc:sldMkLst>
          <pc:docMk/>
          <pc:sldMk cId="1274964080" sldId="596"/>
        </pc:sldMkLst>
        <pc:spChg chg="mod">
          <ac:chgData name="Sam Mesel" userId="1ee7badb-5d1f-4872-89ae-dcf7b71f276a" providerId="ADAL" clId="{53886FC4-CEC3-49C2-A16F-E052A3E85A45}" dt="2020-03-20T19:20:52.453" v="16004" actId="108"/>
          <ac:spMkLst>
            <pc:docMk/>
            <pc:sldMk cId="1274964080" sldId="596"/>
            <ac:spMk id="2" creationId="{BC57B38C-8413-4861-A4F5-7DF656AEAD0D}"/>
          </ac:spMkLst>
        </pc:spChg>
        <pc:spChg chg="mod">
          <ac:chgData name="Sam Mesel" userId="1ee7badb-5d1f-4872-89ae-dcf7b71f276a" providerId="ADAL" clId="{53886FC4-CEC3-49C2-A16F-E052A3E85A45}" dt="2020-03-20T19:20:55.453" v="16005" actId="12"/>
          <ac:spMkLst>
            <pc:docMk/>
            <pc:sldMk cId="1274964080" sldId="596"/>
            <ac:spMk id="3" creationId="{4897B8F8-26DF-42FB-ACB0-59929F1C2344}"/>
          </ac:spMkLst>
        </pc:spChg>
      </pc:sldChg>
      <pc:sldChg chg="modSp modNotesTx">
        <pc:chgData name="Sam Mesel" userId="1ee7badb-5d1f-4872-89ae-dcf7b71f276a" providerId="ADAL" clId="{53886FC4-CEC3-49C2-A16F-E052A3E85A45}" dt="2020-03-19T22:04:37.585" v="13032" actId="20577"/>
        <pc:sldMkLst>
          <pc:docMk/>
          <pc:sldMk cId="1731718220" sldId="598"/>
        </pc:sldMkLst>
        <pc:graphicFrameChg chg="mod">
          <ac:chgData name="Sam Mesel" userId="1ee7badb-5d1f-4872-89ae-dcf7b71f276a" providerId="ADAL" clId="{53886FC4-CEC3-49C2-A16F-E052A3E85A45}" dt="2020-03-19T22:00:29.810" v="12734" actId="20577"/>
          <ac:graphicFrameMkLst>
            <pc:docMk/>
            <pc:sldMk cId="1731718220" sldId="598"/>
            <ac:graphicFrameMk id="3" creationId="{9484E1FE-7534-495E-863C-657A46F5E628}"/>
          </ac:graphicFrameMkLst>
        </pc:graphicFrameChg>
      </pc:sldChg>
      <pc:sldChg chg="del">
        <pc:chgData name="Sam Mesel" userId="1ee7badb-5d1f-4872-89ae-dcf7b71f276a" providerId="ADAL" clId="{53886FC4-CEC3-49C2-A16F-E052A3E85A45}" dt="2020-03-19T20:50:09.094" v="9442" actId="47"/>
        <pc:sldMkLst>
          <pc:docMk/>
          <pc:sldMk cId="1346441633" sldId="604"/>
        </pc:sldMkLst>
      </pc:sldChg>
      <pc:sldChg chg="modSp mod">
        <pc:chgData name="Sam Mesel" userId="1ee7badb-5d1f-4872-89ae-dcf7b71f276a" providerId="ADAL" clId="{53886FC4-CEC3-49C2-A16F-E052A3E85A45}" dt="2020-03-04T17:37:00.599" v="44" actId="108"/>
        <pc:sldMkLst>
          <pc:docMk/>
          <pc:sldMk cId="2390424317" sldId="606"/>
        </pc:sldMkLst>
        <pc:spChg chg="mod">
          <ac:chgData name="Sam Mesel" userId="1ee7badb-5d1f-4872-89ae-dcf7b71f276a" providerId="ADAL" clId="{53886FC4-CEC3-49C2-A16F-E052A3E85A45}" dt="2020-03-04T17:37:00.599" v="44" actId="108"/>
          <ac:spMkLst>
            <pc:docMk/>
            <pc:sldMk cId="2390424317" sldId="606"/>
            <ac:spMk id="3" creationId="{F35E8CBB-5A7D-4DEF-BAF7-8DD5D042F9E0}"/>
          </ac:spMkLst>
        </pc:spChg>
      </pc:sldChg>
      <pc:sldChg chg="modSp mod modNotesTx">
        <pc:chgData name="Sam Mesel" userId="1ee7badb-5d1f-4872-89ae-dcf7b71f276a" providerId="ADAL" clId="{53886FC4-CEC3-49C2-A16F-E052A3E85A45}" dt="2020-03-04T17:04:27.986" v="41" actId="207"/>
        <pc:sldMkLst>
          <pc:docMk/>
          <pc:sldMk cId="1325009333" sldId="607"/>
        </pc:sldMkLst>
        <pc:spChg chg="mod">
          <ac:chgData name="Sam Mesel" userId="1ee7badb-5d1f-4872-89ae-dcf7b71f276a" providerId="ADAL" clId="{53886FC4-CEC3-49C2-A16F-E052A3E85A45}" dt="2020-03-04T17:00:03.689" v="20" actId="1076"/>
          <ac:spMkLst>
            <pc:docMk/>
            <pc:sldMk cId="1325009333" sldId="607"/>
            <ac:spMk id="3" creationId="{F35E8CBB-5A7D-4DEF-BAF7-8DD5D042F9E0}"/>
          </ac:spMkLst>
        </pc:spChg>
        <pc:graphicFrameChg chg="mod">
          <ac:chgData name="Sam Mesel" userId="1ee7badb-5d1f-4872-89ae-dcf7b71f276a" providerId="ADAL" clId="{53886FC4-CEC3-49C2-A16F-E052A3E85A45}" dt="2020-03-04T17:00:20.924" v="26" actId="20577"/>
          <ac:graphicFrameMkLst>
            <pc:docMk/>
            <pc:sldMk cId="1325009333" sldId="607"/>
            <ac:graphicFrameMk id="16" creationId="{93C23775-6963-43D2-A76C-D134C16F4E3C}"/>
          </ac:graphicFrameMkLst>
        </pc:graphicFrameChg>
        <pc:picChg chg="mod">
          <ac:chgData name="Sam Mesel" userId="1ee7badb-5d1f-4872-89ae-dcf7b71f276a" providerId="ADAL" clId="{53886FC4-CEC3-49C2-A16F-E052A3E85A45}" dt="2020-03-04T17:00:10.787" v="21" actId="1076"/>
          <ac:picMkLst>
            <pc:docMk/>
            <pc:sldMk cId="1325009333" sldId="607"/>
            <ac:picMk id="50" creationId="{81EB01C7-33B2-4DAA-974D-9C05141497B1}"/>
          </ac:picMkLst>
        </pc:picChg>
      </pc:sldChg>
      <pc:sldChg chg="modSp modNotes">
        <pc:chgData name="Sam Mesel" userId="1ee7badb-5d1f-4872-89ae-dcf7b71f276a" providerId="ADAL" clId="{53886FC4-CEC3-49C2-A16F-E052A3E85A45}" dt="2020-03-04T20:12:49.245" v="369"/>
        <pc:sldMkLst>
          <pc:docMk/>
          <pc:sldMk cId="442293443" sldId="608"/>
        </pc:sldMkLst>
        <pc:graphicFrameChg chg="mod">
          <ac:chgData name="Sam Mesel" userId="1ee7badb-5d1f-4872-89ae-dcf7b71f276a" providerId="ADAL" clId="{53886FC4-CEC3-49C2-A16F-E052A3E85A45}" dt="2020-03-04T17:59:58.657" v="323" actId="20577"/>
          <ac:graphicFrameMkLst>
            <pc:docMk/>
            <pc:sldMk cId="442293443" sldId="608"/>
            <ac:graphicFrameMk id="7" creationId="{CF7C7A3B-A65D-40B2-92A1-6E44F518C1B2}"/>
          </ac:graphicFrameMkLst>
        </pc:graphicFrameChg>
      </pc:sldChg>
      <pc:sldChg chg="modSp modNotes modNotesTx">
        <pc:chgData name="Sam Mesel" userId="1ee7badb-5d1f-4872-89ae-dcf7b71f276a" providerId="ADAL" clId="{53886FC4-CEC3-49C2-A16F-E052A3E85A45}" dt="2020-03-04T20:13:15.624" v="380" actId="20577"/>
        <pc:sldMkLst>
          <pc:docMk/>
          <pc:sldMk cId="2729675242" sldId="611"/>
        </pc:sldMkLst>
        <pc:graphicFrameChg chg="mod">
          <ac:chgData name="Sam Mesel" userId="1ee7badb-5d1f-4872-89ae-dcf7b71f276a" providerId="ADAL" clId="{53886FC4-CEC3-49C2-A16F-E052A3E85A45}" dt="2020-03-04T20:11:27.528" v="368" actId="20577"/>
          <ac:graphicFrameMkLst>
            <pc:docMk/>
            <pc:sldMk cId="2729675242" sldId="611"/>
            <ac:graphicFrameMk id="14" creationId="{5A678193-540D-4760-9964-3541B6B737B9}"/>
          </ac:graphicFrameMkLst>
        </pc:graphicFrameChg>
      </pc:sldChg>
      <pc:sldChg chg="modSp mod">
        <pc:chgData name="Sam Mesel" userId="1ee7badb-5d1f-4872-89ae-dcf7b71f276a" providerId="ADAL" clId="{53886FC4-CEC3-49C2-A16F-E052A3E85A45}" dt="2020-03-04T20:26:13.349" v="382" actId="6549"/>
        <pc:sldMkLst>
          <pc:docMk/>
          <pc:sldMk cId="3301692604" sldId="616"/>
        </pc:sldMkLst>
        <pc:spChg chg="mod">
          <ac:chgData name="Sam Mesel" userId="1ee7badb-5d1f-4872-89ae-dcf7b71f276a" providerId="ADAL" clId="{53886FC4-CEC3-49C2-A16F-E052A3E85A45}" dt="2020-03-04T20:26:13.349" v="382" actId="6549"/>
          <ac:spMkLst>
            <pc:docMk/>
            <pc:sldMk cId="3301692604" sldId="616"/>
            <ac:spMk id="8" creationId="{A1A983F2-5871-48C1-95D4-E5D9ADD59778}"/>
          </ac:spMkLst>
        </pc:spChg>
      </pc:sldChg>
      <pc:sldChg chg="modSp mod">
        <pc:chgData name="Sam Mesel" userId="1ee7badb-5d1f-4872-89ae-dcf7b71f276a" providerId="ADAL" clId="{53886FC4-CEC3-49C2-A16F-E052A3E85A45}" dt="2020-03-04T20:14:05.750" v="381" actId="6549"/>
        <pc:sldMkLst>
          <pc:docMk/>
          <pc:sldMk cId="3117416934" sldId="620"/>
        </pc:sldMkLst>
        <pc:spChg chg="mod">
          <ac:chgData name="Sam Mesel" userId="1ee7badb-5d1f-4872-89ae-dcf7b71f276a" providerId="ADAL" clId="{53886FC4-CEC3-49C2-A16F-E052A3E85A45}" dt="2020-03-04T20:14:05.750" v="381" actId="6549"/>
          <ac:spMkLst>
            <pc:docMk/>
            <pc:sldMk cId="3117416934" sldId="620"/>
            <ac:spMk id="6" creationId="{637E159C-9ACF-48AE-927A-D5FB13695C7F}"/>
          </ac:spMkLst>
        </pc:spChg>
      </pc:sldChg>
      <pc:sldChg chg="modSp mod">
        <pc:chgData name="Sam Mesel" userId="1ee7badb-5d1f-4872-89ae-dcf7b71f276a" providerId="ADAL" clId="{53886FC4-CEC3-49C2-A16F-E052A3E85A45}" dt="2020-03-04T20:33:46.487" v="443" actId="122"/>
        <pc:sldMkLst>
          <pc:docMk/>
          <pc:sldMk cId="4187810366" sldId="622"/>
        </pc:sldMkLst>
        <pc:graphicFrameChg chg="modGraphic">
          <ac:chgData name="Sam Mesel" userId="1ee7badb-5d1f-4872-89ae-dcf7b71f276a" providerId="ADAL" clId="{53886FC4-CEC3-49C2-A16F-E052A3E85A45}" dt="2020-03-04T20:33:46.487" v="443" actId="122"/>
          <ac:graphicFrameMkLst>
            <pc:docMk/>
            <pc:sldMk cId="4187810366" sldId="622"/>
            <ac:graphicFrameMk id="7" creationId="{FBCEAB35-8B70-4C96-9DA5-8813406D2B2C}"/>
          </ac:graphicFrameMkLst>
        </pc:graphicFrameChg>
      </pc:sldChg>
      <pc:sldChg chg="modSp mod">
        <pc:chgData name="Sam Mesel" userId="1ee7badb-5d1f-4872-89ae-dcf7b71f276a" providerId="ADAL" clId="{53886FC4-CEC3-49C2-A16F-E052A3E85A45}" dt="2020-03-04T20:55:21.912" v="598" actId="20577"/>
        <pc:sldMkLst>
          <pc:docMk/>
          <pc:sldMk cId="1318002608" sldId="623"/>
        </pc:sldMkLst>
        <pc:spChg chg="mod">
          <ac:chgData name="Sam Mesel" userId="1ee7badb-5d1f-4872-89ae-dcf7b71f276a" providerId="ADAL" clId="{53886FC4-CEC3-49C2-A16F-E052A3E85A45}" dt="2020-03-04T20:54:37.069" v="565" actId="20577"/>
          <ac:spMkLst>
            <pc:docMk/>
            <pc:sldMk cId="1318002608" sldId="623"/>
            <ac:spMk id="2" creationId="{EB67312A-9819-43C6-8D84-D9136E6CFFCC}"/>
          </ac:spMkLst>
        </pc:spChg>
        <pc:graphicFrameChg chg="mod">
          <ac:chgData name="Sam Mesel" userId="1ee7badb-5d1f-4872-89ae-dcf7b71f276a" providerId="ADAL" clId="{53886FC4-CEC3-49C2-A16F-E052A3E85A45}" dt="2020-03-04T20:55:21.912" v="598" actId="20577"/>
          <ac:graphicFrameMkLst>
            <pc:docMk/>
            <pc:sldMk cId="1318002608" sldId="623"/>
            <ac:graphicFrameMk id="6" creationId="{FE39FBFC-2347-4F5C-9A5B-6BC4070C7FFE}"/>
          </ac:graphicFrameMkLst>
        </pc:graphicFrameChg>
      </pc:sldChg>
      <pc:sldChg chg="modSp">
        <pc:chgData name="Sam Mesel" userId="1ee7badb-5d1f-4872-89ae-dcf7b71f276a" providerId="ADAL" clId="{53886FC4-CEC3-49C2-A16F-E052A3E85A45}" dt="2020-03-04T21:01:19.415" v="602" actId="20577"/>
        <pc:sldMkLst>
          <pc:docMk/>
          <pc:sldMk cId="3250101842" sldId="625"/>
        </pc:sldMkLst>
        <pc:graphicFrameChg chg="mod">
          <ac:chgData name="Sam Mesel" userId="1ee7badb-5d1f-4872-89ae-dcf7b71f276a" providerId="ADAL" clId="{53886FC4-CEC3-49C2-A16F-E052A3E85A45}" dt="2020-03-04T21:01:19.415" v="602" actId="20577"/>
          <ac:graphicFrameMkLst>
            <pc:docMk/>
            <pc:sldMk cId="3250101842" sldId="625"/>
            <ac:graphicFrameMk id="5" creationId="{5D7438D8-5693-4DB1-95DC-55A0C8D2FCF2}"/>
          </ac:graphicFrameMkLst>
        </pc:graphicFrameChg>
      </pc:sldChg>
      <pc:sldChg chg="modSp mod">
        <pc:chgData name="Sam Mesel" userId="1ee7badb-5d1f-4872-89ae-dcf7b71f276a" providerId="ADAL" clId="{53886FC4-CEC3-49C2-A16F-E052A3E85A45}" dt="2020-03-04T21:10:32.664" v="610" actId="6549"/>
        <pc:sldMkLst>
          <pc:docMk/>
          <pc:sldMk cId="2095964457" sldId="627"/>
        </pc:sldMkLst>
        <pc:spChg chg="mod">
          <ac:chgData name="Sam Mesel" userId="1ee7badb-5d1f-4872-89ae-dcf7b71f276a" providerId="ADAL" clId="{53886FC4-CEC3-49C2-A16F-E052A3E85A45}" dt="2020-03-04T21:10:32.664" v="610" actId="6549"/>
          <ac:spMkLst>
            <pc:docMk/>
            <pc:sldMk cId="2095964457" sldId="627"/>
            <ac:spMk id="2" creationId="{EB67312A-9819-43C6-8D84-D9136E6CFFCC}"/>
          </ac:spMkLst>
        </pc:spChg>
        <pc:graphicFrameChg chg="mod">
          <ac:chgData name="Sam Mesel" userId="1ee7badb-5d1f-4872-89ae-dcf7b71f276a" providerId="ADAL" clId="{53886FC4-CEC3-49C2-A16F-E052A3E85A45}" dt="2020-03-04T21:10:08.625" v="606" actId="20577"/>
          <ac:graphicFrameMkLst>
            <pc:docMk/>
            <pc:sldMk cId="2095964457" sldId="627"/>
            <ac:graphicFrameMk id="7" creationId="{1178B55D-984E-41D0-A9BA-E9D52330A210}"/>
          </ac:graphicFrameMkLst>
        </pc:graphicFrameChg>
      </pc:sldChg>
      <pc:sldChg chg="delSp modSp mod">
        <pc:chgData name="Sam Mesel" userId="1ee7badb-5d1f-4872-89ae-dcf7b71f276a" providerId="ADAL" clId="{53886FC4-CEC3-49C2-A16F-E052A3E85A45}" dt="2020-03-04T21:28:09.010" v="647" actId="478"/>
        <pc:sldMkLst>
          <pc:docMk/>
          <pc:sldMk cId="1324540104" sldId="629"/>
        </pc:sldMkLst>
        <pc:spChg chg="mod">
          <ac:chgData name="Sam Mesel" userId="1ee7badb-5d1f-4872-89ae-dcf7b71f276a" providerId="ADAL" clId="{53886FC4-CEC3-49C2-A16F-E052A3E85A45}" dt="2020-03-04T21:27:54.897" v="645" actId="6549"/>
          <ac:spMkLst>
            <pc:docMk/>
            <pc:sldMk cId="1324540104" sldId="629"/>
            <ac:spMk id="2" creationId="{EB67312A-9819-43C6-8D84-D9136E6CFFCC}"/>
          </ac:spMkLst>
        </pc:spChg>
        <pc:grpChg chg="del">
          <ac:chgData name="Sam Mesel" userId="1ee7badb-5d1f-4872-89ae-dcf7b71f276a" providerId="ADAL" clId="{53886FC4-CEC3-49C2-A16F-E052A3E85A45}" dt="2020-03-04T21:28:09.010" v="647" actId="478"/>
          <ac:grpSpMkLst>
            <pc:docMk/>
            <pc:sldMk cId="1324540104" sldId="629"/>
            <ac:grpSpMk id="12" creationId="{2584858B-A28D-4297-9168-CADBAAF75F05}"/>
          </ac:grpSpMkLst>
        </pc:grpChg>
        <pc:graphicFrameChg chg="mod">
          <ac:chgData name="Sam Mesel" userId="1ee7badb-5d1f-4872-89ae-dcf7b71f276a" providerId="ADAL" clId="{53886FC4-CEC3-49C2-A16F-E052A3E85A45}" dt="2020-03-04T21:28:04.462" v="646" actId="20577"/>
          <ac:graphicFrameMkLst>
            <pc:docMk/>
            <pc:sldMk cId="1324540104" sldId="629"/>
            <ac:graphicFrameMk id="5" creationId="{09EAD516-1026-4FE2-95B8-45F49E2A26BC}"/>
          </ac:graphicFrameMkLst>
        </pc:graphicFrameChg>
      </pc:sldChg>
      <pc:sldChg chg="modSp">
        <pc:chgData name="Sam Mesel" userId="1ee7badb-5d1f-4872-89ae-dcf7b71f276a" providerId="ADAL" clId="{53886FC4-CEC3-49C2-A16F-E052A3E85A45}" dt="2020-03-04T23:08:39.310" v="1379" actId="113"/>
        <pc:sldMkLst>
          <pc:docMk/>
          <pc:sldMk cId="732669774" sldId="639"/>
        </pc:sldMkLst>
        <pc:graphicFrameChg chg="mod">
          <ac:chgData name="Sam Mesel" userId="1ee7badb-5d1f-4872-89ae-dcf7b71f276a" providerId="ADAL" clId="{53886FC4-CEC3-49C2-A16F-E052A3E85A45}" dt="2020-03-04T23:08:39.310" v="1379" actId="113"/>
          <ac:graphicFrameMkLst>
            <pc:docMk/>
            <pc:sldMk cId="732669774" sldId="639"/>
            <ac:graphicFrameMk id="5" creationId="{09902D76-AF24-4822-BD55-215875E1D268}"/>
          </ac:graphicFrameMkLst>
        </pc:graphicFrameChg>
      </pc:sldChg>
      <pc:sldChg chg="modNotesTx">
        <pc:chgData name="Sam Mesel" userId="1ee7badb-5d1f-4872-89ae-dcf7b71f276a" providerId="ADAL" clId="{53886FC4-CEC3-49C2-A16F-E052A3E85A45}" dt="2020-03-04T23:10:34.634" v="1380" actId="20577"/>
        <pc:sldMkLst>
          <pc:docMk/>
          <pc:sldMk cId="3930368789" sldId="640"/>
        </pc:sldMkLst>
      </pc:sldChg>
      <pc:sldChg chg="addSp delSp modSp mod modNotes">
        <pc:chgData name="Sam Mesel" userId="1ee7badb-5d1f-4872-89ae-dcf7b71f276a" providerId="ADAL" clId="{53886FC4-CEC3-49C2-A16F-E052A3E85A45}" dt="2020-03-04T23:13:02.703" v="1424" actId="1076"/>
        <pc:sldMkLst>
          <pc:docMk/>
          <pc:sldMk cId="172937384" sldId="641"/>
        </pc:sldMkLst>
        <pc:spChg chg="del">
          <ac:chgData name="Sam Mesel" userId="1ee7badb-5d1f-4872-89ae-dcf7b71f276a" providerId="ADAL" clId="{53886FC4-CEC3-49C2-A16F-E052A3E85A45}" dt="2020-03-04T23:12:06.237" v="1381" actId="12084"/>
          <ac:spMkLst>
            <pc:docMk/>
            <pc:sldMk cId="172937384" sldId="641"/>
            <ac:spMk id="4" creationId="{F3616A99-090F-45E1-9334-58D58B148205}"/>
          </ac:spMkLst>
        </pc:spChg>
        <pc:spChg chg="mod">
          <ac:chgData name="Sam Mesel" userId="1ee7badb-5d1f-4872-89ae-dcf7b71f276a" providerId="ADAL" clId="{53886FC4-CEC3-49C2-A16F-E052A3E85A45}" dt="2020-03-04T23:13:02.703" v="1424" actId="1076"/>
          <ac:spMkLst>
            <pc:docMk/>
            <pc:sldMk cId="172937384" sldId="641"/>
            <ac:spMk id="5" creationId="{6CB2FA83-0DB2-4D69-AEAC-E1C657B6D68D}"/>
          </ac:spMkLst>
        </pc:spChg>
        <pc:graphicFrameChg chg="add mod">
          <ac:chgData name="Sam Mesel" userId="1ee7badb-5d1f-4872-89ae-dcf7b71f276a" providerId="ADAL" clId="{53886FC4-CEC3-49C2-A16F-E052A3E85A45}" dt="2020-03-04T23:12:39.167" v="1421" actId="14100"/>
          <ac:graphicFrameMkLst>
            <pc:docMk/>
            <pc:sldMk cId="172937384" sldId="641"/>
            <ac:graphicFrameMk id="6" creationId="{18B894D6-E22E-4CFC-A540-F16B2A407F36}"/>
          </ac:graphicFrameMkLst>
        </pc:graphicFrameChg>
      </pc:sldChg>
      <pc:sldChg chg="modSp mod">
        <pc:chgData name="Sam Mesel" userId="1ee7badb-5d1f-4872-89ae-dcf7b71f276a" providerId="ADAL" clId="{53886FC4-CEC3-49C2-A16F-E052A3E85A45}" dt="2020-03-04T23:13:53.201" v="1442" actId="20577"/>
        <pc:sldMkLst>
          <pc:docMk/>
          <pc:sldMk cId="3714785798" sldId="642"/>
        </pc:sldMkLst>
        <pc:spChg chg="mod">
          <ac:chgData name="Sam Mesel" userId="1ee7badb-5d1f-4872-89ae-dcf7b71f276a" providerId="ADAL" clId="{53886FC4-CEC3-49C2-A16F-E052A3E85A45}" dt="2020-03-04T23:13:53.201" v="1442" actId="20577"/>
          <ac:spMkLst>
            <pc:docMk/>
            <pc:sldMk cId="3714785798" sldId="642"/>
            <ac:spMk id="2" creationId="{EB67312A-9819-43C6-8D84-D9136E6CFFCC}"/>
          </ac:spMkLst>
        </pc:spChg>
      </pc:sldChg>
      <pc:sldChg chg="modSp">
        <pc:chgData name="Sam Mesel" userId="1ee7badb-5d1f-4872-89ae-dcf7b71f276a" providerId="ADAL" clId="{53886FC4-CEC3-49C2-A16F-E052A3E85A45}" dt="2020-03-04T23:14:33.530" v="1447" actId="20577"/>
        <pc:sldMkLst>
          <pc:docMk/>
          <pc:sldMk cId="1075660142" sldId="643"/>
        </pc:sldMkLst>
        <pc:graphicFrameChg chg="mod">
          <ac:chgData name="Sam Mesel" userId="1ee7badb-5d1f-4872-89ae-dcf7b71f276a" providerId="ADAL" clId="{53886FC4-CEC3-49C2-A16F-E052A3E85A45}" dt="2020-03-04T23:14:33.530" v="1447" actId="20577"/>
          <ac:graphicFrameMkLst>
            <pc:docMk/>
            <pc:sldMk cId="1075660142" sldId="643"/>
            <ac:graphicFrameMk id="8" creationId="{E5E48B91-45DE-435E-93ED-AA586BA87830}"/>
          </ac:graphicFrameMkLst>
        </pc:graphicFrameChg>
      </pc:sldChg>
      <pc:sldChg chg="modSp">
        <pc:chgData name="Sam Mesel" userId="1ee7badb-5d1f-4872-89ae-dcf7b71f276a" providerId="ADAL" clId="{53886FC4-CEC3-49C2-A16F-E052A3E85A45}" dt="2020-03-04T23:31:46.326" v="1601" actId="20577"/>
        <pc:sldMkLst>
          <pc:docMk/>
          <pc:sldMk cId="3559491282" sldId="644"/>
        </pc:sldMkLst>
        <pc:graphicFrameChg chg="mod">
          <ac:chgData name="Sam Mesel" userId="1ee7badb-5d1f-4872-89ae-dcf7b71f276a" providerId="ADAL" clId="{53886FC4-CEC3-49C2-A16F-E052A3E85A45}" dt="2020-03-04T23:31:46.326" v="1601" actId="20577"/>
          <ac:graphicFrameMkLst>
            <pc:docMk/>
            <pc:sldMk cId="3559491282" sldId="644"/>
            <ac:graphicFrameMk id="5" creationId="{245B2B36-0B74-4B3E-B10A-918A3616B657}"/>
          </ac:graphicFrameMkLst>
        </pc:graphicFrameChg>
      </pc:sldChg>
      <pc:sldChg chg="modSp modNotes">
        <pc:chgData name="Sam Mesel" userId="1ee7badb-5d1f-4872-89ae-dcf7b71f276a" providerId="ADAL" clId="{53886FC4-CEC3-49C2-A16F-E052A3E85A45}" dt="2020-03-04T23:34:05.185" v="1606" actId="404"/>
        <pc:sldMkLst>
          <pc:docMk/>
          <pc:sldMk cId="3406017694" sldId="646"/>
        </pc:sldMkLst>
        <pc:graphicFrameChg chg="mod">
          <ac:chgData name="Sam Mesel" userId="1ee7badb-5d1f-4872-89ae-dcf7b71f276a" providerId="ADAL" clId="{53886FC4-CEC3-49C2-A16F-E052A3E85A45}" dt="2020-03-04T23:32:42.813" v="1604" actId="14100"/>
          <ac:graphicFrameMkLst>
            <pc:docMk/>
            <pc:sldMk cId="3406017694" sldId="646"/>
            <ac:graphicFrameMk id="5" creationId="{0EA1033C-4D7A-4C65-AD31-7C1B570F6AB6}"/>
          </ac:graphicFrameMkLst>
        </pc:graphicFrameChg>
        <pc:graphicFrameChg chg="mod">
          <ac:chgData name="Sam Mesel" userId="1ee7badb-5d1f-4872-89ae-dcf7b71f276a" providerId="ADAL" clId="{53886FC4-CEC3-49C2-A16F-E052A3E85A45}" dt="2020-03-04T23:34:05.185" v="1606" actId="404"/>
          <ac:graphicFrameMkLst>
            <pc:docMk/>
            <pc:sldMk cId="3406017694" sldId="646"/>
            <ac:graphicFrameMk id="6" creationId="{41AC8C61-B717-4C41-B581-C2B4D565FD9A}"/>
          </ac:graphicFrameMkLst>
        </pc:graphicFrameChg>
      </pc:sldChg>
      <pc:sldChg chg="modSp">
        <pc:chgData name="Sam Mesel" userId="1ee7badb-5d1f-4872-89ae-dcf7b71f276a" providerId="ADAL" clId="{53886FC4-CEC3-49C2-A16F-E052A3E85A45}" dt="2020-03-04T23:23:13.293" v="1486" actId="20577"/>
        <pc:sldMkLst>
          <pc:docMk/>
          <pc:sldMk cId="414429562" sldId="652"/>
        </pc:sldMkLst>
        <pc:graphicFrameChg chg="mod">
          <ac:chgData name="Sam Mesel" userId="1ee7badb-5d1f-4872-89ae-dcf7b71f276a" providerId="ADAL" clId="{53886FC4-CEC3-49C2-A16F-E052A3E85A45}" dt="2020-03-04T23:23:13.293" v="1486" actId="20577"/>
          <ac:graphicFrameMkLst>
            <pc:docMk/>
            <pc:sldMk cId="414429562" sldId="652"/>
            <ac:graphicFrameMk id="7" creationId="{8E814E8D-720B-47C9-8A1F-4441C2B85411}"/>
          </ac:graphicFrameMkLst>
        </pc:graphicFrameChg>
      </pc:sldChg>
      <pc:sldChg chg="modSp mod">
        <pc:chgData name="Sam Mesel" userId="1ee7badb-5d1f-4872-89ae-dcf7b71f276a" providerId="ADAL" clId="{53886FC4-CEC3-49C2-A16F-E052A3E85A45}" dt="2020-03-04T23:24:16.362" v="1511" actId="6549"/>
        <pc:sldMkLst>
          <pc:docMk/>
          <pc:sldMk cId="2508506295" sldId="653"/>
        </pc:sldMkLst>
        <pc:graphicFrameChg chg="modGraphic">
          <ac:chgData name="Sam Mesel" userId="1ee7badb-5d1f-4872-89ae-dcf7b71f276a" providerId="ADAL" clId="{53886FC4-CEC3-49C2-A16F-E052A3E85A45}" dt="2020-03-04T23:24:16.362" v="1511" actId="6549"/>
          <ac:graphicFrameMkLst>
            <pc:docMk/>
            <pc:sldMk cId="2508506295" sldId="653"/>
            <ac:graphicFrameMk id="10" creationId="{7FC218A8-88B5-4B09-9039-98226F89CDF8}"/>
          </ac:graphicFrameMkLst>
        </pc:graphicFrameChg>
      </pc:sldChg>
      <pc:sldChg chg="modSp mod">
        <pc:chgData name="Sam Mesel" userId="1ee7badb-5d1f-4872-89ae-dcf7b71f276a" providerId="ADAL" clId="{53886FC4-CEC3-49C2-A16F-E052A3E85A45}" dt="2020-03-04T23:27:55.055" v="1567" actId="14100"/>
        <pc:sldMkLst>
          <pc:docMk/>
          <pc:sldMk cId="2471988427" sldId="656"/>
        </pc:sldMkLst>
        <pc:spChg chg="mod">
          <ac:chgData name="Sam Mesel" userId="1ee7badb-5d1f-4872-89ae-dcf7b71f276a" providerId="ADAL" clId="{53886FC4-CEC3-49C2-A16F-E052A3E85A45}" dt="2020-03-04T23:25:03.418" v="1512" actId="207"/>
          <ac:spMkLst>
            <pc:docMk/>
            <pc:sldMk cId="2471988427" sldId="656"/>
            <ac:spMk id="2" creationId="{EB67312A-9819-43C6-8D84-D9136E6CFFCC}"/>
          </ac:spMkLst>
        </pc:spChg>
        <pc:spChg chg="mod">
          <ac:chgData name="Sam Mesel" userId="1ee7badb-5d1f-4872-89ae-dcf7b71f276a" providerId="ADAL" clId="{53886FC4-CEC3-49C2-A16F-E052A3E85A45}" dt="2020-03-04T23:27:04.346" v="1553" actId="14100"/>
          <ac:spMkLst>
            <pc:docMk/>
            <pc:sldMk cId="2471988427" sldId="656"/>
            <ac:spMk id="4" creationId="{F3616A99-090F-45E1-9334-58D58B148205}"/>
          </ac:spMkLst>
        </pc:spChg>
        <pc:spChg chg="mod">
          <ac:chgData name="Sam Mesel" userId="1ee7badb-5d1f-4872-89ae-dcf7b71f276a" providerId="ADAL" clId="{53886FC4-CEC3-49C2-A16F-E052A3E85A45}" dt="2020-03-04T23:27:55.055" v="1567" actId="14100"/>
          <ac:spMkLst>
            <pc:docMk/>
            <pc:sldMk cId="2471988427" sldId="656"/>
            <ac:spMk id="6" creationId="{52A792B6-1B28-444F-8A7C-2727FAFF8B02}"/>
          </ac:spMkLst>
        </pc:spChg>
      </pc:sldChg>
      <pc:sldChg chg="modSp mod">
        <pc:chgData name="Sam Mesel" userId="1ee7badb-5d1f-4872-89ae-dcf7b71f276a" providerId="ADAL" clId="{53886FC4-CEC3-49C2-A16F-E052A3E85A45}" dt="2020-03-04T23:28:53.624" v="1600" actId="14100"/>
        <pc:sldMkLst>
          <pc:docMk/>
          <pc:sldMk cId="1683744399" sldId="657"/>
        </pc:sldMkLst>
        <pc:spChg chg="mod">
          <ac:chgData name="Sam Mesel" userId="1ee7badb-5d1f-4872-89ae-dcf7b71f276a" providerId="ADAL" clId="{53886FC4-CEC3-49C2-A16F-E052A3E85A45}" dt="2020-03-04T23:28:01.850" v="1568" actId="207"/>
          <ac:spMkLst>
            <pc:docMk/>
            <pc:sldMk cId="1683744399" sldId="657"/>
            <ac:spMk id="2" creationId="{EB67312A-9819-43C6-8D84-D9136E6CFFCC}"/>
          </ac:spMkLst>
        </pc:spChg>
        <pc:spChg chg="mod">
          <ac:chgData name="Sam Mesel" userId="1ee7badb-5d1f-4872-89ae-dcf7b71f276a" providerId="ADAL" clId="{53886FC4-CEC3-49C2-A16F-E052A3E85A45}" dt="2020-03-04T23:28:53.624" v="1600" actId="14100"/>
          <ac:spMkLst>
            <pc:docMk/>
            <pc:sldMk cId="1683744399" sldId="657"/>
            <ac:spMk id="6" creationId="{52A792B6-1B28-444F-8A7C-2727FAFF8B02}"/>
          </ac:spMkLst>
        </pc:spChg>
      </pc:sldChg>
      <pc:sldChg chg="modSp mod">
        <pc:chgData name="Sam Mesel" userId="1ee7badb-5d1f-4872-89ae-dcf7b71f276a" providerId="ADAL" clId="{53886FC4-CEC3-49C2-A16F-E052A3E85A45}" dt="2020-03-20T19:24:52.319" v="16036" actId="12"/>
        <pc:sldMkLst>
          <pc:docMk/>
          <pc:sldMk cId="1523160996" sldId="664"/>
        </pc:sldMkLst>
        <pc:spChg chg="mod">
          <ac:chgData name="Sam Mesel" userId="1ee7badb-5d1f-4872-89ae-dcf7b71f276a" providerId="ADAL" clId="{53886FC4-CEC3-49C2-A16F-E052A3E85A45}" dt="2020-03-20T19:22:14.979" v="16020" actId="108"/>
          <ac:spMkLst>
            <pc:docMk/>
            <pc:sldMk cId="1523160996" sldId="664"/>
            <ac:spMk id="2" creationId="{BC57B38C-8413-4861-A4F5-7DF656AEAD0D}"/>
          </ac:spMkLst>
        </pc:spChg>
        <pc:spChg chg="mod">
          <ac:chgData name="Sam Mesel" userId="1ee7badb-5d1f-4872-89ae-dcf7b71f276a" providerId="ADAL" clId="{53886FC4-CEC3-49C2-A16F-E052A3E85A45}" dt="2020-03-20T19:24:52.319" v="16036" actId="12"/>
          <ac:spMkLst>
            <pc:docMk/>
            <pc:sldMk cId="1523160996" sldId="664"/>
            <ac:spMk id="3" creationId="{4897B8F8-26DF-42FB-ACB0-59929F1C2344}"/>
          </ac:spMkLst>
        </pc:spChg>
      </pc:sldChg>
      <pc:sldChg chg="modSp add mod">
        <pc:chgData name="Sam Mesel" userId="1ee7badb-5d1f-4872-89ae-dcf7b71f276a" providerId="ADAL" clId="{53886FC4-CEC3-49C2-A16F-E052A3E85A45}" dt="2020-03-04T21:10:26.538" v="609" actId="6549"/>
        <pc:sldMkLst>
          <pc:docMk/>
          <pc:sldMk cId="1743105056" sldId="665"/>
        </pc:sldMkLst>
        <pc:spChg chg="mod">
          <ac:chgData name="Sam Mesel" userId="1ee7badb-5d1f-4872-89ae-dcf7b71f276a" providerId="ADAL" clId="{53886FC4-CEC3-49C2-A16F-E052A3E85A45}" dt="2020-03-04T21:10:26.538" v="609" actId="6549"/>
          <ac:spMkLst>
            <pc:docMk/>
            <pc:sldMk cId="1743105056" sldId="665"/>
            <ac:spMk id="2" creationId="{EB67312A-9819-43C6-8D84-D9136E6CFFCC}"/>
          </ac:spMkLst>
        </pc:spChg>
        <pc:graphicFrameChg chg="mod">
          <ac:chgData name="Sam Mesel" userId="1ee7badb-5d1f-4872-89ae-dcf7b71f276a" providerId="ADAL" clId="{53886FC4-CEC3-49C2-A16F-E052A3E85A45}" dt="2020-03-04T21:10:21.425" v="608" actId="20577"/>
          <ac:graphicFrameMkLst>
            <pc:docMk/>
            <pc:sldMk cId="1743105056" sldId="665"/>
            <ac:graphicFrameMk id="7" creationId="{1178B55D-984E-41D0-A9BA-E9D52330A210}"/>
          </ac:graphicFrameMkLst>
        </pc:graphicFrameChg>
      </pc:sldChg>
      <pc:sldChg chg="modSp add mod">
        <pc:chgData name="Sam Mesel" userId="1ee7badb-5d1f-4872-89ae-dcf7b71f276a" providerId="ADAL" clId="{53886FC4-CEC3-49C2-A16F-E052A3E85A45}" dt="2020-03-04T21:28:49.330" v="649" actId="20577"/>
        <pc:sldMkLst>
          <pc:docMk/>
          <pc:sldMk cId="3922378719" sldId="666"/>
        </pc:sldMkLst>
        <pc:spChg chg="mod">
          <ac:chgData name="Sam Mesel" userId="1ee7badb-5d1f-4872-89ae-dcf7b71f276a" providerId="ADAL" clId="{53886FC4-CEC3-49C2-A16F-E052A3E85A45}" dt="2020-03-04T21:28:42.812" v="648" actId="20577"/>
          <ac:spMkLst>
            <pc:docMk/>
            <pc:sldMk cId="3922378719" sldId="666"/>
            <ac:spMk id="2" creationId="{EB67312A-9819-43C6-8D84-D9136E6CFFCC}"/>
          </ac:spMkLst>
        </pc:spChg>
        <pc:graphicFrameChg chg="mod">
          <ac:chgData name="Sam Mesel" userId="1ee7badb-5d1f-4872-89ae-dcf7b71f276a" providerId="ADAL" clId="{53886FC4-CEC3-49C2-A16F-E052A3E85A45}" dt="2020-03-04T21:28:49.330" v="649" actId="20577"/>
          <ac:graphicFrameMkLst>
            <pc:docMk/>
            <pc:sldMk cId="3922378719" sldId="666"/>
            <ac:graphicFrameMk id="5" creationId="{09EAD516-1026-4FE2-95B8-45F49E2A26BC}"/>
          </ac:graphicFrameMkLst>
        </pc:graphicFrameChg>
      </pc:sldChg>
      <pc:sldChg chg="modSp add mod modNotesTx">
        <pc:chgData name="Sam Mesel" userId="1ee7badb-5d1f-4872-89ae-dcf7b71f276a" providerId="ADAL" clId="{53886FC4-CEC3-49C2-A16F-E052A3E85A45}" dt="2020-03-04T22:11:11.579" v="1033" actId="20577"/>
        <pc:sldMkLst>
          <pc:docMk/>
          <pc:sldMk cId="979826723" sldId="667"/>
        </pc:sldMkLst>
        <pc:spChg chg="mod">
          <ac:chgData name="Sam Mesel" userId="1ee7badb-5d1f-4872-89ae-dcf7b71f276a" providerId="ADAL" clId="{53886FC4-CEC3-49C2-A16F-E052A3E85A45}" dt="2020-03-04T22:10:12.212" v="1008" actId="20577"/>
          <ac:spMkLst>
            <pc:docMk/>
            <pc:sldMk cId="979826723" sldId="667"/>
            <ac:spMk id="2" creationId="{EB67312A-9819-43C6-8D84-D9136E6CFFCC}"/>
          </ac:spMkLst>
        </pc:spChg>
        <pc:spChg chg="mod">
          <ac:chgData name="Sam Mesel" userId="1ee7badb-5d1f-4872-89ae-dcf7b71f276a" providerId="ADAL" clId="{53886FC4-CEC3-49C2-A16F-E052A3E85A45}" dt="2020-03-04T22:10:15.793" v="1010" actId="27636"/>
          <ac:spMkLst>
            <pc:docMk/>
            <pc:sldMk cId="979826723" sldId="667"/>
            <ac:spMk id="3" creationId="{F35E8CBB-5A7D-4DEF-BAF7-8DD5D042F9E0}"/>
          </ac:spMkLst>
        </pc:spChg>
        <pc:graphicFrameChg chg="mod">
          <ac:chgData name="Sam Mesel" userId="1ee7badb-5d1f-4872-89ae-dcf7b71f276a" providerId="ADAL" clId="{53886FC4-CEC3-49C2-A16F-E052A3E85A45}" dt="2020-03-04T22:11:11.579" v="1033" actId="20577"/>
          <ac:graphicFrameMkLst>
            <pc:docMk/>
            <pc:sldMk cId="979826723" sldId="667"/>
            <ac:graphicFrameMk id="5" creationId="{1F83612F-0834-42B2-AA7B-98B8BAB0DB29}"/>
          </ac:graphicFrameMkLst>
        </pc:graphicFrameChg>
      </pc:sldChg>
      <pc:sldChg chg="add del">
        <pc:chgData name="Sam Mesel" userId="1ee7badb-5d1f-4872-89ae-dcf7b71f276a" providerId="ADAL" clId="{53886FC4-CEC3-49C2-A16F-E052A3E85A45}" dt="2020-03-04T22:12:50" v="1034" actId="2696"/>
        <pc:sldMkLst>
          <pc:docMk/>
          <pc:sldMk cId="739440823" sldId="668"/>
        </pc:sldMkLst>
      </pc:sldChg>
      <pc:sldChg chg="addSp delSp modSp add mod modNotesTx">
        <pc:chgData name="Sam Mesel" userId="1ee7badb-5d1f-4872-89ae-dcf7b71f276a" providerId="ADAL" clId="{53886FC4-CEC3-49C2-A16F-E052A3E85A45}" dt="2020-03-20T16:46:09.852" v="15578" actId="20577"/>
        <pc:sldMkLst>
          <pc:docMk/>
          <pc:sldMk cId="1985242486" sldId="669"/>
        </pc:sldMkLst>
        <pc:spChg chg="mod">
          <ac:chgData name="Sam Mesel" userId="1ee7badb-5d1f-4872-89ae-dcf7b71f276a" providerId="ADAL" clId="{53886FC4-CEC3-49C2-A16F-E052A3E85A45}" dt="2020-03-20T16:34:03.960" v="15039" actId="20577"/>
          <ac:spMkLst>
            <pc:docMk/>
            <pc:sldMk cId="1985242486" sldId="669"/>
            <ac:spMk id="2" creationId="{EB67312A-9819-43C6-8D84-D9136E6CFFCC}"/>
          </ac:spMkLst>
        </pc:spChg>
        <pc:spChg chg="mod">
          <ac:chgData name="Sam Mesel" userId="1ee7badb-5d1f-4872-89ae-dcf7b71f276a" providerId="ADAL" clId="{53886FC4-CEC3-49C2-A16F-E052A3E85A45}" dt="2020-03-20T16:44:07.534" v="15497" actId="14100"/>
          <ac:spMkLst>
            <pc:docMk/>
            <pc:sldMk cId="1985242486" sldId="669"/>
            <ac:spMk id="4" creationId="{F3616A99-090F-45E1-9334-58D58B148205}"/>
          </ac:spMkLst>
        </pc:spChg>
        <pc:spChg chg="add del mod">
          <ac:chgData name="Sam Mesel" userId="1ee7badb-5d1f-4872-89ae-dcf7b71f276a" providerId="ADAL" clId="{53886FC4-CEC3-49C2-A16F-E052A3E85A45}" dt="2020-03-20T16:44:34.248" v="15500" actId="12084"/>
          <ac:spMkLst>
            <pc:docMk/>
            <pc:sldMk cId="1985242486" sldId="669"/>
            <ac:spMk id="7" creationId="{DFE264C3-4A92-44EC-833E-408D396B849A}"/>
          </ac:spMkLst>
        </pc:spChg>
        <pc:spChg chg="add mod">
          <ac:chgData name="Sam Mesel" userId="1ee7badb-5d1f-4872-89ae-dcf7b71f276a" providerId="ADAL" clId="{53886FC4-CEC3-49C2-A16F-E052A3E85A45}" dt="2020-03-20T16:46:09.852" v="15578" actId="20577"/>
          <ac:spMkLst>
            <pc:docMk/>
            <pc:sldMk cId="1985242486" sldId="669"/>
            <ac:spMk id="9" creationId="{610DD977-6571-4E75-91F5-C5F710C78F56}"/>
          </ac:spMkLst>
        </pc:spChg>
        <pc:graphicFrameChg chg="add mod">
          <ac:chgData name="Sam Mesel" userId="1ee7badb-5d1f-4872-89ae-dcf7b71f276a" providerId="ADAL" clId="{53886FC4-CEC3-49C2-A16F-E052A3E85A45}" dt="2020-03-20T16:44:51.579" v="15504"/>
          <ac:graphicFrameMkLst>
            <pc:docMk/>
            <pc:sldMk cId="1985242486" sldId="669"/>
            <ac:graphicFrameMk id="5" creationId="{17C8480E-4A90-4F56-93A1-BC3A45EE117A}"/>
          </ac:graphicFrameMkLst>
        </pc:graphicFrameChg>
        <pc:graphicFrameChg chg="add del mod">
          <ac:chgData name="Sam Mesel" userId="1ee7badb-5d1f-4872-89ae-dcf7b71f276a" providerId="ADAL" clId="{53886FC4-CEC3-49C2-A16F-E052A3E85A45}" dt="2020-03-20T16:39:35.799" v="15316" actId="478"/>
          <ac:graphicFrameMkLst>
            <pc:docMk/>
            <pc:sldMk cId="1985242486" sldId="669"/>
            <ac:graphicFrameMk id="6" creationId="{ECD4F830-3F57-4416-97C9-3E857291381E}"/>
          </ac:graphicFrameMkLst>
        </pc:graphicFrameChg>
      </pc:sldChg>
      <pc:sldChg chg="addSp delSp modSp new mod">
        <pc:chgData name="Sam Mesel" userId="1ee7badb-5d1f-4872-89ae-dcf7b71f276a" providerId="ADAL" clId="{53886FC4-CEC3-49C2-A16F-E052A3E85A45}" dt="2020-03-19T15:34:09.747" v="5369" actId="20577"/>
        <pc:sldMkLst>
          <pc:docMk/>
          <pc:sldMk cId="555630791" sldId="670"/>
        </pc:sldMkLst>
        <pc:spChg chg="mod">
          <ac:chgData name="Sam Mesel" userId="1ee7badb-5d1f-4872-89ae-dcf7b71f276a" providerId="ADAL" clId="{53886FC4-CEC3-49C2-A16F-E052A3E85A45}" dt="2020-03-11T01:32:16.398" v="1955" actId="20577"/>
          <ac:spMkLst>
            <pc:docMk/>
            <pc:sldMk cId="555630791" sldId="670"/>
            <ac:spMk id="2" creationId="{23F20CDD-4226-4ADB-949D-67D9A9B704BA}"/>
          </ac:spMkLst>
        </pc:spChg>
        <pc:spChg chg="del mod">
          <ac:chgData name="Sam Mesel" userId="1ee7badb-5d1f-4872-89ae-dcf7b71f276a" providerId="ADAL" clId="{53886FC4-CEC3-49C2-A16F-E052A3E85A45}" dt="2020-03-11T01:33:24.246" v="1965" actId="12084"/>
          <ac:spMkLst>
            <pc:docMk/>
            <pc:sldMk cId="555630791" sldId="670"/>
            <ac:spMk id="4" creationId="{2C0FFE90-C414-4248-A2EA-E616DAA278A6}"/>
          </ac:spMkLst>
        </pc:spChg>
        <pc:graphicFrameChg chg="add mod">
          <ac:chgData name="Sam Mesel" userId="1ee7badb-5d1f-4872-89ae-dcf7b71f276a" providerId="ADAL" clId="{53886FC4-CEC3-49C2-A16F-E052A3E85A45}" dt="2020-03-19T15:34:09.747" v="5369" actId="20577"/>
          <ac:graphicFrameMkLst>
            <pc:docMk/>
            <pc:sldMk cId="555630791" sldId="670"/>
            <ac:graphicFrameMk id="5" creationId="{A0F8EEBB-1F60-49BA-B82D-D4F2B222B4C1}"/>
          </ac:graphicFrameMkLst>
        </pc:graphicFrameChg>
      </pc:sldChg>
      <pc:sldChg chg="addSp delSp modSp new mod modAnim modNotesTx">
        <pc:chgData name="Sam Mesel" userId="1ee7badb-5d1f-4872-89ae-dcf7b71f276a" providerId="ADAL" clId="{53886FC4-CEC3-49C2-A16F-E052A3E85A45}" dt="2020-03-11T01:57:13.373" v="2176" actId="6549"/>
        <pc:sldMkLst>
          <pc:docMk/>
          <pc:sldMk cId="2009854721" sldId="671"/>
        </pc:sldMkLst>
        <pc:spChg chg="mod">
          <ac:chgData name="Sam Mesel" userId="1ee7badb-5d1f-4872-89ae-dcf7b71f276a" providerId="ADAL" clId="{53886FC4-CEC3-49C2-A16F-E052A3E85A45}" dt="2020-03-11T01:35:41.367" v="2000" actId="20577"/>
          <ac:spMkLst>
            <pc:docMk/>
            <pc:sldMk cId="2009854721" sldId="671"/>
            <ac:spMk id="2" creationId="{67101A0D-3770-4FE2-ABBD-0B71D596ED17}"/>
          </ac:spMkLst>
        </pc:spChg>
        <pc:spChg chg="mod">
          <ac:chgData name="Sam Mesel" userId="1ee7badb-5d1f-4872-89ae-dcf7b71f276a" providerId="ADAL" clId="{53886FC4-CEC3-49C2-A16F-E052A3E85A45}" dt="2020-03-11T01:35:52.192" v="2015" actId="20577"/>
          <ac:spMkLst>
            <pc:docMk/>
            <pc:sldMk cId="2009854721" sldId="671"/>
            <ac:spMk id="3" creationId="{9BFF1A2D-0B17-4A09-BB6D-DA060432BA9F}"/>
          </ac:spMkLst>
        </pc:spChg>
        <pc:spChg chg="del">
          <ac:chgData name="Sam Mesel" userId="1ee7badb-5d1f-4872-89ae-dcf7b71f276a" providerId="ADAL" clId="{53886FC4-CEC3-49C2-A16F-E052A3E85A45}" dt="2020-03-11T01:36:31.820" v="2017" actId="478"/>
          <ac:spMkLst>
            <pc:docMk/>
            <pc:sldMk cId="2009854721" sldId="671"/>
            <ac:spMk id="4" creationId="{A1A98A24-4DAE-4F65-9EF2-394481D30F9E}"/>
          </ac:spMkLst>
        </pc:spChg>
        <pc:spChg chg="add del mod">
          <ac:chgData name="Sam Mesel" userId="1ee7badb-5d1f-4872-89ae-dcf7b71f276a" providerId="ADAL" clId="{53886FC4-CEC3-49C2-A16F-E052A3E85A45}" dt="2020-03-11T01:48:07.096" v="2125" actId="478"/>
          <ac:spMkLst>
            <pc:docMk/>
            <pc:sldMk cId="2009854721" sldId="671"/>
            <ac:spMk id="5" creationId="{FF61E869-34BF-4ED2-8BF1-3AF370F2FF8F}"/>
          </ac:spMkLst>
        </pc:spChg>
        <pc:spChg chg="add mod">
          <ac:chgData name="Sam Mesel" userId="1ee7badb-5d1f-4872-89ae-dcf7b71f276a" providerId="ADAL" clId="{53886FC4-CEC3-49C2-A16F-E052A3E85A45}" dt="2020-03-11T01:56:25.384" v="2167" actId="208"/>
          <ac:spMkLst>
            <pc:docMk/>
            <pc:sldMk cId="2009854721" sldId="671"/>
            <ac:spMk id="10" creationId="{BEAE5036-5B73-4AB6-8BBE-EFAAA250AA0A}"/>
          </ac:spMkLst>
        </pc:spChg>
        <pc:spChg chg="add mod">
          <ac:chgData name="Sam Mesel" userId="1ee7badb-5d1f-4872-89ae-dcf7b71f276a" providerId="ADAL" clId="{53886FC4-CEC3-49C2-A16F-E052A3E85A45}" dt="2020-03-11T01:56:36.350" v="2168" actId="208"/>
          <ac:spMkLst>
            <pc:docMk/>
            <pc:sldMk cId="2009854721" sldId="671"/>
            <ac:spMk id="11" creationId="{64EC70B1-7373-41AE-8941-5870E8726078}"/>
          </ac:spMkLst>
        </pc:spChg>
        <pc:spChg chg="add mod">
          <ac:chgData name="Sam Mesel" userId="1ee7badb-5d1f-4872-89ae-dcf7b71f276a" providerId="ADAL" clId="{53886FC4-CEC3-49C2-A16F-E052A3E85A45}" dt="2020-03-11T01:56:39.823" v="2169" actId="208"/>
          <ac:spMkLst>
            <pc:docMk/>
            <pc:sldMk cId="2009854721" sldId="671"/>
            <ac:spMk id="12" creationId="{C79AEE13-3B59-495D-BD81-B23304F4CD55}"/>
          </ac:spMkLst>
        </pc:spChg>
        <pc:spChg chg="add mod">
          <ac:chgData name="Sam Mesel" userId="1ee7badb-5d1f-4872-89ae-dcf7b71f276a" providerId="ADAL" clId="{53886FC4-CEC3-49C2-A16F-E052A3E85A45}" dt="2020-03-11T01:56:41.189" v="2170" actId="208"/>
          <ac:spMkLst>
            <pc:docMk/>
            <pc:sldMk cId="2009854721" sldId="671"/>
            <ac:spMk id="13" creationId="{D618A7E1-8627-4400-B7CB-216E45B56597}"/>
          </ac:spMkLst>
        </pc:spChg>
        <pc:spChg chg="add mod">
          <ac:chgData name="Sam Mesel" userId="1ee7badb-5d1f-4872-89ae-dcf7b71f276a" providerId="ADAL" clId="{53886FC4-CEC3-49C2-A16F-E052A3E85A45}" dt="2020-03-11T01:56:42.572" v="2171" actId="208"/>
          <ac:spMkLst>
            <pc:docMk/>
            <pc:sldMk cId="2009854721" sldId="671"/>
            <ac:spMk id="14" creationId="{96F34DC1-7EFC-4C4D-9F91-3710BE3F1A32}"/>
          </ac:spMkLst>
        </pc:spChg>
        <pc:spChg chg="add mod">
          <ac:chgData name="Sam Mesel" userId="1ee7badb-5d1f-4872-89ae-dcf7b71f276a" providerId="ADAL" clId="{53886FC4-CEC3-49C2-A16F-E052A3E85A45}" dt="2020-03-11T01:44:19.201" v="2095" actId="1035"/>
          <ac:spMkLst>
            <pc:docMk/>
            <pc:sldMk cId="2009854721" sldId="671"/>
            <ac:spMk id="15" creationId="{35A31094-A74F-4C90-90B6-91C67B338A7E}"/>
          </ac:spMkLst>
        </pc:spChg>
        <pc:spChg chg="add mod">
          <ac:chgData name="Sam Mesel" userId="1ee7badb-5d1f-4872-89ae-dcf7b71f276a" providerId="ADAL" clId="{53886FC4-CEC3-49C2-A16F-E052A3E85A45}" dt="2020-03-11T01:44:19.201" v="2095" actId="1035"/>
          <ac:spMkLst>
            <pc:docMk/>
            <pc:sldMk cId="2009854721" sldId="671"/>
            <ac:spMk id="16" creationId="{3EE8FDA4-A9C7-4E3A-B97F-D2C47C0000E8}"/>
          </ac:spMkLst>
        </pc:spChg>
        <pc:spChg chg="add mod">
          <ac:chgData name="Sam Mesel" userId="1ee7badb-5d1f-4872-89ae-dcf7b71f276a" providerId="ADAL" clId="{53886FC4-CEC3-49C2-A16F-E052A3E85A45}" dt="2020-03-11T01:44:19.201" v="2095" actId="1035"/>
          <ac:spMkLst>
            <pc:docMk/>
            <pc:sldMk cId="2009854721" sldId="671"/>
            <ac:spMk id="17" creationId="{6CF63192-0549-45E9-A24E-1AF3C9667184}"/>
          </ac:spMkLst>
        </pc:spChg>
        <pc:spChg chg="add mod">
          <ac:chgData name="Sam Mesel" userId="1ee7badb-5d1f-4872-89ae-dcf7b71f276a" providerId="ADAL" clId="{53886FC4-CEC3-49C2-A16F-E052A3E85A45}" dt="2020-03-11T01:44:19.201" v="2095" actId="1035"/>
          <ac:spMkLst>
            <pc:docMk/>
            <pc:sldMk cId="2009854721" sldId="671"/>
            <ac:spMk id="18" creationId="{7B496996-B25D-4396-B4E3-45F40174FC95}"/>
          </ac:spMkLst>
        </pc:spChg>
        <pc:spChg chg="add mod">
          <ac:chgData name="Sam Mesel" userId="1ee7badb-5d1f-4872-89ae-dcf7b71f276a" providerId="ADAL" clId="{53886FC4-CEC3-49C2-A16F-E052A3E85A45}" dt="2020-03-11T01:44:19.201" v="2095" actId="1035"/>
          <ac:spMkLst>
            <pc:docMk/>
            <pc:sldMk cId="2009854721" sldId="671"/>
            <ac:spMk id="19" creationId="{F682F5C8-2221-4BA7-9FE4-64EE7C4B708A}"/>
          </ac:spMkLst>
        </pc:spChg>
        <pc:spChg chg="add mod">
          <ac:chgData name="Sam Mesel" userId="1ee7badb-5d1f-4872-89ae-dcf7b71f276a" providerId="ADAL" clId="{53886FC4-CEC3-49C2-A16F-E052A3E85A45}" dt="2020-03-11T01:45:47.048" v="2109" actId="1076"/>
          <ac:spMkLst>
            <pc:docMk/>
            <pc:sldMk cId="2009854721" sldId="671"/>
            <ac:spMk id="20" creationId="{CC723D8F-4E9A-467D-A36B-852926598B69}"/>
          </ac:spMkLst>
        </pc:spChg>
        <pc:spChg chg="add mod">
          <ac:chgData name="Sam Mesel" userId="1ee7badb-5d1f-4872-89ae-dcf7b71f276a" providerId="ADAL" clId="{53886FC4-CEC3-49C2-A16F-E052A3E85A45}" dt="2020-03-11T01:52:36.143" v="2153" actId="113"/>
          <ac:spMkLst>
            <pc:docMk/>
            <pc:sldMk cId="2009854721" sldId="671"/>
            <ac:spMk id="21" creationId="{FCDB61BD-DE4A-40A9-A07E-364453B4D814}"/>
          </ac:spMkLst>
        </pc:spChg>
        <pc:spChg chg="add mod ord">
          <ac:chgData name="Sam Mesel" userId="1ee7badb-5d1f-4872-89ae-dcf7b71f276a" providerId="ADAL" clId="{53886FC4-CEC3-49C2-A16F-E052A3E85A45}" dt="2020-03-11T01:49:09.142" v="2126" actId="167"/>
          <ac:spMkLst>
            <pc:docMk/>
            <pc:sldMk cId="2009854721" sldId="671"/>
            <ac:spMk id="22" creationId="{A81E8590-A1FA-41EE-854E-D1CA97D051CE}"/>
          </ac:spMkLst>
        </pc:spChg>
        <pc:spChg chg="add mod ord">
          <ac:chgData name="Sam Mesel" userId="1ee7badb-5d1f-4872-89ae-dcf7b71f276a" providerId="ADAL" clId="{53886FC4-CEC3-49C2-A16F-E052A3E85A45}" dt="2020-03-11T01:49:13.416" v="2127" actId="167"/>
          <ac:spMkLst>
            <pc:docMk/>
            <pc:sldMk cId="2009854721" sldId="671"/>
            <ac:spMk id="23" creationId="{CCBE5F63-E7F5-418B-B1C5-1313AFD7FAC1}"/>
          </ac:spMkLst>
        </pc:spChg>
        <pc:spChg chg="add mod ord">
          <ac:chgData name="Sam Mesel" userId="1ee7badb-5d1f-4872-89ae-dcf7b71f276a" providerId="ADAL" clId="{53886FC4-CEC3-49C2-A16F-E052A3E85A45}" dt="2020-03-11T01:52:23.648" v="2151" actId="1076"/>
          <ac:spMkLst>
            <pc:docMk/>
            <pc:sldMk cId="2009854721" sldId="671"/>
            <ac:spMk id="24" creationId="{263610BF-9C6B-4387-9128-5135924AB098}"/>
          </ac:spMkLst>
        </pc:spChg>
        <pc:spChg chg="add mod">
          <ac:chgData name="Sam Mesel" userId="1ee7badb-5d1f-4872-89ae-dcf7b71f276a" providerId="ADAL" clId="{53886FC4-CEC3-49C2-A16F-E052A3E85A45}" dt="2020-03-11T01:52:53.760" v="2155" actId="14100"/>
          <ac:spMkLst>
            <pc:docMk/>
            <pc:sldMk cId="2009854721" sldId="671"/>
            <ac:spMk id="25" creationId="{3F5123BA-3D74-4516-ABCD-3239EC76359C}"/>
          </ac:spMkLst>
        </pc:spChg>
        <pc:graphicFrameChg chg="add mod modGraphic">
          <ac:chgData name="Sam Mesel" userId="1ee7badb-5d1f-4872-89ae-dcf7b71f276a" providerId="ADAL" clId="{53886FC4-CEC3-49C2-A16F-E052A3E85A45}" dt="2020-03-11T01:57:13.373" v="2176" actId="6549"/>
          <ac:graphicFrameMkLst>
            <pc:docMk/>
            <pc:sldMk cId="2009854721" sldId="671"/>
            <ac:graphicFrameMk id="6" creationId="{4EBEDD6E-AB5F-4B19-B6B2-2E65C58D0B95}"/>
          </ac:graphicFrameMkLst>
        </pc:graphicFrameChg>
        <pc:graphicFrameChg chg="add mod">
          <ac:chgData name="Sam Mesel" userId="1ee7badb-5d1f-4872-89ae-dcf7b71f276a" providerId="ADAL" clId="{53886FC4-CEC3-49C2-A16F-E052A3E85A45}" dt="2020-03-11T01:44:19.201" v="2095" actId="1035"/>
          <ac:graphicFrameMkLst>
            <pc:docMk/>
            <pc:sldMk cId="2009854721" sldId="671"/>
            <ac:graphicFrameMk id="7" creationId="{2897B2FC-C629-427F-98B0-D76DF508CF6D}"/>
          </ac:graphicFrameMkLst>
        </pc:graphicFrameChg>
        <pc:cxnChg chg="add mod">
          <ac:chgData name="Sam Mesel" userId="1ee7badb-5d1f-4872-89ae-dcf7b71f276a" providerId="ADAL" clId="{53886FC4-CEC3-49C2-A16F-E052A3E85A45}" dt="2020-03-11T01:56:08.791" v="2166" actId="208"/>
          <ac:cxnSpMkLst>
            <pc:docMk/>
            <pc:sldMk cId="2009854721" sldId="671"/>
            <ac:cxnSpMk id="8" creationId="{7E6FBBE6-9C88-4FE8-9086-299105FAF527}"/>
          </ac:cxnSpMkLst>
        </pc:cxnChg>
        <pc:cxnChg chg="add mod">
          <ac:chgData name="Sam Mesel" userId="1ee7badb-5d1f-4872-89ae-dcf7b71f276a" providerId="ADAL" clId="{53886FC4-CEC3-49C2-A16F-E052A3E85A45}" dt="2020-03-11T01:56:04.125" v="2165" actId="208"/>
          <ac:cxnSpMkLst>
            <pc:docMk/>
            <pc:sldMk cId="2009854721" sldId="671"/>
            <ac:cxnSpMk id="9" creationId="{F8CEEFF4-3531-4A5F-A429-D4DCBFA4DC58}"/>
          </ac:cxnSpMkLst>
        </pc:cxnChg>
      </pc:sldChg>
      <pc:sldChg chg="addSp delSp modSp new mod modAnim modNotesTx">
        <pc:chgData name="Sam Mesel" userId="1ee7badb-5d1f-4872-89ae-dcf7b71f276a" providerId="ADAL" clId="{53886FC4-CEC3-49C2-A16F-E052A3E85A45}" dt="2020-03-20T16:28:59.762" v="14865" actId="20577"/>
        <pc:sldMkLst>
          <pc:docMk/>
          <pc:sldMk cId="1245107683" sldId="672"/>
        </pc:sldMkLst>
        <pc:spChg chg="mod">
          <ac:chgData name="Sam Mesel" userId="1ee7badb-5d1f-4872-89ae-dcf7b71f276a" providerId="ADAL" clId="{53886FC4-CEC3-49C2-A16F-E052A3E85A45}" dt="2020-03-11T01:58:00.614" v="2203" actId="20577"/>
          <ac:spMkLst>
            <pc:docMk/>
            <pc:sldMk cId="1245107683" sldId="672"/>
            <ac:spMk id="2" creationId="{87FD5DBD-8EA6-4E1C-9FCB-08CF68CB7D19}"/>
          </ac:spMkLst>
        </pc:spChg>
        <pc:spChg chg="mod">
          <ac:chgData name="Sam Mesel" userId="1ee7badb-5d1f-4872-89ae-dcf7b71f276a" providerId="ADAL" clId="{53886FC4-CEC3-49C2-A16F-E052A3E85A45}" dt="2020-03-11T01:58:05.672" v="2215" actId="20577"/>
          <ac:spMkLst>
            <pc:docMk/>
            <pc:sldMk cId="1245107683" sldId="672"/>
            <ac:spMk id="3" creationId="{6A13D7D5-C09D-4EDF-B1C8-CFD6B07A886E}"/>
          </ac:spMkLst>
        </pc:spChg>
        <pc:spChg chg="mod">
          <ac:chgData name="Sam Mesel" userId="1ee7badb-5d1f-4872-89ae-dcf7b71f276a" providerId="ADAL" clId="{53886FC4-CEC3-49C2-A16F-E052A3E85A45}" dt="2020-03-11T02:02:32.222" v="2232" actId="20577"/>
          <ac:spMkLst>
            <pc:docMk/>
            <pc:sldMk cId="1245107683" sldId="672"/>
            <ac:spMk id="4" creationId="{FA7CFD50-BFF3-47C2-8855-801016BEF7D5}"/>
          </ac:spMkLst>
        </pc:spChg>
        <pc:spChg chg="add del">
          <ac:chgData name="Sam Mesel" userId="1ee7badb-5d1f-4872-89ae-dcf7b71f276a" providerId="ADAL" clId="{53886FC4-CEC3-49C2-A16F-E052A3E85A45}" dt="2020-03-11T02:02:17.040" v="2226" actId="478"/>
          <ac:spMkLst>
            <pc:docMk/>
            <pc:sldMk cId="1245107683" sldId="672"/>
            <ac:spMk id="5" creationId="{4CAF2E86-6BD6-4CEE-9064-E3FBBD0420FC}"/>
          </ac:spMkLst>
        </pc:spChg>
        <pc:spChg chg="add">
          <ac:chgData name="Sam Mesel" userId="1ee7badb-5d1f-4872-89ae-dcf7b71f276a" providerId="ADAL" clId="{53886FC4-CEC3-49C2-A16F-E052A3E85A45}" dt="2020-03-11T02:00:10.873" v="2225"/>
          <ac:spMkLst>
            <pc:docMk/>
            <pc:sldMk cId="1245107683" sldId="672"/>
            <ac:spMk id="11" creationId="{381D6983-8B6F-4FAB-BB13-53B409A1D5BC}"/>
          </ac:spMkLst>
        </pc:spChg>
        <pc:spChg chg="add">
          <ac:chgData name="Sam Mesel" userId="1ee7badb-5d1f-4872-89ae-dcf7b71f276a" providerId="ADAL" clId="{53886FC4-CEC3-49C2-A16F-E052A3E85A45}" dt="2020-03-11T02:00:10.873" v="2225"/>
          <ac:spMkLst>
            <pc:docMk/>
            <pc:sldMk cId="1245107683" sldId="672"/>
            <ac:spMk id="12" creationId="{73402E29-9D39-4D2F-88A3-444420EB96CA}"/>
          </ac:spMkLst>
        </pc:spChg>
        <pc:spChg chg="add">
          <ac:chgData name="Sam Mesel" userId="1ee7badb-5d1f-4872-89ae-dcf7b71f276a" providerId="ADAL" clId="{53886FC4-CEC3-49C2-A16F-E052A3E85A45}" dt="2020-03-11T02:00:10.873" v="2225"/>
          <ac:spMkLst>
            <pc:docMk/>
            <pc:sldMk cId="1245107683" sldId="672"/>
            <ac:spMk id="13" creationId="{81CB122E-2BBD-4442-8CA6-F3EC3AF0F97A}"/>
          </ac:spMkLst>
        </pc:spChg>
        <pc:spChg chg="add">
          <ac:chgData name="Sam Mesel" userId="1ee7badb-5d1f-4872-89ae-dcf7b71f276a" providerId="ADAL" clId="{53886FC4-CEC3-49C2-A16F-E052A3E85A45}" dt="2020-03-11T02:00:10.873" v="2225"/>
          <ac:spMkLst>
            <pc:docMk/>
            <pc:sldMk cId="1245107683" sldId="672"/>
            <ac:spMk id="14" creationId="{2E52C8E0-CC09-4FBB-BED7-011CD48CD9A4}"/>
          </ac:spMkLst>
        </pc:spChg>
        <pc:spChg chg="mod">
          <ac:chgData name="Sam Mesel" userId="1ee7badb-5d1f-4872-89ae-dcf7b71f276a" providerId="ADAL" clId="{53886FC4-CEC3-49C2-A16F-E052A3E85A45}" dt="2020-03-11T02:06:06.786" v="2262" actId="20577"/>
          <ac:spMkLst>
            <pc:docMk/>
            <pc:sldMk cId="1245107683" sldId="672"/>
            <ac:spMk id="27" creationId="{4A8F71C1-72B0-49D9-8F7C-A22E451B5EB4}"/>
          </ac:spMkLst>
        </pc:spChg>
        <pc:spChg chg="add mod">
          <ac:chgData name="Sam Mesel" userId="1ee7badb-5d1f-4872-89ae-dcf7b71f276a" providerId="ADAL" clId="{53886FC4-CEC3-49C2-A16F-E052A3E85A45}" dt="2020-03-11T02:22:42.747" v="2440" actId="1076"/>
          <ac:spMkLst>
            <pc:docMk/>
            <pc:sldMk cId="1245107683" sldId="672"/>
            <ac:spMk id="28" creationId="{16626E62-5E18-4C44-B0A5-B7A2AC1BA740}"/>
          </ac:spMkLst>
        </pc:spChg>
        <pc:spChg chg="add mod">
          <ac:chgData name="Sam Mesel" userId="1ee7badb-5d1f-4872-89ae-dcf7b71f276a" providerId="ADAL" clId="{53886FC4-CEC3-49C2-A16F-E052A3E85A45}" dt="2020-03-11T02:16:58.825" v="2406"/>
          <ac:spMkLst>
            <pc:docMk/>
            <pc:sldMk cId="1245107683" sldId="672"/>
            <ac:spMk id="41" creationId="{562D11A9-42D9-4EAE-9F84-07FAD8F153AF}"/>
          </ac:spMkLst>
        </pc:spChg>
        <pc:spChg chg="add">
          <ac:chgData name="Sam Mesel" userId="1ee7badb-5d1f-4872-89ae-dcf7b71f276a" providerId="ADAL" clId="{53886FC4-CEC3-49C2-A16F-E052A3E85A45}" dt="2020-03-11T02:00:10.873" v="2225"/>
          <ac:spMkLst>
            <pc:docMk/>
            <pc:sldMk cId="1245107683" sldId="672"/>
            <ac:spMk id="42" creationId="{5C405DFA-D761-4C00-9588-F2CBED254CEB}"/>
          </ac:spMkLst>
        </pc:spChg>
        <pc:spChg chg="add mod">
          <ac:chgData name="Sam Mesel" userId="1ee7badb-5d1f-4872-89ae-dcf7b71f276a" providerId="ADAL" clId="{53886FC4-CEC3-49C2-A16F-E052A3E85A45}" dt="2020-03-11T02:22:05.263" v="2438" actId="207"/>
          <ac:spMkLst>
            <pc:docMk/>
            <pc:sldMk cId="1245107683" sldId="672"/>
            <ac:spMk id="43" creationId="{96ABCCB7-7D1B-4F55-A2BC-7B99C15BB3DF}"/>
          </ac:spMkLst>
        </pc:spChg>
        <pc:spChg chg="add mod">
          <ac:chgData name="Sam Mesel" userId="1ee7badb-5d1f-4872-89ae-dcf7b71f276a" providerId="ADAL" clId="{53886FC4-CEC3-49C2-A16F-E052A3E85A45}" dt="2020-03-11T02:07:28.770" v="2283" actId="1076"/>
          <ac:spMkLst>
            <pc:docMk/>
            <pc:sldMk cId="1245107683" sldId="672"/>
            <ac:spMk id="47" creationId="{E26C4CC5-2A66-41DC-BD9D-5F04D18F6D8C}"/>
          </ac:spMkLst>
        </pc:spChg>
        <pc:grpChg chg="add">
          <ac:chgData name="Sam Mesel" userId="1ee7badb-5d1f-4872-89ae-dcf7b71f276a" providerId="ADAL" clId="{53886FC4-CEC3-49C2-A16F-E052A3E85A45}" dt="2020-03-11T02:00:10.873" v="2225"/>
          <ac:grpSpMkLst>
            <pc:docMk/>
            <pc:sldMk cId="1245107683" sldId="672"/>
            <ac:grpSpMk id="6" creationId="{6B6BD134-25AD-4FE1-8461-0865A7228FCC}"/>
          </ac:grpSpMkLst>
        </pc:grpChg>
        <pc:grpChg chg="add">
          <ac:chgData name="Sam Mesel" userId="1ee7badb-5d1f-4872-89ae-dcf7b71f276a" providerId="ADAL" clId="{53886FC4-CEC3-49C2-A16F-E052A3E85A45}" dt="2020-03-11T02:00:10.873" v="2225"/>
          <ac:grpSpMkLst>
            <pc:docMk/>
            <pc:sldMk cId="1245107683" sldId="672"/>
            <ac:grpSpMk id="18" creationId="{F5EEDB9F-B74D-4666-8AEC-1D547E5FF5CF}"/>
          </ac:grpSpMkLst>
        </pc:grpChg>
        <pc:grpChg chg="add">
          <ac:chgData name="Sam Mesel" userId="1ee7badb-5d1f-4872-89ae-dcf7b71f276a" providerId="ADAL" clId="{53886FC4-CEC3-49C2-A16F-E052A3E85A45}" dt="2020-03-11T02:00:10.873" v="2225"/>
          <ac:grpSpMkLst>
            <pc:docMk/>
            <pc:sldMk cId="1245107683" sldId="672"/>
            <ac:grpSpMk id="29" creationId="{0CAFC857-C3FB-4D6A-AEE7-03AE5F4C4356}"/>
          </ac:grpSpMkLst>
        </pc:grpChg>
        <pc:grpChg chg="add">
          <ac:chgData name="Sam Mesel" userId="1ee7badb-5d1f-4872-89ae-dcf7b71f276a" providerId="ADAL" clId="{53886FC4-CEC3-49C2-A16F-E052A3E85A45}" dt="2020-03-11T02:00:10.873" v="2225"/>
          <ac:grpSpMkLst>
            <pc:docMk/>
            <pc:sldMk cId="1245107683" sldId="672"/>
            <ac:grpSpMk id="35" creationId="{85D65037-1E11-428B-8E94-6171CBFA4507}"/>
          </ac:grpSpMkLst>
        </pc:grpChg>
        <pc:cxnChg chg="add">
          <ac:chgData name="Sam Mesel" userId="1ee7badb-5d1f-4872-89ae-dcf7b71f276a" providerId="ADAL" clId="{53886FC4-CEC3-49C2-A16F-E052A3E85A45}" dt="2020-03-11T02:00:10.873" v="2225"/>
          <ac:cxnSpMkLst>
            <pc:docMk/>
            <pc:sldMk cId="1245107683" sldId="672"/>
            <ac:cxnSpMk id="15" creationId="{5B0C39A7-0A27-4752-9664-88AA643B300B}"/>
          </ac:cxnSpMkLst>
        </pc:cxnChg>
        <pc:cxnChg chg="add">
          <ac:chgData name="Sam Mesel" userId="1ee7badb-5d1f-4872-89ae-dcf7b71f276a" providerId="ADAL" clId="{53886FC4-CEC3-49C2-A16F-E052A3E85A45}" dt="2020-03-11T02:00:10.873" v="2225"/>
          <ac:cxnSpMkLst>
            <pc:docMk/>
            <pc:sldMk cId="1245107683" sldId="672"/>
            <ac:cxnSpMk id="16" creationId="{099CEBD6-74A5-4084-9620-ED1226F76A05}"/>
          </ac:cxnSpMkLst>
        </pc:cxnChg>
        <pc:cxnChg chg="add">
          <ac:chgData name="Sam Mesel" userId="1ee7badb-5d1f-4872-89ae-dcf7b71f276a" providerId="ADAL" clId="{53886FC4-CEC3-49C2-A16F-E052A3E85A45}" dt="2020-03-11T02:00:10.873" v="2225"/>
          <ac:cxnSpMkLst>
            <pc:docMk/>
            <pc:sldMk cId="1245107683" sldId="672"/>
            <ac:cxnSpMk id="17" creationId="{A93A0A2F-BA6F-4EE4-8CAD-FB5B882BA7B0}"/>
          </ac:cxnSpMkLst>
        </pc:cxnChg>
        <pc:cxnChg chg="add">
          <ac:chgData name="Sam Mesel" userId="1ee7badb-5d1f-4872-89ae-dcf7b71f276a" providerId="ADAL" clId="{53886FC4-CEC3-49C2-A16F-E052A3E85A45}" dt="2020-03-11T02:00:10.873" v="2225"/>
          <ac:cxnSpMkLst>
            <pc:docMk/>
            <pc:sldMk cId="1245107683" sldId="672"/>
            <ac:cxnSpMk id="34" creationId="{7132C040-ED04-4CD6-9AC2-FD6542267C06}"/>
          </ac:cxnSpMkLst>
        </pc:cxnChg>
        <pc:cxnChg chg="add">
          <ac:chgData name="Sam Mesel" userId="1ee7badb-5d1f-4872-89ae-dcf7b71f276a" providerId="ADAL" clId="{53886FC4-CEC3-49C2-A16F-E052A3E85A45}" dt="2020-03-11T02:00:10.873" v="2225"/>
          <ac:cxnSpMkLst>
            <pc:docMk/>
            <pc:sldMk cId="1245107683" sldId="672"/>
            <ac:cxnSpMk id="40" creationId="{EFF1AB96-2FAD-45F9-9D51-4A8379CDB1AD}"/>
          </ac:cxnSpMkLst>
        </pc:cxnChg>
        <pc:cxnChg chg="add mod">
          <ac:chgData name="Sam Mesel" userId="1ee7badb-5d1f-4872-89ae-dcf7b71f276a" providerId="ADAL" clId="{53886FC4-CEC3-49C2-A16F-E052A3E85A45}" dt="2020-03-11T02:12:35.869" v="2349" actId="1076"/>
          <ac:cxnSpMkLst>
            <pc:docMk/>
            <pc:sldMk cId="1245107683" sldId="672"/>
            <ac:cxnSpMk id="44" creationId="{3C3B778F-AD82-4722-820B-A73BDEE4C006}"/>
          </ac:cxnSpMkLst>
        </pc:cxnChg>
        <pc:cxnChg chg="add">
          <ac:chgData name="Sam Mesel" userId="1ee7badb-5d1f-4872-89ae-dcf7b71f276a" providerId="ADAL" clId="{53886FC4-CEC3-49C2-A16F-E052A3E85A45}" dt="2020-03-11T02:00:10.873" v="2225"/>
          <ac:cxnSpMkLst>
            <pc:docMk/>
            <pc:sldMk cId="1245107683" sldId="672"/>
            <ac:cxnSpMk id="45" creationId="{526684BE-9E8F-4049-9314-56E205236D65}"/>
          </ac:cxnSpMkLst>
        </pc:cxnChg>
        <pc:cxnChg chg="add mod">
          <ac:chgData name="Sam Mesel" userId="1ee7badb-5d1f-4872-89ae-dcf7b71f276a" providerId="ADAL" clId="{53886FC4-CEC3-49C2-A16F-E052A3E85A45}" dt="2020-03-11T02:22:42.747" v="2440" actId="1076"/>
          <ac:cxnSpMkLst>
            <pc:docMk/>
            <pc:sldMk cId="1245107683" sldId="672"/>
            <ac:cxnSpMk id="46" creationId="{05A11DDD-2138-4A80-86B2-D56E7CD40DB6}"/>
          </ac:cxnSpMkLst>
        </pc:cxnChg>
      </pc:sldChg>
      <pc:sldChg chg="addSp delSp modSp new mod">
        <pc:chgData name="Sam Mesel" userId="1ee7badb-5d1f-4872-89ae-dcf7b71f276a" providerId="ADAL" clId="{53886FC4-CEC3-49C2-A16F-E052A3E85A45}" dt="2020-03-19T16:36:16.663" v="6772"/>
        <pc:sldMkLst>
          <pc:docMk/>
          <pc:sldMk cId="2745452252" sldId="673"/>
        </pc:sldMkLst>
        <pc:spChg chg="mod">
          <ac:chgData name="Sam Mesel" userId="1ee7badb-5d1f-4872-89ae-dcf7b71f276a" providerId="ADAL" clId="{53886FC4-CEC3-49C2-A16F-E052A3E85A45}" dt="2020-03-11T02:23:46.523" v="2463" actId="20577"/>
          <ac:spMkLst>
            <pc:docMk/>
            <pc:sldMk cId="2745452252" sldId="673"/>
            <ac:spMk id="2" creationId="{35CD5A5D-650E-4696-9F2C-63B7EC7236AA}"/>
          </ac:spMkLst>
        </pc:spChg>
        <pc:spChg chg="mod">
          <ac:chgData name="Sam Mesel" userId="1ee7badb-5d1f-4872-89ae-dcf7b71f276a" providerId="ADAL" clId="{53886FC4-CEC3-49C2-A16F-E052A3E85A45}" dt="2020-03-11T02:23:52.173" v="2474" actId="20577"/>
          <ac:spMkLst>
            <pc:docMk/>
            <pc:sldMk cId="2745452252" sldId="673"/>
            <ac:spMk id="3" creationId="{AE17EE2F-ED73-4227-9486-2486245C512D}"/>
          </ac:spMkLst>
        </pc:spChg>
        <pc:spChg chg="del mod">
          <ac:chgData name="Sam Mesel" userId="1ee7badb-5d1f-4872-89ae-dcf7b71f276a" providerId="ADAL" clId="{53886FC4-CEC3-49C2-A16F-E052A3E85A45}" dt="2020-03-11T02:24:25.979" v="2494" actId="12084"/>
          <ac:spMkLst>
            <pc:docMk/>
            <pc:sldMk cId="2745452252" sldId="673"/>
            <ac:spMk id="4" creationId="{BB7DA5D3-9C24-4CAD-A2CC-AE4E583061F5}"/>
          </ac:spMkLst>
        </pc:spChg>
        <pc:graphicFrameChg chg="add mod">
          <ac:chgData name="Sam Mesel" userId="1ee7badb-5d1f-4872-89ae-dcf7b71f276a" providerId="ADAL" clId="{53886FC4-CEC3-49C2-A16F-E052A3E85A45}" dt="2020-03-19T16:36:16.663" v="6772"/>
          <ac:graphicFrameMkLst>
            <pc:docMk/>
            <pc:sldMk cId="2745452252" sldId="673"/>
            <ac:graphicFrameMk id="5" creationId="{7D108DBB-E906-4DC1-A452-84D184316AB6}"/>
          </ac:graphicFrameMkLst>
        </pc:graphicFrameChg>
      </pc:sldChg>
      <pc:sldChg chg="addSp delSp modSp new mod modAnim">
        <pc:chgData name="Sam Mesel" userId="1ee7badb-5d1f-4872-89ae-dcf7b71f276a" providerId="ADAL" clId="{53886FC4-CEC3-49C2-A16F-E052A3E85A45}" dt="2020-03-19T15:36:10.133" v="5377"/>
        <pc:sldMkLst>
          <pc:docMk/>
          <pc:sldMk cId="3635708424" sldId="674"/>
        </pc:sldMkLst>
        <pc:spChg chg="mod">
          <ac:chgData name="Sam Mesel" userId="1ee7badb-5d1f-4872-89ae-dcf7b71f276a" providerId="ADAL" clId="{53886FC4-CEC3-49C2-A16F-E052A3E85A45}" dt="2020-03-11T02:47:40.038" v="3046" actId="20577"/>
          <ac:spMkLst>
            <pc:docMk/>
            <pc:sldMk cId="3635708424" sldId="674"/>
            <ac:spMk id="2" creationId="{E70845F0-4334-4F43-845F-1E63DC9EC4C1}"/>
          </ac:spMkLst>
        </pc:spChg>
        <pc:spChg chg="mod">
          <ac:chgData name="Sam Mesel" userId="1ee7badb-5d1f-4872-89ae-dcf7b71f276a" providerId="ADAL" clId="{53886FC4-CEC3-49C2-A16F-E052A3E85A45}" dt="2020-03-11T02:58:33.971" v="3404" actId="14100"/>
          <ac:spMkLst>
            <pc:docMk/>
            <pc:sldMk cId="3635708424" sldId="674"/>
            <ac:spMk id="3" creationId="{3152179B-513C-42BB-A37F-6972724C1B17}"/>
          </ac:spMkLst>
        </pc:spChg>
        <pc:spChg chg="mod">
          <ac:chgData name="Sam Mesel" userId="1ee7badb-5d1f-4872-89ae-dcf7b71f276a" providerId="ADAL" clId="{53886FC4-CEC3-49C2-A16F-E052A3E85A45}" dt="2020-03-19T15:35:17.710" v="5375" actId="113"/>
          <ac:spMkLst>
            <pc:docMk/>
            <pc:sldMk cId="3635708424" sldId="674"/>
            <ac:spMk id="4" creationId="{500520A3-0B09-4C4F-A823-88076E664703}"/>
          </ac:spMkLst>
        </pc:spChg>
        <pc:spChg chg="add mod">
          <ac:chgData name="Sam Mesel" userId="1ee7badb-5d1f-4872-89ae-dcf7b71f276a" providerId="ADAL" clId="{53886FC4-CEC3-49C2-A16F-E052A3E85A45}" dt="2020-03-11T03:04:40.993" v="3454" actId="164"/>
          <ac:spMkLst>
            <pc:docMk/>
            <pc:sldMk cId="3635708424" sldId="674"/>
            <ac:spMk id="32" creationId="{27014AA0-11E3-4865-AD89-F4CD523BD4C8}"/>
          </ac:spMkLst>
        </pc:spChg>
        <pc:spChg chg="add mod">
          <ac:chgData name="Sam Mesel" userId="1ee7badb-5d1f-4872-89ae-dcf7b71f276a" providerId="ADAL" clId="{53886FC4-CEC3-49C2-A16F-E052A3E85A45}" dt="2020-03-11T03:04:40.993" v="3454" actId="164"/>
          <ac:spMkLst>
            <pc:docMk/>
            <pc:sldMk cId="3635708424" sldId="674"/>
            <ac:spMk id="33" creationId="{4722E2F2-8382-4CF9-8AD7-2ED34167B93F}"/>
          </ac:spMkLst>
        </pc:spChg>
        <pc:spChg chg="add mod">
          <ac:chgData name="Sam Mesel" userId="1ee7badb-5d1f-4872-89ae-dcf7b71f276a" providerId="ADAL" clId="{53886FC4-CEC3-49C2-A16F-E052A3E85A45}" dt="2020-03-11T03:04:40.993" v="3454" actId="164"/>
          <ac:spMkLst>
            <pc:docMk/>
            <pc:sldMk cId="3635708424" sldId="674"/>
            <ac:spMk id="34" creationId="{7BF4CFB8-FA37-4336-A78C-375C011AC469}"/>
          </ac:spMkLst>
        </pc:spChg>
        <pc:spChg chg="add mod">
          <ac:chgData name="Sam Mesel" userId="1ee7badb-5d1f-4872-89ae-dcf7b71f276a" providerId="ADAL" clId="{53886FC4-CEC3-49C2-A16F-E052A3E85A45}" dt="2020-03-11T03:04:40.993" v="3454" actId="164"/>
          <ac:spMkLst>
            <pc:docMk/>
            <pc:sldMk cId="3635708424" sldId="674"/>
            <ac:spMk id="35" creationId="{D052117C-913D-4FBB-A983-9CC7723F93AF}"/>
          </ac:spMkLst>
        </pc:spChg>
        <pc:spChg chg="add mod">
          <ac:chgData name="Sam Mesel" userId="1ee7badb-5d1f-4872-89ae-dcf7b71f276a" providerId="ADAL" clId="{53886FC4-CEC3-49C2-A16F-E052A3E85A45}" dt="2020-03-11T03:04:40.993" v="3454" actId="164"/>
          <ac:spMkLst>
            <pc:docMk/>
            <pc:sldMk cId="3635708424" sldId="674"/>
            <ac:spMk id="36" creationId="{C4A53A48-B1BF-4A64-9A2E-C78B83C821D4}"/>
          </ac:spMkLst>
        </pc:spChg>
        <pc:spChg chg="add mod">
          <ac:chgData name="Sam Mesel" userId="1ee7badb-5d1f-4872-89ae-dcf7b71f276a" providerId="ADAL" clId="{53886FC4-CEC3-49C2-A16F-E052A3E85A45}" dt="2020-03-11T03:04:40.993" v="3454" actId="164"/>
          <ac:spMkLst>
            <pc:docMk/>
            <pc:sldMk cId="3635708424" sldId="674"/>
            <ac:spMk id="37" creationId="{D64E918F-1D40-4176-9BBE-08F31A9DCE0C}"/>
          </ac:spMkLst>
        </pc:spChg>
        <pc:spChg chg="add mod">
          <ac:chgData name="Sam Mesel" userId="1ee7badb-5d1f-4872-89ae-dcf7b71f276a" providerId="ADAL" clId="{53886FC4-CEC3-49C2-A16F-E052A3E85A45}" dt="2020-03-11T03:04:40.993" v="3454" actId="164"/>
          <ac:spMkLst>
            <pc:docMk/>
            <pc:sldMk cId="3635708424" sldId="674"/>
            <ac:spMk id="38" creationId="{B4B581D1-18E3-4A2B-9452-FB4D1AEA401A}"/>
          </ac:spMkLst>
        </pc:spChg>
        <pc:spChg chg="add mod">
          <ac:chgData name="Sam Mesel" userId="1ee7badb-5d1f-4872-89ae-dcf7b71f276a" providerId="ADAL" clId="{53886FC4-CEC3-49C2-A16F-E052A3E85A45}" dt="2020-03-11T03:04:40.993" v="3454" actId="164"/>
          <ac:spMkLst>
            <pc:docMk/>
            <pc:sldMk cId="3635708424" sldId="674"/>
            <ac:spMk id="39" creationId="{769416F4-8456-4150-B752-672B6F04CB8F}"/>
          </ac:spMkLst>
        </pc:spChg>
        <pc:spChg chg="add mod">
          <ac:chgData name="Sam Mesel" userId="1ee7badb-5d1f-4872-89ae-dcf7b71f276a" providerId="ADAL" clId="{53886FC4-CEC3-49C2-A16F-E052A3E85A45}" dt="2020-03-11T03:04:40.993" v="3454" actId="164"/>
          <ac:spMkLst>
            <pc:docMk/>
            <pc:sldMk cId="3635708424" sldId="674"/>
            <ac:spMk id="40" creationId="{E2AF50D2-B256-4117-B257-0737810C9D03}"/>
          </ac:spMkLst>
        </pc:spChg>
        <pc:spChg chg="add mod">
          <ac:chgData name="Sam Mesel" userId="1ee7badb-5d1f-4872-89ae-dcf7b71f276a" providerId="ADAL" clId="{53886FC4-CEC3-49C2-A16F-E052A3E85A45}" dt="2020-03-11T03:04:40.993" v="3454" actId="164"/>
          <ac:spMkLst>
            <pc:docMk/>
            <pc:sldMk cId="3635708424" sldId="674"/>
            <ac:spMk id="41" creationId="{FD46308B-B260-4D4C-9880-C825583C227A}"/>
          </ac:spMkLst>
        </pc:spChg>
        <pc:spChg chg="add mod">
          <ac:chgData name="Sam Mesel" userId="1ee7badb-5d1f-4872-89ae-dcf7b71f276a" providerId="ADAL" clId="{53886FC4-CEC3-49C2-A16F-E052A3E85A45}" dt="2020-03-11T03:04:40.993" v="3454" actId="164"/>
          <ac:spMkLst>
            <pc:docMk/>
            <pc:sldMk cId="3635708424" sldId="674"/>
            <ac:spMk id="42" creationId="{F1323C98-8526-4844-91E9-B428197407B5}"/>
          </ac:spMkLst>
        </pc:spChg>
        <pc:spChg chg="add mod">
          <ac:chgData name="Sam Mesel" userId="1ee7badb-5d1f-4872-89ae-dcf7b71f276a" providerId="ADAL" clId="{53886FC4-CEC3-49C2-A16F-E052A3E85A45}" dt="2020-03-11T03:04:40.993" v="3454" actId="164"/>
          <ac:spMkLst>
            <pc:docMk/>
            <pc:sldMk cId="3635708424" sldId="674"/>
            <ac:spMk id="43" creationId="{107E0F73-9FD6-4440-AEA6-86659AD1E84A}"/>
          </ac:spMkLst>
        </pc:spChg>
        <pc:spChg chg="add mod">
          <ac:chgData name="Sam Mesel" userId="1ee7badb-5d1f-4872-89ae-dcf7b71f276a" providerId="ADAL" clId="{53886FC4-CEC3-49C2-A16F-E052A3E85A45}" dt="2020-03-11T03:04:40.993" v="3454" actId="164"/>
          <ac:spMkLst>
            <pc:docMk/>
            <pc:sldMk cId="3635708424" sldId="674"/>
            <ac:spMk id="44" creationId="{6DAB4B14-BB6D-427D-98F7-99064DA98DC3}"/>
          </ac:spMkLst>
        </pc:spChg>
        <pc:spChg chg="add mod">
          <ac:chgData name="Sam Mesel" userId="1ee7badb-5d1f-4872-89ae-dcf7b71f276a" providerId="ADAL" clId="{53886FC4-CEC3-49C2-A16F-E052A3E85A45}" dt="2020-03-11T03:04:40.993" v="3454" actId="164"/>
          <ac:spMkLst>
            <pc:docMk/>
            <pc:sldMk cId="3635708424" sldId="674"/>
            <ac:spMk id="45" creationId="{225EB56D-4182-4E32-BF5A-4E4C01741FFB}"/>
          </ac:spMkLst>
        </pc:spChg>
        <pc:spChg chg="add mod">
          <ac:chgData name="Sam Mesel" userId="1ee7badb-5d1f-4872-89ae-dcf7b71f276a" providerId="ADAL" clId="{53886FC4-CEC3-49C2-A16F-E052A3E85A45}" dt="2020-03-11T03:04:40.993" v="3454" actId="164"/>
          <ac:spMkLst>
            <pc:docMk/>
            <pc:sldMk cId="3635708424" sldId="674"/>
            <ac:spMk id="46" creationId="{E3FCA92E-9884-45B6-916F-C5AC36C501FD}"/>
          </ac:spMkLst>
        </pc:spChg>
        <pc:spChg chg="add mod">
          <ac:chgData name="Sam Mesel" userId="1ee7badb-5d1f-4872-89ae-dcf7b71f276a" providerId="ADAL" clId="{53886FC4-CEC3-49C2-A16F-E052A3E85A45}" dt="2020-03-11T03:04:40.993" v="3454" actId="164"/>
          <ac:spMkLst>
            <pc:docMk/>
            <pc:sldMk cId="3635708424" sldId="674"/>
            <ac:spMk id="47" creationId="{F2EDBD66-B36C-429A-AE1F-E02A71EBA438}"/>
          </ac:spMkLst>
        </pc:spChg>
        <pc:spChg chg="add del mod">
          <ac:chgData name="Sam Mesel" userId="1ee7badb-5d1f-4872-89ae-dcf7b71f276a" providerId="ADAL" clId="{53886FC4-CEC3-49C2-A16F-E052A3E85A45}" dt="2020-03-11T03:05:08.991" v="3463" actId="478"/>
          <ac:spMkLst>
            <pc:docMk/>
            <pc:sldMk cId="3635708424" sldId="674"/>
            <ac:spMk id="48" creationId="{56636A69-3816-4AA9-AEA7-6AA96630E58F}"/>
          </ac:spMkLst>
        </pc:spChg>
        <pc:spChg chg="add mod">
          <ac:chgData name="Sam Mesel" userId="1ee7badb-5d1f-4872-89ae-dcf7b71f276a" providerId="ADAL" clId="{53886FC4-CEC3-49C2-A16F-E052A3E85A45}" dt="2020-03-11T03:07:20.897" v="3511" actId="164"/>
          <ac:spMkLst>
            <pc:docMk/>
            <pc:sldMk cId="3635708424" sldId="674"/>
            <ac:spMk id="49" creationId="{5ECB3842-04EF-4EC2-849E-DDF4BB486ADA}"/>
          </ac:spMkLst>
        </pc:spChg>
        <pc:spChg chg="add mod">
          <ac:chgData name="Sam Mesel" userId="1ee7badb-5d1f-4872-89ae-dcf7b71f276a" providerId="ADAL" clId="{53886FC4-CEC3-49C2-A16F-E052A3E85A45}" dt="2020-03-11T03:07:20.897" v="3511" actId="164"/>
          <ac:spMkLst>
            <pc:docMk/>
            <pc:sldMk cId="3635708424" sldId="674"/>
            <ac:spMk id="50" creationId="{A2024A2B-73BF-4520-9136-7FF427B7DFD2}"/>
          </ac:spMkLst>
        </pc:spChg>
        <pc:spChg chg="add mod">
          <ac:chgData name="Sam Mesel" userId="1ee7badb-5d1f-4872-89ae-dcf7b71f276a" providerId="ADAL" clId="{53886FC4-CEC3-49C2-A16F-E052A3E85A45}" dt="2020-03-11T03:07:20.897" v="3511" actId="164"/>
          <ac:spMkLst>
            <pc:docMk/>
            <pc:sldMk cId="3635708424" sldId="674"/>
            <ac:spMk id="51" creationId="{FFC4B298-B08F-46E3-8CFA-769603BBE463}"/>
          </ac:spMkLst>
        </pc:spChg>
        <pc:spChg chg="add mod">
          <ac:chgData name="Sam Mesel" userId="1ee7badb-5d1f-4872-89ae-dcf7b71f276a" providerId="ADAL" clId="{53886FC4-CEC3-49C2-A16F-E052A3E85A45}" dt="2020-03-11T03:07:20.897" v="3511" actId="164"/>
          <ac:spMkLst>
            <pc:docMk/>
            <pc:sldMk cId="3635708424" sldId="674"/>
            <ac:spMk id="52" creationId="{02E51240-B60C-488C-852B-D27331345330}"/>
          </ac:spMkLst>
        </pc:spChg>
        <pc:spChg chg="add mod">
          <ac:chgData name="Sam Mesel" userId="1ee7badb-5d1f-4872-89ae-dcf7b71f276a" providerId="ADAL" clId="{53886FC4-CEC3-49C2-A16F-E052A3E85A45}" dt="2020-03-11T03:07:20.897" v="3511" actId="164"/>
          <ac:spMkLst>
            <pc:docMk/>
            <pc:sldMk cId="3635708424" sldId="674"/>
            <ac:spMk id="53" creationId="{CC262049-B424-480F-A216-AFE2FFBF6AE2}"/>
          </ac:spMkLst>
        </pc:spChg>
        <pc:spChg chg="add mod">
          <ac:chgData name="Sam Mesel" userId="1ee7badb-5d1f-4872-89ae-dcf7b71f276a" providerId="ADAL" clId="{53886FC4-CEC3-49C2-A16F-E052A3E85A45}" dt="2020-03-11T03:07:20.897" v="3511" actId="164"/>
          <ac:spMkLst>
            <pc:docMk/>
            <pc:sldMk cId="3635708424" sldId="674"/>
            <ac:spMk id="54" creationId="{4BD758F4-BB4A-49CF-AA88-0F62AD0706E0}"/>
          </ac:spMkLst>
        </pc:spChg>
        <pc:spChg chg="add mod">
          <ac:chgData name="Sam Mesel" userId="1ee7badb-5d1f-4872-89ae-dcf7b71f276a" providerId="ADAL" clId="{53886FC4-CEC3-49C2-A16F-E052A3E85A45}" dt="2020-03-11T03:07:20.897" v="3511" actId="164"/>
          <ac:spMkLst>
            <pc:docMk/>
            <pc:sldMk cId="3635708424" sldId="674"/>
            <ac:spMk id="55" creationId="{EF7D9FF1-3D1F-4602-8D43-7DEB039B8161}"/>
          </ac:spMkLst>
        </pc:spChg>
        <pc:spChg chg="add mod">
          <ac:chgData name="Sam Mesel" userId="1ee7badb-5d1f-4872-89ae-dcf7b71f276a" providerId="ADAL" clId="{53886FC4-CEC3-49C2-A16F-E052A3E85A45}" dt="2020-03-11T03:07:20.897" v="3511" actId="164"/>
          <ac:spMkLst>
            <pc:docMk/>
            <pc:sldMk cId="3635708424" sldId="674"/>
            <ac:spMk id="56" creationId="{1C77F3E9-8B2D-4C5F-84BC-097B92D802B2}"/>
          </ac:spMkLst>
        </pc:spChg>
        <pc:spChg chg="add mod">
          <ac:chgData name="Sam Mesel" userId="1ee7badb-5d1f-4872-89ae-dcf7b71f276a" providerId="ADAL" clId="{53886FC4-CEC3-49C2-A16F-E052A3E85A45}" dt="2020-03-11T03:07:30.243" v="3513" actId="1076"/>
          <ac:spMkLst>
            <pc:docMk/>
            <pc:sldMk cId="3635708424" sldId="674"/>
            <ac:spMk id="59" creationId="{906BF247-ED15-4778-B9BE-E14D89939CF8}"/>
          </ac:spMkLst>
        </pc:spChg>
        <pc:spChg chg="add mod">
          <ac:chgData name="Sam Mesel" userId="1ee7badb-5d1f-4872-89ae-dcf7b71f276a" providerId="ADAL" clId="{53886FC4-CEC3-49C2-A16F-E052A3E85A45}" dt="2020-03-11T03:07:20.897" v="3511" actId="164"/>
          <ac:spMkLst>
            <pc:docMk/>
            <pc:sldMk cId="3635708424" sldId="674"/>
            <ac:spMk id="61" creationId="{F18D267F-4855-4442-9A1A-6DCA209171F0}"/>
          </ac:spMkLst>
        </pc:spChg>
        <pc:spChg chg="add mod">
          <ac:chgData name="Sam Mesel" userId="1ee7badb-5d1f-4872-89ae-dcf7b71f276a" providerId="ADAL" clId="{53886FC4-CEC3-49C2-A16F-E052A3E85A45}" dt="2020-03-11T03:07:20.897" v="3511" actId="164"/>
          <ac:spMkLst>
            <pc:docMk/>
            <pc:sldMk cId="3635708424" sldId="674"/>
            <ac:spMk id="62" creationId="{973E1E38-EC29-48C5-A33A-FD197231BC97}"/>
          </ac:spMkLst>
        </pc:spChg>
        <pc:spChg chg="add mod">
          <ac:chgData name="Sam Mesel" userId="1ee7badb-5d1f-4872-89ae-dcf7b71f276a" providerId="ADAL" clId="{53886FC4-CEC3-49C2-A16F-E052A3E85A45}" dt="2020-03-11T03:07:20.897" v="3511" actId="164"/>
          <ac:spMkLst>
            <pc:docMk/>
            <pc:sldMk cId="3635708424" sldId="674"/>
            <ac:spMk id="63" creationId="{18424563-91CE-4987-8DEE-3DB66E8C61B8}"/>
          </ac:spMkLst>
        </pc:spChg>
        <pc:spChg chg="add mod">
          <ac:chgData name="Sam Mesel" userId="1ee7badb-5d1f-4872-89ae-dcf7b71f276a" providerId="ADAL" clId="{53886FC4-CEC3-49C2-A16F-E052A3E85A45}" dt="2020-03-11T03:07:38.499" v="3515" actId="1076"/>
          <ac:spMkLst>
            <pc:docMk/>
            <pc:sldMk cId="3635708424" sldId="674"/>
            <ac:spMk id="64" creationId="{295E84C9-64F9-41E3-AB6A-3D4BEABA2B91}"/>
          </ac:spMkLst>
        </pc:spChg>
        <pc:grpChg chg="add mod">
          <ac:chgData name="Sam Mesel" userId="1ee7badb-5d1f-4872-89ae-dcf7b71f276a" providerId="ADAL" clId="{53886FC4-CEC3-49C2-A16F-E052A3E85A45}" dt="2020-03-11T03:07:34.141" v="3514" actId="1076"/>
          <ac:grpSpMkLst>
            <pc:docMk/>
            <pc:sldMk cId="3635708424" sldId="674"/>
            <ac:grpSpMk id="5" creationId="{AF017561-8886-4EE4-B0A2-0B0EF23EC8D9}"/>
          </ac:grpSpMkLst>
        </pc:grpChg>
        <pc:grpChg chg="add mod">
          <ac:chgData name="Sam Mesel" userId="1ee7badb-5d1f-4872-89ae-dcf7b71f276a" providerId="ADAL" clId="{53886FC4-CEC3-49C2-A16F-E052A3E85A45}" dt="2020-03-11T03:07:34.141" v="3514" actId="1076"/>
          <ac:grpSpMkLst>
            <pc:docMk/>
            <pc:sldMk cId="3635708424" sldId="674"/>
            <ac:grpSpMk id="8" creationId="{8EC2393B-288B-4BEE-8298-C7D85D28A9DD}"/>
          </ac:grpSpMkLst>
        </pc:grpChg>
        <pc:grpChg chg="add mod">
          <ac:chgData name="Sam Mesel" userId="1ee7badb-5d1f-4872-89ae-dcf7b71f276a" providerId="ADAL" clId="{53886FC4-CEC3-49C2-A16F-E052A3E85A45}" dt="2020-03-11T03:07:34.141" v="3514" actId="1076"/>
          <ac:grpSpMkLst>
            <pc:docMk/>
            <pc:sldMk cId="3635708424" sldId="674"/>
            <ac:grpSpMk id="11" creationId="{1B2E1ABD-81B7-4E54-BD1F-336E7BA240A8}"/>
          </ac:grpSpMkLst>
        </pc:grpChg>
        <pc:grpChg chg="add mod">
          <ac:chgData name="Sam Mesel" userId="1ee7badb-5d1f-4872-89ae-dcf7b71f276a" providerId="ADAL" clId="{53886FC4-CEC3-49C2-A16F-E052A3E85A45}" dt="2020-03-11T03:07:34.141" v="3514" actId="1076"/>
          <ac:grpSpMkLst>
            <pc:docMk/>
            <pc:sldMk cId="3635708424" sldId="674"/>
            <ac:grpSpMk id="14" creationId="{A78C5848-E335-4D50-8FA4-AC2B07B66098}"/>
          </ac:grpSpMkLst>
        </pc:grpChg>
        <pc:grpChg chg="add mod">
          <ac:chgData name="Sam Mesel" userId="1ee7badb-5d1f-4872-89ae-dcf7b71f276a" providerId="ADAL" clId="{53886FC4-CEC3-49C2-A16F-E052A3E85A45}" dt="2020-03-11T03:07:34.141" v="3514" actId="1076"/>
          <ac:grpSpMkLst>
            <pc:docMk/>
            <pc:sldMk cId="3635708424" sldId="674"/>
            <ac:grpSpMk id="17" creationId="{28BAA599-9049-452A-8AA6-58B758B506A2}"/>
          </ac:grpSpMkLst>
        </pc:grpChg>
        <pc:grpChg chg="add mod">
          <ac:chgData name="Sam Mesel" userId="1ee7badb-5d1f-4872-89ae-dcf7b71f276a" providerId="ADAL" clId="{53886FC4-CEC3-49C2-A16F-E052A3E85A45}" dt="2020-03-11T03:07:34.141" v="3514" actId="1076"/>
          <ac:grpSpMkLst>
            <pc:docMk/>
            <pc:sldMk cId="3635708424" sldId="674"/>
            <ac:grpSpMk id="20" creationId="{555F5EB5-5ADC-4368-B761-47525A458D88}"/>
          </ac:grpSpMkLst>
        </pc:grpChg>
        <pc:grpChg chg="add mod">
          <ac:chgData name="Sam Mesel" userId="1ee7badb-5d1f-4872-89ae-dcf7b71f276a" providerId="ADAL" clId="{53886FC4-CEC3-49C2-A16F-E052A3E85A45}" dt="2020-03-11T03:07:34.141" v="3514" actId="1076"/>
          <ac:grpSpMkLst>
            <pc:docMk/>
            <pc:sldMk cId="3635708424" sldId="674"/>
            <ac:grpSpMk id="23" creationId="{D00B00A2-913E-4848-9103-99A70BEB3F28}"/>
          </ac:grpSpMkLst>
        </pc:grpChg>
        <pc:grpChg chg="add mod">
          <ac:chgData name="Sam Mesel" userId="1ee7badb-5d1f-4872-89ae-dcf7b71f276a" providerId="ADAL" clId="{53886FC4-CEC3-49C2-A16F-E052A3E85A45}" dt="2020-03-11T03:07:34.141" v="3514" actId="1076"/>
          <ac:grpSpMkLst>
            <pc:docMk/>
            <pc:sldMk cId="3635708424" sldId="674"/>
            <ac:grpSpMk id="26" creationId="{F3BDA354-CD68-4D6B-83DE-B81A2721E3FE}"/>
          </ac:grpSpMkLst>
        </pc:grpChg>
        <pc:grpChg chg="add mod">
          <ac:chgData name="Sam Mesel" userId="1ee7badb-5d1f-4872-89ae-dcf7b71f276a" providerId="ADAL" clId="{53886FC4-CEC3-49C2-A16F-E052A3E85A45}" dt="2020-03-11T03:07:34.141" v="3514" actId="1076"/>
          <ac:grpSpMkLst>
            <pc:docMk/>
            <pc:sldMk cId="3635708424" sldId="674"/>
            <ac:grpSpMk id="29" creationId="{A09D5FBF-162D-4189-85B2-00C0DD1E2D44}"/>
          </ac:grpSpMkLst>
        </pc:grpChg>
        <pc:grpChg chg="add mod">
          <ac:chgData name="Sam Mesel" userId="1ee7badb-5d1f-4872-89ae-dcf7b71f276a" providerId="ADAL" clId="{53886FC4-CEC3-49C2-A16F-E052A3E85A45}" dt="2020-03-11T03:04:25.253" v="3453" actId="164"/>
          <ac:grpSpMkLst>
            <pc:docMk/>
            <pc:sldMk cId="3635708424" sldId="674"/>
            <ac:grpSpMk id="66" creationId="{BF791DC8-2142-4B19-A4E5-AC7ECCEBC7C0}"/>
          </ac:grpSpMkLst>
        </pc:grpChg>
        <pc:grpChg chg="add mod">
          <ac:chgData name="Sam Mesel" userId="1ee7badb-5d1f-4872-89ae-dcf7b71f276a" providerId="ADAL" clId="{53886FC4-CEC3-49C2-A16F-E052A3E85A45}" dt="2020-03-11T03:07:34.141" v="3514" actId="1076"/>
          <ac:grpSpMkLst>
            <pc:docMk/>
            <pc:sldMk cId="3635708424" sldId="674"/>
            <ac:grpSpMk id="67" creationId="{8735EC84-C8DF-49DC-964B-1544FCA9DAFE}"/>
          </ac:grpSpMkLst>
        </pc:grpChg>
        <pc:grpChg chg="add mod">
          <ac:chgData name="Sam Mesel" userId="1ee7badb-5d1f-4872-89ae-dcf7b71f276a" providerId="ADAL" clId="{53886FC4-CEC3-49C2-A16F-E052A3E85A45}" dt="2020-03-11T03:07:26.019" v="3512" actId="14100"/>
          <ac:grpSpMkLst>
            <pc:docMk/>
            <pc:sldMk cId="3635708424" sldId="674"/>
            <ac:grpSpMk id="68" creationId="{D6189825-43FA-4F36-AD40-2397CAFB6A61}"/>
          </ac:grpSpMkLst>
        </pc:grpChg>
        <pc:cxnChg chg="add mod">
          <ac:chgData name="Sam Mesel" userId="1ee7badb-5d1f-4872-89ae-dcf7b71f276a" providerId="ADAL" clId="{53886FC4-CEC3-49C2-A16F-E052A3E85A45}" dt="2020-03-11T03:07:20.897" v="3511" actId="164"/>
          <ac:cxnSpMkLst>
            <pc:docMk/>
            <pc:sldMk cId="3635708424" sldId="674"/>
            <ac:cxnSpMk id="57" creationId="{E3835AC4-C5FF-4C23-A71E-77A0ECF7F821}"/>
          </ac:cxnSpMkLst>
        </pc:cxnChg>
        <pc:cxnChg chg="add mod">
          <ac:chgData name="Sam Mesel" userId="1ee7badb-5d1f-4872-89ae-dcf7b71f276a" providerId="ADAL" clId="{53886FC4-CEC3-49C2-A16F-E052A3E85A45}" dt="2020-03-11T03:07:20.897" v="3511" actId="164"/>
          <ac:cxnSpMkLst>
            <pc:docMk/>
            <pc:sldMk cId="3635708424" sldId="674"/>
            <ac:cxnSpMk id="58" creationId="{89D58723-AFCA-4162-9425-ACEA1787F550}"/>
          </ac:cxnSpMkLst>
        </pc:cxnChg>
        <pc:cxnChg chg="add mod">
          <ac:chgData name="Sam Mesel" userId="1ee7badb-5d1f-4872-89ae-dcf7b71f276a" providerId="ADAL" clId="{53886FC4-CEC3-49C2-A16F-E052A3E85A45}" dt="2020-03-11T03:07:20.897" v="3511" actId="164"/>
          <ac:cxnSpMkLst>
            <pc:docMk/>
            <pc:sldMk cId="3635708424" sldId="674"/>
            <ac:cxnSpMk id="60" creationId="{6613F88F-17C0-4E7C-8618-00EAA11F86D3}"/>
          </ac:cxnSpMkLst>
        </pc:cxnChg>
        <pc:cxnChg chg="add del mod">
          <ac:chgData name="Sam Mesel" userId="1ee7badb-5d1f-4872-89ae-dcf7b71f276a" providerId="ADAL" clId="{53886FC4-CEC3-49C2-A16F-E052A3E85A45}" dt="2020-03-11T02:58:03.150" v="3400" actId="478"/>
          <ac:cxnSpMkLst>
            <pc:docMk/>
            <pc:sldMk cId="3635708424" sldId="674"/>
            <ac:cxnSpMk id="65" creationId="{7B102C7B-9E61-4B65-AD69-A44C3EAD19E6}"/>
          </ac:cxnSpMkLst>
        </pc:cxnChg>
      </pc:sldChg>
      <pc:sldChg chg="addSp delSp modSp new mod modAnim">
        <pc:chgData name="Sam Mesel" userId="1ee7badb-5d1f-4872-89ae-dcf7b71f276a" providerId="ADAL" clId="{53886FC4-CEC3-49C2-A16F-E052A3E85A45}" dt="2020-03-19T15:40:50.560" v="5397" actId="2085"/>
        <pc:sldMkLst>
          <pc:docMk/>
          <pc:sldMk cId="1383739927" sldId="675"/>
        </pc:sldMkLst>
        <pc:spChg chg="mod">
          <ac:chgData name="Sam Mesel" userId="1ee7badb-5d1f-4872-89ae-dcf7b71f276a" providerId="ADAL" clId="{53886FC4-CEC3-49C2-A16F-E052A3E85A45}" dt="2020-03-11T22:12:51.567" v="3702" actId="6549"/>
          <ac:spMkLst>
            <pc:docMk/>
            <pc:sldMk cId="1383739927" sldId="675"/>
            <ac:spMk id="2" creationId="{568E7BA0-D8D5-4850-BC40-A15AD7AE0E59}"/>
          </ac:spMkLst>
        </pc:spChg>
        <pc:spChg chg="mod">
          <ac:chgData name="Sam Mesel" userId="1ee7badb-5d1f-4872-89ae-dcf7b71f276a" providerId="ADAL" clId="{53886FC4-CEC3-49C2-A16F-E052A3E85A45}" dt="2020-03-11T03:11:37.714" v="3585" actId="20577"/>
          <ac:spMkLst>
            <pc:docMk/>
            <pc:sldMk cId="1383739927" sldId="675"/>
            <ac:spMk id="3" creationId="{34F4FEA9-3139-45B2-B37D-F151113CFB97}"/>
          </ac:spMkLst>
        </pc:spChg>
        <pc:spChg chg="del">
          <ac:chgData name="Sam Mesel" userId="1ee7badb-5d1f-4872-89ae-dcf7b71f276a" providerId="ADAL" clId="{53886FC4-CEC3-49C2-A16F-E052A3E85A45}" dt="2020-03-11T03:11:54.060" v="3586" actId="478"/>
          <ac:spMkLst>
            <pc:docMk/>
            <pc:sldMk cId="1383739927" sldId="675"/>
            <ac:spMk id="4" creationId="{1D6F1AB4-BC90-4AF5-B69D-0E63EA5AA9B7}"/>
          </ac:spMkLst>
        </pc:spChg>
        <pc:spChg chg="add mod ord">
          <ac:chgData name="Sam Mesel" userId="1ee7badb-5d1f-4872-89ae-dcf7b71f276a" providerId="ADAL" clId="{53886FC4-CEC3-49C2-A16F-E052A3E85A45}" dt="2020-03-11T22:24:26.686" v="3875" actId="14100"/>
          <ac:spMkLst>
            <pc:docMk/>
            <pc:sldMk cId="1383739927" sldId="675"/>
            <ac:spMk id="4" creationId="{C21AF9FA-2827-4241-929B-6AE5A19E8353}"/>
          </ac:spMkLst>
        </pc:spChg>
        <pc:spChg chg="add del">
          <ac:chgData name="Sam Mesel" userId="1ee7badb-5d1f-4872-89ae-dcf7b71f276a" providerId="ADAL" clId="{53886FC4-CEC3-49C2-A16F-E052A3E85A45}" dt="2020-03-11T03:12:42.407" v="3599" actId="478"/>
          <ac:spMkLst>
            <pc:docMk/>
            <pc:sldMk cId="1383739927" sldId="675"/>
            <ac:spMk id="5" creationId="{940B7DFF-F0B0-4633-8ADD-2C16AF4A3A01}"/>
          </ac:spMkLst>
        </pc:spChg>
        <pc:spChg chg="add">
          <ac:chgData name="Sam Mesel" userId="1ee7badb-5d1f-4872-89ae-dcf7b71f276a" providerId="ADAL" clId="{53886FC4-CEC3-49C2-A16F-E052A3E85A45}" dt="2020-03-11T03:11:55.076" v="3587"/>
          <ac:spMkLst>
            <pc:docMk/>
            <pc:sldMk cId="1383739927" sldId="675"/>
            <ac:spMk id="11" creationId="{745291EE-960D-40F5-BC9E-9B13ECFAB56C}"/>
          </ac:spMkLst>
        </pc:spChg>
        <pc:spChg chg="add">
          <ac:chgData name="Sam Mesel" userId="1ee7badb-5d1f-4872-89ae-dcf7b71f276a" providerId="ADAL" clId="{53886FC4-CEC3-49C2-A16F-E052A3E85A45}" dt="2020-03-11T03:11:55.076" v="3587"/>
          <ac:spMkLst>
            <pc:docMk/>
            <pc:sldMk cId="1383739927" sldId="675"/>
            <ac:spMk id="12" creationId="{455846FE-B523-462B-BD86-46BEDE3E53BE}"/>
          </ac:spMkLst>
        </pc:spChg>
        <pc:spChg chg="add">
          <ac:chgData name="Sam Mesel" userId="1ee7badb-5d1f-4872-89ae-dcf7b71f276a" providerId="ADAL" clId="{53886FC4-CEC3-49C2-A16F-E052A3E85A45}" dt="2020-03-11T03:11:55.076" v="3587"/>
          <ac:spMkLst>
            <pc:docMk/>
            <pc:sldMk cId="1383739927" sldId="675"/>
            <ac:spMk id="13" creationId="{F21B60C0-843A-487B-A187-26E9F460DC96}"/>
          </ac:spMkLst>
        </pc:spChg>
        <pc:spChg chg="add">
          <ac:chgData name="Sam Mesel" userId="1ee7badb-5d1f-4872-89ae-dcf7b71f276a" providerId="ADAL" clId="{53886FC4-CEC3-49C2-A16F-E052A3E85A45}" dt="2020-03-11T03:11:55.076" v="3587"/>
          <ac:spMkLst>
            <pc:docMk/>
            <pc:sldMk cId="1383739927" sldId="675"/>
            <ac:spMk id="14" creationId="{2C8C5B76-1E3D-4D10-86E4-F73F72EA7BA3}"/>
          </ac:spMkLst>
        </pc:spChg>
        <pc:spChg chg="mod">
          <ac:chgData name="Sam Mesel" userId="1ee7badb-5d1f-4872-89ae-dcf7b71f276a" providerId="ADAL" clId="{53886FC4-CEC3-49C2-A16F-E052A3E85A45}" dt="2020-03-19T15:40:38.029" v="5395" actId="207"/>
          <ac:spMkLst>
            <pc:docMk/>
            <pc:sldMk cId="1383739927" sldId="675"/>
            <ac:spMk id="20" creationId="{71214026-E9C1-40C9-B248-700C5931CE95}"/>
          </ac:spMkLst>
        </pc:spChg>
        <pc:spChg chg="mod">
          <ac:chgData name="Sam Mesel" userId="1ee7badb-5d1f-4872-89ae-dcf7b71f276a" providerId="ADAL" clId="{53886FC4-CEC3-49C2-A16F-E052A3E85A45}" dt="2020-03-19T15:40:20.185" v="5393" actId="208"/>
          <ac:spMkLst>
            <pc:docMk/>
            <pc:sldMk cId="1383739927" sldId="675"/>
            <ac:spMk id="21" creationId="{995E0997-7DEB-46EF-A0CA-210D496484EA}"/>
          </ac:spMkLst>
        </pc:spChg>
        <pc:spChg chg="mod">
          <ac:chgData name="Sam Mesel" userId="1ee7badb-5d1f-4872-89ae-dcf7b71f276a" providerId="ADAL" clId="{53886FC4-CEC3-49C2-A16F-E052A3E85A45}" dt="2020-03-19T15:40:20.185" v="5393" actId="208"/>
          <ac:spMkLst>
            <pc:docMk/>
            <pc:sldMk cId="1383739927" sldId="675"/>
            <ac:spMk id="22" creationId="{2CD2A3ED-E4F2-4B58-99B8-6C2ADA7B0446}"/>
          </ac:spMkLst>
        </pc:spChg>
        <pc:spChg chg="mod">
          <ac:chgData name="Sam Mesel" userId="1ee7badb-5d1f-4872-89ae-dcf7b71f276a" providerId="ADAL" clId="{53886FC4-CEC3-49C2-A16F-E052A3E85A45}" dt="2020-03-19T15:40:20.185" v="5393" actId="208"/>
          <ac:spMkLst>
            <pc:docMk/>
            <pc:sldMk cId="1383739927" sldId="675"/>
            <ac:spMk id="23" creationId="{AFE3FBD7-0A45-4A11-AB48-FD030D9C4640}"/>
          </ac:spMkLst>
        </pc:spChg>
        <pc:spChg chg="mod">
          <ac:chgData name="Sam Mesel" userId="1ee7badb-5d1f-4872-89ae-dcf7b71f276a" providerId="ADAL" clId="{53886FC4-CEC3-49C2-A16F-E052A3E85A45}" dt="2020-03-19T15:40:20.185" v="5393" actId="208"/>
          <ac:spMkLst>
            <pc:docMk/>
            <pc:sldMk cId="1383739927" sldId="675"/>
            <ac:spMk id="24" creationId="{E776B70A-9A76-4044-B8B0-8FC2FFDE6C1D}"/>
          </ac:spMkLst>
        </pc:spChg>
        <pc:spChg chg="mod">
          <ac:chgData name="Sam Mesel" userId="1ee7badb-5d1f-4872-89ae-dcf7b71f276a" providerId="ADAL" clId="{53886FC4-CEC3-49C2-A16F-E052A3E85A45}" dt="2020-03-19T15:40:20.185" v="5393" actId="208"/>
          <ac:spMkLst>
            <pc:docMk/>
            <pc:sldMk cId="1383739927" sldId="675"/>
            <ac:spMk id="25" creationId="{99250AD5-8646-4CBB-9517-7303D70D6F54}"/>
          </ac:spMkLst>
        </pc:spChg>
        <pc:spChg chg="mod">
          <ac:chgData name="Sam Mesel" userId="1ee7badb-5d1f-4872-89ae-dcf7b71f276a" providerId="ADAL" clId="{53886FC4-CEC3-49C2-A16F-E052A3E85A45}" dt="2020-03-19T15:40:20.185" v="5393" actId="208"/>
          <ac:spMkLst>
            <pc:docMk/>
            <pc:sldMk cId="1383739927" sldId="675"/>
            <ac:spMk id="26" creationId="{D3471596-9FFF-46C0-A33F-370F153BDEA7}"/>
          </ac:spMkLst>
        </pc:spChg>
        <pc:spChg chg="mod">
          <ac:chgData name="Sam Mesel" userId="1ee7badb-5d1f-4872-89ae-dcf7b71f276a" providerId="ADAL" clId="{53886FC4-CEC3-49C2-A16F-E052A3E85A45}" dt="2020-03-19T15:40:13.408" v="5391" actId="208"/>
          <ac:spMkLst>
            <pc:docMk/>
            <pc:sldMk cId="1383739927" sldId="675"/>
            <ac:spMk id="29" creationId="{75D31F9E-6FD2-482F-BF16-DE2093DA1EC8}"/>
          </ac:spMkLst>
        </pc:spChg>
        <pc:spChg chg="mod">
          <ac:chgData name="Sam Mesel" userId="1ee7badb-5d1f-4872-89ae-dcf7b71f276a" providerId="ADAL" clId="{53886FC4-CEC3-49C2-A16F-E052A3E85A45}" dt="2020-03-19T15:40:13.408" v="5391" actId="208"/>
          <ac:spMkLst>
            <pc:docMk/>
            <pc:sldMk cId="1383739927" sldId="675"/>
            <ac:spMk id="30" creationId="{36DD3026-4B1E-43F8-A7EA-4DC188CD5D7B}"/>
          </ac:spMkLst>
        </pc:spChg>
        <pc:spChg chg="mod">
          <ac:chgData name="Sam Mesel" userId="1ee7badb-5d1f-4872-89ae-dcf7b71f276a" providerId="ADAL" clId="{53886FC4-CEC3-49C2-A16F-E052A3E85A45}" dt="2020-03-19T15:40:13.408" v="5391" actId="208"/>
          <ac:spMkLst>
            <pc:docMk/>
            <pc:sldMk cId="1383739927" sldId="675"/>
            <ac:spMk id="31" creationId="{C5C204AA-D0BD-4461-93D2-205752B384B3}"/>
          </ac:spMkLst>
        </pc:spChg>
        <pc:spChg chg="mod">
          <ac:chgData name="Sam Mesel" userId="1ee7badb-5d1f-4872-89ae-dcf7b71f276a" providerId="ADAL" clId="{53886FC4-CEC3-49C2-A16F-E052A3E85A45}" dt="2020-03-19T15:40:13.408" v="5391" actId="208"/>
          <ac:spMkLst>
            <pc:docMk/>
            <pc:sldMk cId="1383739927" sldId="675"/>
            <ac:spMk id="32" creationId="{FBC372E4-8E46-4E0F-B8DC-D60895ECF1AE}"/>
          </ac:spMkLst>
        </pc:spChg>
        <pc:spChg chg="mod">
          <ac:chgData name="Sam Mesel" userId="1ee7badb-5d1f-4872-89ae-dcf7b71f276a" providerId="ADAL" clId="{53886FC4-CEC3-49C2-A16F-E052A3E85A45}" dt="2020-03-19T15:40:13.408" v="5391" actId="208"/>
          <ac:spMkLst>
            <pc:docMk/>
            <pc:sldMk cId="1383739927" sldId="675"/>
            <ac:spMk id="33" creationId="{BA545B4C-C0E9-4144-B672-008C7A8C65DB}"/>
          </ac:spMkLst>
        </pc:spChg>
        <pc:spChg chg="mod">
          <ac:chgData name="Sam Mesel" userId="1ee7badb-5d1f-4872-89ae-dcf7b71f276a" providerId="ADAL" clId="{53886FC4-CEC3-49C2-A16F-E052A3E85A45}" dt="2020-03-19T15:40:13.408" v="5391" actId="208"/>
          <ac:spMkLst>
            <pc:docMk/>
            <pc:sldMk cId="1383739927" sldId="675"/>
            <ac:spMk id="34" creationId="{52DC51BC-9863-43F8-BDAD-AFDE30B19BA8}"/>
          </ac:spMkLst>
        </pc:spChg>
        <pc:spChg chg="mod">
          <ac:chgData name="Sam Mesel" userId="1ee7badb-5d1f-4872-89ae-dcf7b71f276a" providerId="ADAL" clId="{53886FC4-CEC3-49C2-A16F-E052A3E85A45}" dt="2020-03-19T15:40:13.408" v="5391" actId="208"/>
          <ac:spMkLst>
            <pc:docMk/>
            <pc:sldMk cId="1383739927" sldId="675"/>
            <ac:spMk id="35" creationId="{B8A7F21B-F713-4D0C-9AE6-68EB4B0FC592}"/>
          </ac:spMkLst>
        </pc:spChg>
        <pc:spChg chg="mod">
          <ac:chgData name="Sam Mesel" userId="1ee7badb-5d1f-4872-89ae-dcf7b71f276a" providerId="ADAL" clId="{53886FC4-CEC3-49C2-A16F-E052A3E85A45}" dt="2020-03-19T15:40:13.408" v="5391" actId="208"/>
          <ac:spMkLst>
            <pc:docMk/>
            <pc:sldMk cId="1383739927" sldId="675"/>
            <ac:spMk id="36" creationId="{9BC6EDEE-F3A8-4BA1-914A-8A9B552432A5}"/>
          </ac:spMkLst>
        </pc:spChg>
        <pc:spChg chg="mod">
          <ac:chgData name="Sam Mesel" userId="1ee7badb-5d1f-4872-89ae-dcf7b71f276a" providerId="ADAL" clId="{53886FC4-CEC3-49C2-A16F-E052A3E85A45}" dt="2020-03-19T15:40:50.560" v="5397" actId="2085"/>
          <ac:spMkLst>
            <pc:docMk/>
            <pc:sldMk cId="1383739927" sldId="675"/>
            <ac:spMk id="37" creationId="{CED86474-28A1-477E-B760-1F8C8FB5A022}"/>
          </ac:spMkLst>
        </pc:spChg>
        <pc:spChg chg="add">
          <ac:chgData name="Sam Mesel" userId="1ee7badb-5d1f-4872-89ae-dcf7b71f276a" providerId="ADAL" clId="{53886FC4-CEC3-49C2-A16F-E052A3E85A45}" dt="2020-03-11T03:11:55.076" v="3587"/>
          <ac:spMkLst>
            <pc:docMk/>
            <pc:sldMk cId="1383739927" sldId="675"/>
            <ac:spMk id="38" creationId="{F14F7995-BA44-40E9-9688-471864B687D8}"/>
          </ac:spMkLst>
        </pc:spChg>
        <pc:spChg chg="add">
          <ac:chgData name="Sam Mesel" userId="1ee7badb-5d1f-4872-89ae-dcf7b71f276a" providerId="ADAL" clId="{53886FC4-CEC3-49C2-A16F-E052A3E85A45}" dt="2020-03-11T03:11:55.076" v="3587"/>
          <ac:spMkLst>
            <pc:docMk/>
            <pc:sldMk cId="1383739927" sldId="675"/>
            <ac:spMk id="53" creationId="{2C5C1A47-F6CD-4E42-B6DF-A1C35FEBCFD6}"/>
          </ac:spMkLst>
        </pc:spChg>
        <pc:spChg chg="add ord">
          <ac:chgData name="Sam Mesel" userId="1ee7badb-5d1f-4872-89ae-dcf7b71f276a" providerId="ADAL" clId="{53886FC4-CEC3-49C2-A16F-E052A3E85A45}" dt="2020-03-11T22:24:11.646" v="3850" actId="167"/>
          <ac:spMkLst>
            <pc:docMk/>
            <pc:sldMk cId="1383739927" sldId="675"/>
            <ac:spMk id="54" creationId="{0D366920-AABF-4CEB-845B-906966F33EA6}"/>
          </ac:spMkLst>
        </pc:spChg>
        <pc:spChg chg="add">
          <ac:chgData name="Sam Mesel" userId="1ee7badb-5d1f-4872-89ae-dcf7b71f276a" providerId="ADAL" clId="{53886FC4-CEC3-49C2-A16F-E052A3E85A45}" dt="2020-03-11T22:26:04.842" v="3879"/>
          <ac:spMkLst>
            <pc:docMk/>
            <pc:sldMk cId="1383739927" sldId="675"/>
            <ac:spMk id="56" creationId="{793972C5-BC52-45A1-86B1-9FEDF7952217}"/>
          </ac:spMkLst>
        </pc:spChg>
        <pc:grpChg chg="add">
          <ac:chgData name="Sam Mesel" userId="1ee7badb-5d1f-4872-89ae-dcf7b71f276a" providerId="ADAL" clId="{53886FC4-CEC3-49C2-A16F-E052A3E85A45}" dt="2020-03-11T03:11:55.076" v="3587"/>
          <ac:grpSpMkLst>
            <pc:docMk/>
            <pc:sldMk cId="1383739927" sldId="675"/>
            <ac:grpSpMk id="6" creationId="{DA4C3E3C-CCEA-47D5-AC48-2919BA4F97ED}"/>
          </ac:grpSpMkLst>
        </pc:grpChg>
        <pc:grpChg chg="add">
          <ac:chgData name="Sam Mesel" userId="1ee7badb-5d1f-4872-89ae-dcf7b71f276a" providerId="ADAL" clId="{53886FC4-CEC3-49C2-A16F-E052A3E85A45}" dt="2020-03-11T03:11:55.076" v="3587"/>
          <ac:grpSpMkLst>
            <pc:docMk/>
            <pc:sldMk cId="1383739927" sldId="675"/>
            <ac:grpSpMk id="18" creationId="{0FCC5C94-11BD-43F4-A013-C1D7B5BB3BDB}"/>
          </ac:grpSpMkLst>
        </pc:grpChg>
        <pc:grpChg chg="add">
          <ac:chgData name="Sam Mesel" userId="1ee7badb-5d1f-4872-89ae-dcf7b71f276a" providerId="ADAL" clId="{53886FC4-CEC3-49C2-A16F-E052A3E85A45}" dt="2020-03-11T03:11:55.076" v="3587"/>
          <ac:grpSpMkLst>
            <pc:docMk/>
            <pc:sldMk cId="1383739927" sldId="675"/>
            <ac:grpSpMk id="28" creationId="{577D5724-E572-4602-9D45-6FCC1996A959}"/>
          </ac:grpSpMkLst>
        </pc:grpChg>
        <pc:grpChg chg="add">
          <ac:chgData name="Sam Mesel" userId="1ee7badb-5d1f-4872-89ae-dcf7b71f276a" providerId="ADAL" clId="{53886FC4-CEC3-49C2-A16F-E052A3E85A45}" dt="2020-03-11T03:11:55.076" v="3587"/>
          <ac:grpSpMkLst>
            <pc:docMk/>
            <pc:sldMk cId="1383739927" sldId="675"/>
            <ac:grpSpMk id="39" creationId="{E74F4B54-123B-4A4D-88B5-DBFB2255DAD6}"/>
          </ac:grpSpMkLst>
        </pc:grpChg>
        <pc:grpChg chg="add">
          <ac:chgData name="Sam Mesel" userId="1ee7badb-5d1f-4872-89ae-dcf7b71f276a" providerId="ADAL" clId="{53886FC4-CEC3-49C2-A16F-E052A3E85A45}" dt="2020-03-11T03:11:55.076" v="3587"/>
          <ac:grpSpMkLst>
            <pc:docMk/>
            <pc:sldMk cId="1383739927" sldId="675"/>
            <ac:grpSpMk id="46" creationId="{83CFCD7F-839D-4E47-8176-0532CDCB787A}"/>
          </ac:grpSpMkLst>
        </pc:grpChg>
        <pc:cxnChg chg="add">
          <ac:chgData name="Sam Mesel" userId="1ee7badb-5d1f-4872-89ae-dcf7b71f276a" providerId="ADAL" clId="{53886FC4-CEC3-49C2-A16F-E052A3E85A45}" dt="2020-03-11T03:11:55.076" v="3587"/>
          <ac:cxnSpMkLst>
            <pc:docMk/>
            <pc:sldMk cId="1383739927" sldId="675"/>
            <ac:cxnSpMk id="15" creationId="{C9B5FFC4-189A-46CD-9920-6D2630CDEF36}"/>
          </ac:cxnSpMkLst>
        </pc:cxnChg>
        <pc:cxnChg chg="add">
          <ac:chgData name="Sam Mesel" userId="1ee7badb-5d1f-4872-89ae-dcf7b71f276a" providerId="ADAL" clId="{53886FC4-CEC3-49C2-A16F-E052A3E85A45}" dt="2020-03-11T03:11:55.076" v="3587"/>
          <ac:cxnSpMkLst>
            <pc:docMk/>
            <pc:sldMk cId="1383739927" sldId="675"/>
            <ac:cxnSpMk id="16" creationId="{EF76135C-3230-4137-9072-13FF2C8A59E7}"/>
          </ac:cxnSpMkLst>
        </pc:cxnChg>
        <pc:cxnChg chg="add mod">
          <ac:chgData name="Sam Mesel" userId="1ee7badb-5d1f-4872-89ae-dcf7b71f276a" providerId="ADAL" clId="{53886FC4-CEC3-49C2-A16F-E052A3E85A45}" dt="2020-03-19T15:40:00.890" v="5389" actId="208"/>
          <ac:cxnSpMkLst>
            <pc:docMk/>
            <pc:sldMk cId="1383739927" sldId="675"/>
            <ac:cxnSpMk id="17" creationId="{643082BB-1DAC-46B5-AD16-D4C3DFA75C77}"/>
          </ac:cxnSpMkLst>
        </pc:cxnChg>
        <pc:cxnChg chg="add mod">
          <ac:chgData name="Sam Mesel" userId="1ee7badb-5d1f-4872-89ae-dcf7b71f276a" providerId="ADAL" clId="{53886FC4-CEC3-49C2-A16F-E052A3E85A45}" dt="2020-03-19T15:40:00.890" v="5389" actId="208"/>
          <ac:cxnSpMkLst>
            <pc:docMk/>
            <pc:sldMk cId="1383739927" sldId="675"/>
            <ac:cxnSpMk id="27" creationId="{F78CFC91-2C6C-4F8D-B21B-0A871945768C}"/>
          </ac:cxnSpMkLst>
        </pc:cxnChg>
        <pc:cxnChg chg="add mod">
          <ac:chgData name="Sam Mesel" userId="1ee7badb-5d1f-4872-89ae-dcf7b71f276a" providerId="ADAL" clId="{53886FC4-CEC3-49C2-A16F-E052A3E85A45}" dt="2020-03-19T15:40:00.890" v="5389" actId="208"/>
          <ac:cxnSpMkLst>
            <pc:docMk/>
            <pc:sldMk cId="1383739927" sldId="675"/>
            <ac:cxnSpMk id="44" creationId="{32D861F1-47FA-4FD0-AAF3-67E81001C59F}"/>
          </ac:cxnSpMkLst>
        </pc:cxnChg>
        <pc:cxnChg chg="add mod">
          <ac:chgData name="Sam Mesel" userId="1ee7badb-5d1f-4872-89ae-dcf7b71f276a" providerId="ADAL" clId="{53886FC4-CEC3-49C2-A16F-E052A3E85A45}" dt="2020-03-19T15:40:00.890" v="5389" actId="208"/>
          <ac:cxnSpMkLst>
            <pc:docMk/>
            <pc:sldMk cId="1383739927" sldId="675"/>
            <ac:cxnSpMk id="45" creationId="{4EC54C35-C4F0-413D-A319-A8372E00AA46}"/>
          </ac:cxnSpMkLst>
        </pc:cxnChg>
        <pc:cxnChg chg="add mod">
          <ac:chgData name="Sam Mesel" userId="1ee7badb-5d1f-4872-89ae-dcf7b71f276a" providerId="ADAL" clId="{53886FC4-CEC3-49C2-A16F-E052A3E85A45}" dt="2020-03-19T15:40:00.890" v="5389" actId="208"/>
          <ac:cxnSpMkLst>
            <pc:docMk/>
            <pc:sldMk cId="1383739927" sldId="675"/>
            <ac:cxnSpMk id="51" creationId="{3DD34FFF-5C36-4065-93FB-ABFCF736EC8E}"/>
          </ac:cxnSpMkLst>
        </pc:cxnChg>
        <pc:cxnChg chg="add mod">
          <ac:chgData name="Sam Mesel" userId="1ee7badb-5d1f-4872-89ae-dcf7b71f276a" providerId="ADAL" clId="{53886FC4-CEC3-49C2-A16F-E052A3E85A45}" dt="2020-03-19T15:40:00.890" v="5389" actId="208"/>
          <ac:cxnSpMkLst>
            <pc:docMk/>
            <pc:sldMk cId="1383739927" sldId="675"/>
            <ac:cxnSpMk id="52" creationId="{5012F121-8805-4428-8D42-E58E48F7130A}"/>
          </ac:cxnSpMkLst>
        </pc:cxnChg>
      </pc:sldChg>
      <pc:sldChg chg="addSp delSp modSp new mod modAnim">
        <pc:chgData name="Sam Mesel" userId="1ee7badb-5d1f-4872-89ae-dcf7b71f276a" providerId="ADAL" clId="{53886FC4-CEC3-49C2-A16F-E052A3E85A45}" dt="2020-03-19T15:42:03.900" v="5410" actId="2085"/>
        <pc:sldMkLst>
          <pc:docMk/>
          <pc:sldMk cId="1910299488" sldId="676"/>
        </pc:sldMkLst>
        <pc:spChg chg="mod">
          <ac:chgData name="Sam Mesel" userId="1ee7badb-5d1f-4872-89ae-dcf7b71f276a" providerId="ADAL" clId="{53886FC4-CEC3-49C2-A16F-E052A3E85A45}" dt="2020-03-11T22:12:59.829" v="3716" actId="20577"/>
          <ac:spMkLst>
            <pc:docMk/>
            <pc:sldMk cId="1910299488" sldId="676"/>
            <ac:spMk id="2" creationId="{F5EC45B4-2518-4042-9719-4798F8CB6FE0}"/>
          </ac:spMkLst>
        </pc:spChg>
        <pc:spChg chg="mod">
          <ac:chgData name="Sam Mesel" userId="1ee7badb-5d1f-4872-89ae-dcf7b71f276a" providerId="ADAL" clId="{53886FC4-CEC3-49C2-A16F-E052A3E85A45}" dt="2020-03-11T03:12:13.889" v="3593" actId="20577"/>
          <ac:spMkLst>
            <pc:docMk/>
            <pc:sldMk cId="1910299488" sldId="676"/>
            <ac:spMk id="3" creationId="{A2F8EC5C-C882-4892-B83F-660BAA3B1232}"/>
          </ac:spMkLst>
        </pc:spChg>
        <pc:spChg chg="add">
          <ac:chgData name="Sam Mesel" userId="1ee7badb-5d1f-4872-89ae-dcf7b71f276a" providerId="ADAL" clId="{53886FC4-CEC3-49C2-A16F-E052A3E85A45}" dt="2020-03-11T22:27:48.539" v="3882" actId="22"/>
          <ac:spMkLst>
            <pc:docMk/>
            <pc:sldMk cId="1910299488" sldId="676"/>
            <ac:spMk id="4" creationId="{42A8BD2A-51A7-4C01-9A68-DCFB01198677}"/>
          </ac:spMkLst>
        </pc:spChg>
        <pc:spChg chg="del">
          <ac:chgData name="Sam Mesel" userId="1ee7badb-5d1f-4872-89ae-dcf7b71f276a" providerId="ADAL" clId="{53886FC4-CEC3-49C2-A16F-E052A3E85A45}" dt="2020-03-11T03:12:31.237" v="3596" actId="478"/>
          <ac:spMkLst>
            <pc:docMk/>
            <pc:sldMk cId="1910299488" sldId="676"/>
            <ac:spMk id="4" creationId="{7EF005F8-F6A5-48C3-A72E-B3B1DAEF07D9}"/>
          </ac:spMkLst>
        </pc:spChg>
        <pc:spChg chg="add">
          <ac:chgData name="Sam Mesel" userId="1ee7badb-5d1f-4872-89ae-dcf7b71f276a" providerId="ADAL" clId="{53886FC4-CEC3-49C2-A16F-E052A3E85A45}" dt="2020-03-11T22:27:48.539" v="3882" actId="22"/>
          <ac:spMkLst>
            <pc:docMk/>
            <pc:sldMk cId="1910299488" sldId="676"/>
            <ac:spMk id="5" creationId="{C8254CD0-D936-4654-BE96-CC950A44CCC6}"/>
          </ac:spMkLst>
        </pc:spChg>
        <pc:spChg chg="add del">
          <ac:chgData name="Sam Mesel" userId="1ee7badb-5d1f-4872-89ae-dcf7b71f276a" providerId="ADAL" clId="{53886FC4-CEC3-49C2-A16F-E052A3E85A45}" dt="2020-03-11T03:12:29.214" v="3595"/>
          <ac:spMkLst>
            <pc:docMk/>
            <pc:sldMk cId="1910299488" sldId="676"/>
            <ac:spMk id="5" creationId="{E49F922C-55C0-4BFA-91D4-663B9064A49E}"/>
          </ac:spMkLst>
        </pc:spChg>
        <pc:spChg chg="add del">
          <ac:chgData name="Sam Mesel" userId="1ee7badb-5d1f-4872-89ae-dcf7b71f276a" providerId="ADAL" clId="{53886FC4-CEC3-49C2-A16F-E052A3E85A45}" dt="2020-03-11T03:12:29.214" v="3595"/>
          <ac:spMkLst>
            <pc:docMk/>
            <pc:sldMk cId="1910299488" sldId="676"/>
            <ac:spMk id="11" creationId="{A9385CFE-02DA-4031-B3D5-850492F21647}"/>
          </ac:spMkLst>
        </pc:spChg>
        <pc:spChg chg="add del">
          <ac:chgData name="Sam Mesel" userId="1ee7badb-5d1f-4872-89ae-dcf7b71f276a" providerId="ADAL" clId="{53886FC4-CEC3-49C2-A16F-E052A3E85A45}" dt="2020-03-11T03:12:29.214" v="3595"/>
          <ac:spMkLst>
            <pc:docMk/>
            <pc:sldMk cId="1910299488" sldId="676"/>
            <ac:spMk id="12" creationId="{03FDD082-1012-4313-A3DE-B27E5ACA9FD2}"/>
          </ac:spMkLst>
        </pc:spChg>
        <pc:spChg chg="add del">
          <ac:chgData name="Sam Mesel" userId="1ee7badb-5d1f-4872-89ae-dcf7b71f276a" providerId="ADAL" clId="{53886FC4-CEC3-49C2-A16F-E052A3E85A45}" dt="2020-03-11T03:12:29.214" v="3595"/>
          <ac:spMkLst>
            <pc:docMk/>
            <pc:sldMk cId="1910299488" sldId="676"/>
            <ac:spMk id="13" creationId="{4EABFF0E-87C6-4354-918F-4576945107FE}"/>
          </ac:spMkLst>
        </pc:spChg>
        <pc:spChg chg="add del">
          <ac:chgData name="Sam Mesel" userId="1ee7badb-5d1f-4872-89ae-dcf7b71f276a" providerId="ADAL" clId="{53886FC4-CEC3-49C2-A16F-E052A3E85A45}" dt="2020-03-11T03:12:29.214" v="3595"/>
          <ac:spMkLst>
            <pc:docMk/>
            <pc:sldMk cId="1910299488" sldId="676"/>
            <ac:spMk id="14" creationId="{C0EC10B6-927A-4CB5-8212-DF99F9E34253}"/>
          </ac:spMkLst>
        </pc:spChg>
        <pc:spChg chg="add del">
          <ac:chgData name="Sam Mesel" userId="1ee7badb-5d1f-4872-89ae-dcf7b71f276a" providerId="ADAL" clId="{53886FC4-CEC3-49C2-A16F-E052A3E85A45}" dt="2020-03-11T03:12:29.214" v="3595"/>
          <ac:spMkLst>
            <pc:docMk/>
            <pc:sldMk cId="1910299488" sldId="676"/>
            <ac:spMk id="38" creationId="{96D1B076-3713-4184-AD7C-E3861A2FF93C}"/>
          </ac:spMkLst>
        </pc:spChg>
        <pc:spChg chg="add del">
          <ac:chgData name="Sam Mesel" userId="1ee7badb-5d1f-4872-89ae-dcf7b71f276a" providerId="ADAL" clId="{53886FC4-CEC3-49C2-A16F-E052A3E85A45}" dt="2020-03-11T03:12:29.214" v="3595"/>
          <ac:spMkLst>
            <pc:docMk/>
            <pc:sldMk cId="1910299488" sldId="676"/>
            <ac:spMk id="53" creationId="{5F7A2A89-0C70-4C0A-82EE-66E4DBB8D419}"/>
          </ac:spMkLst>
        </pc:spChg>
        <pc:spChg chg="add">
          <ac:chgData name="Sam Mesel" userId="1ee7badb-5d1f-4872-89ae-dcf7b71f276a" providerId="ADAL" clId="{53886FC4-CEC3-49C2-A16F-E052A3E85A45}" dt="2020-03-11T22:25:23.298" v="3877"/>
          <ac:spMkLst>
            <pc:docMk/>
            <pc:sldMk cId="1910299488" sldId="676"/>
            <ac:spMk id="53" creationId="{6E57E663-FB83-4C88-88E9-F8F2334CC82E}"/>
          </ac:spMkLst>
        </pc:spChg>
        <pc:spChg chg="add del">
          <ac:chgData name="Sam Mesel" userId="1ee7badb-5d1f-4872-89ae-dcf7b71f276a" providerId="ADAL" clId="{53886FC4-CEC3-49C2-A16F-E052A3E85A45}" dt="2020-03-11T03:12:29.214" v="3595"/>
          <ac:spMkLst>
            <pc:docMk/>
            <pc:sldMk cId="1910299488" sldId="676"/>
            <ac:spMk id="54" creationId="{7D7444FE-E8E8-4B20-AA84-E4377308F411}"/>
          </ac:spMkLst>
        </pc:spChg>
        <pc:spChg chg="add del">
          <ac:chgData name="Sam Mesel" userId="1ee7badb-5d1f-4872-89ae-dcf7b71f276a" providerId="ADAL" clId="{53886FC4-CEC3-49C2-A16F-E052A3E85A45}" dt="2020-03-11T03:12:37.721" v="3598" actId="478"/>
          <ac:spMkLst>
            <pc:docMk/>
            <pc:sldMk cId="1910299488" sldId="676"/>
            <ac:spMk id="55" creationId="{FC440F96-4D56-4980-8FBE-88BCAF8A8F9B}"/>
          </ac:spMkLst>
        </pc:spChg>
        <pc:spChg chg="add">
          <ac:chgData name="Sam Mesel" userId="1ee7badb-5d1f-4872-89ae-dcf7b71f276a" providerId="ADAL" clId="{53886FC4-CEC3-49C2-A16F-E052A3E85A45}" dt="2020-03-11T03:12:32.212" v="3597"/>
          <ac:spMkLst>
            <pc:docMk/>
            <pc:sldMk cId="1910299488" sldId="676"/>
            <ac:spMk id="61" creationId="{FC1014D1-A68E-4D35-A1CA-F7E4C83934A3}"/>
          </ac:spMkLst>
        </pc:spChg>
        <pc:spChg chg="add">
          <ac:chgData name="Sam Mesel" userId="1ee7badb-5d1f-4872-89ae-dcf7b71f276a" providerId="ADAL" clId="{53886FC4-CEC3-49C2-A16F-E052A3E85A45}" dt="2020-03-11T03:12:32.212" v="3597"/>
          <ac:spMkLst>
            <pc:docMk/>
            <pc:sldMk cId="1910299488" sldId="676"/>
            <ac:spMk id="62" creationId="{C7407976-94DC-4F27-A229-DC047E4CF931}"/>
          </ac:spMkLst>
        </pc:spChg>
        <pc:spChg chg="add">
          <ac:chgData name="Sam Mesel" userId="1ee7badb-5d1f-4872-89ae-dcf7b71f276a" providerId="ADAL" clId="{53886FC4-CEC3-49C2-A16F-E052A3E85A45}" dt="2020-03-11T03:12:32.212" v="3597"/>
          <ac:spMkLst>
            <pc:docMk/>
            <pc:sldMk cId="1910299488" sldId="676"/>
            <ac:spMk id="63" creationId="{33F92CCA-2588-4388-B3A3-4618C82B6F90}"/>
          </ac:spMkLst>
        </pc:spChg>
        <pc:spChg chg="add">
          <ac:chgData name="Sam Mesel" userId="1ee7badb-5d1f-4872-89ae-dcf7b71f276a" providerId="ADAL" clId="{53886FC4-CEC3-49C2-A16F-E052A3E85A45}" dt="2020-03-11T03:12:32.212" v="3597"/>
          <ac:spMkLst>
            <pc:docMk/>
            <pc:sldMk cId="1910299488" sldId="676"/>
            <ac:spMk id="64" creationId="{4CB93468-D516-4DB3-8E84-35E5D9B0CB4C}"/>
          </ac:spMkLst>
        </pc:spChg>
        <pc:spChg chg="mod">
          <ac:chgData name="Sam Mesel" userId="1ee7badb-5d1f-4872-89ae-dcf7b71f276a" providerId="ADAL" clId="{53886FC4-CEC3-49C2-A16F-E052A3E85A45}" dt="2020-03-19T15:41:59.950" v="5409" actId="2085"/>
          <ac:spMkLst>
            <pc:docMk/>
            <pc:sldMk cId="1910299488" sldId="676"/>
            <ac:spMk id="70" creationId="{429607E9-A155-4F98-89ED-842039E57488}"/>
          </ac:spMkLst>
        </pc:spChg>
        <pc:spChg chg="mod">
          <ac:chgData name="Sam Mesel" userId="1ee7badb-5d1f-4872-89ae-dcf7b71f276a" providerId="ADAL" clId="{53886FC4-CEC3-49C2-A16F-E052A3E85A45}" dt="2020-03-19T15:41:52.934" v="5408" actId="208"/>
          <ac:spMkLst>
            <pc:docMk/>
            <pc:sldMk cId="1910299488" sldId="676"/>
            <ac:spMk id="71" creationId="{03B018B5-0FB6-40C4-B59E-4B65E96C82BC}"/>
          </ac:spMkLst>
        </pc:spChg>
        <pc:spChg chg="mod">
          <ac:chgData name="Sam Mesel" userId="1ee7badb-5d1f-4872-89ae-dcf7b71f276a" providerId="ADAL" clId="{53886FC4-CEC3-49C2-A16F-E052A3E85A45}" dt="2020-03-19T15:41:52.934" v="5408" actId="208"/>
          <ac:spMkLst>
            <pc:docMk/>
            <pc:sldMk cId="1910299488" sldId="676"/>
            <ac:spMk id="72" creationId="{63DD1337-542F-4F19-BA9C-7A90ECD77246}"/>
          </ac:spMkLst>
        </pc:spChg>
        <pc:spChg chg="mod">
          <ac:chgData name="Sam Mesel" userId="1ee7badb-5d1f-4872-89ae-dcf7b71f276a" providerId="ADAL" clId="{53886FC4-CEC3-49C2-A16F-E052A3E85A45}" dt="2020-03-19T15:41:52.934" v="5408" actId="208"/>
          <ac:spMkLst>
            <pc:docMk/>
            <pc:sldMk cId="1910299488" sldId="676"/>
            <ac:spMk id="73" creationId="{4091CFAD-B84E-4383-A4FC-EAF42ED096A9}"/>
          </ac:spMkLst>
        </pc:spChg>
        <pc:spChg chg="mod">
          <ac:chgData name="Sam Mesel" userId="1ee7badb-5d1f-4872-89ae-dcf7b71f276a" providerId="ADAL" clId="{53886FC4-CEC3-49C2-A16F-E052A3E85A45}" dt="2020-03-19T15:41:52.934" v="5408" actId="208"/>
          <ac:spMkLst>
            <pc:docMk/>
            <pc:sldMk cId="1910299488" sldId="676"/>
            <ac:spMk id="74" creationId="{767E2BB5-F5EE-46FA-98E1-9A20174D835B}"/>
          </ac:spMkLst>
        </pc:spChg>
        <pc:spChg chg="mod">
          <ac:chgData name="Sam Mesel" userId="1ee7badb-5d1f-4872-89ae-dcf7b71f276a" providerId="ADAL" clId="{53886FC4-CEC3-49C2-A16F-E052A3E85A45}" dt="2020-03-19T15:41:52.934" v="5408" actId="208"/>
          <ac:spMkLst>
            <pc:docMk/>
            <pc:sldMk cId="1910299488" sldId="676"/>
            <ac:spMk id="75" creationId="{42AB71E8-99BB-495A-9A79-87A2D3ED7822}"/>
          </ac:spMkLst>
        </pc:spChg>
        <pc:spChg chg="mod">
          <ac:chgData name="Sam Mesel" userId="1ee7badb-5d1f-4872-89ae-dcf7b71f276a" providerId="ADAL" clId="{53886FC4-CEC3-49C2-A16F-E052A3E85A45}" dt="2020-03-19T15:41:52.934" v="5408" actId="208"/>
          <ac:spMkLst>
            <pc:docMk/>
            <pc:sldMk cId="1910299488" sldId="676"/>
            <ac:spMk id="76" creationId="{666D6965-266D-4376-9407-8C3FBF0EFDB3}"/>
          </ac:spMkLst>
        </pc:spChg>
        <pc:spChg chg="mod">
          <ac:chgData name="Sam Mesel" userId="1ee7badb-5d1f-4872-89ae-dcf7b71f276a" providerId="ADAL" clId="{53886FC4-CEC3-49C2-A16F-E052A3E85A45}" dt="2020-03-19T15:41:21.510" v="5401" actId="208"/>
          <ac:spMkLst>
            <pc:docMk/>
            <pc:sldMk cId="1910299488" sldId="676"/>
            <ac:spMk id="79" creationId="{13DE2784-6ED3-4884-9959-7DBFBDCF11E3}"/>
          </ac:spMkLst>
        </pc:spChg>
        <pc:spChg chg="mod">
          <ac:chgData name="Sam Mesel" userId="1ee7badb-5d1f-4872-89ae-dcf7b71f276a" providerId="ADAL" clId="{53886FC4-CEC3-49C2-A16F-E052A3E85A45}" dt="2020-03-19T15:41:21.510" v="5401" actId="208"/>
          <ac:spMkLst>
            <pc:docMk/>
            <pc:sldMk cId="1910299488" sldId="676"/>
            <ac:spMk id="80" creationId="{1072EA0A-C2F4-44B7-A39E-3C26C324A918}"/>
          </ac:spMkLst>
        </pc:spChg>
        <pc:spChg chg="mod">
          <ac:chgData name="Sam Mesel" userId="1ee7badb-5d1f-4872-89ae-dcf7b71f276a" providerId="ADAL" clId="{53886FC4-CEC3-49C2-A16F-E052A3E85A45}" dt="2020-03-19T15:41:21.510" v="5401" actId="208"/>
          <ac:spMkLst>
            <pc:docMk/>
            <pc:sldMk cId="1910299488" sldId="676"/>
            <ac:spMk id="81" creationId="{CA5A9034-CBA0-4AA2-9388-DB906FA01E54}"/>
          </ac:spMkLst>
        </pc:spChg>
        <pc:spChg chg="mod">
          <ac:chgData name="Sam Mesel" userId="1ee7badb-5d1f-4872-89ae-dcf7b71f276a" providerId="ADAL" clId="{53886FC4-CEC3-49C2-A16F-E052A3E85A45}" dt="2020-03-19T15:41:21.510" v="5401" actId="208"/>
          <ac:spMkLst>
            <pc:docMk/>
            <pc:sldMk cId="1910299488" sldId="676"/>
            <ac:spMk id="82" creationId="{94D7E74D-553F-4EED-BFA4-8B27CF20DBD8}"/>
          </ac:spMkLst>
        </pc:spChg>
        <pc:spChg chg="mod">
          <ac:chgData name="Sam Mesel" userId="1ee7badb-5d1f-4872-89ae-dcf7b71f276a" providerId="ADAL" clId="{53886FC4-CEC3-49C2-A16F-E052A3E85A45}" dt="2020-03-19T15:41:21.510" v="5401" actId="208"/>
          <ac:spMkLst>
            <pc:docMk/>
            <pc:sldMk cId="1910299488" sldId="676"/>
            <ac:spMk id="83" creationId="{AE35465B-6B71-4EC8-A1CE-D4E8898476D1}"/>
          </ac:spMkLst>
        </pc:spChg>
        <pc:spChg chg="mod">
          <ac:chgData name="Sam Mesel" userId="1ee7badb-5d1f-4872-89ae-dcf7b71f276a" providerId="ADAL" clId="{53886FC4-CEC3-49C2-A16F-E052A3E85A45}" dt="2020-03-19T15:41:21.510" v="5401" actId="208"/>
          <ac:spMkLst>
            <pc:docMk/>
            <pc:sldMk cId="1910299488" sldId="676"/>
            <ac:spMk id="84" creationId="{F9230EBE-D858-4F4B-B09D-5AD06CB4F88E}"/>
          </ac:spMkLst>
        </pc:spChg>
        <pc:spChg chg="mod">
          <ac:chgData name="Sam Mesel" userId="1ee7badb-5d1f-4872-89ae-dcf7b71f276a" providerId="ADAL" clId="{53886FC4-CEC3-49C2-A16F-E052A3E85A45}" dt="2020-03-19T15:41:21.510" v="5401" actId="208"/>
          <ac:spMkLst>
            <pc:docMk/>
            <pc:sldMk cId="1910299488" sldId="676"/>
            <ac:spMk id="85" creationId="{3501FA7C-FB04-4404-8649-FEF4F3A94C4F}"/>
          </ac:spMkLst>
        </pc:spChg>
        <pc:spChg chg="mod">
          <ac:chgData name="Sam Mesel" userId="1ee7badb-5d1f-4872-89ae-dcf7b71f276a" providerId="ADAL" clId="{53886FC4-CEC3-49C2-A16F-E052A3E85A45}" dt="2020-03-19T15:41:21.510" v="5401" actId="208"/>
          <ac:spMkLst>
            <pc:docMk/>
            <pc:sldMk cId="1910299488" sldId="676"/>
            <ac:spMk id="86" creationId="{FB51A977-92AA-4058-8161-3C5D09DF48E9}"/>
          </ac:spMkLst>
        </pc:spChg>
        <pc:spChg chg="mod">
          <ac:chgData name="Sam Mesel" userId="1ee7badb-5d1f-4872-89ae-dcf7b71f276a" providerId="ADAL" clId="{53886FC4-CEC3-49C2-A16F-E052A3E85A45}" dt="2020-03-19T15:42:03.900" v="5410" actId="2085"/>
          <ac:spMkLst>
            <pc:docMk/>
            <pc:sldMk cId="1910299488" sldId="676"/>
            <ac:spMk id="87" creationId="{CD8DFB40-AC87-4BAE-9BE9-F2CDFCD23B00}"/>
          </ac:spMkLst>
        </pc:spChg>
        <pc:spChg chg="add">
          <ac:chgData name="Sam Mesel" userId="1ee7badb-5d1f-4872-89ae-dcf7b71f276a" providerId="ADAL" clId="{53886FC4-CEC3-49C2-A16F-E052A3E85A45}" dt="2020-03-11T03:12:32.212" v="3597"/>
          <ac:spMkLst>
            <pc:docMk/>
            <pc:sldMk cId="1910299488" sldId="676"/>
            <ac:spMk id="88" creationId="{55D369F4-AB72-4B52-808D-5E00D542C2C9}"/>
          </ac:spMkLst>
        </pc:spChg>
        <pc:spChg chg="add">
          <ac:chgData name="Sam Mesel" userId="1ee7badb-5d1f-4872-89ae-dcf7b71f276a" providerId="ADAL" clId="{53886FC4-CEC3-49C2-A16F-E052A3E85A45}" dt="2020-03-11T03:12:32.212" v="3597"/>
          <ac:spMkLst>
            <pc:docMk/>
            <pc:sldMk cId="1910299488" sldId="676"/>
            <ac:spMk id="103" creationId="{A3BBBF23-F4C5-4582-BA00-A41BB5E767BA}"/>
          </ac:spMkLst>
        </pc:spChg>
        <pc:spChg chg="add">
          <ac:chgData name="Sam Mesel" userId="1ee7badb-5d1f-4872-89ae-dcf7b71f276a" providerId="ADAL" clId="{53886FC4-CEC3-49C2-A16F-E052A3E85A45}" dt="2020-03-11T03:12:32.212" v="3597"/>
          <ac:spMkLst>
            <pc:docMk/>
            <pc:sldMk cId="1910299488" sldId="676"/>
            <ac:spMk id="104" creationId="{8E3B0960-7483-4176-88F5-B666A574776D}"/>
          </ac:spMkLst>
        </pc:spChg>
        <pc:grpChg chg="add del">
          <ac:chgData name="Sam Mesel" userId="1ee7badb-5d1f-4872-89ae-dcf7b71f276a" providerId="ADAL" clId="{53886FC4-CEC3-49C2-A16F-E052A3E85A45}" dt="2020-03-11T03:12:29.214" v="3595"/>
          <ac:grpSpMkLst>
            <pc:docMk/>
            <pc:sldMk cId="1910299488" sldId="676"/>
            <ac:grpSpMk id="6" creationId="{A71DDC60-4C99-49B4-9807-77024BDD10C5}"/>
          </ac:grpSpMkLst>
        </pc:grpChg>
        <pc:grpChg chg="add del">
          <ac:chgData name="Sam Mesel" userId="1ee7badb-5d1f-4872-89ae-dcf7b71f276a" providerId="ADAL" clId="{53886FC4-CEC3-49C2-A16F-E052A3E85A45}" dt="2020-03-11T03:12:29.214" v="3595"/>
          <ac:grpSpMkLst>
            <pc:docMk/>
            <pc:sldMk cId="1910299488" sldId="676"/>
            <ac:grpSpMk id="18" creationId="{79A8B21E-2316-4C45-86EC-05404CE9A228}"/>
          </ac:grpSpMkLst>
        </pc:grpChg>
        <pc:grpChg chg="add del">
          <ac:chgData name="Sam Mesel" userId="1ee7badb-5d1f-4872-89ae-dcf7b71f276a" providerId="ADAL" clId="{53886FC4-CEC3-49C2-A16F-E052A3E85A45}" dt="2020-03-11T03:12:29.214" v="3595"/>
          <ac:grpSpMkLst>
            <pc:docMk/>
            <pc:sldMk cId="1910299488" sldId="676"/>
            <ac:grpSpMk id="28" creationId="{80AB5C1F-EB74-4BE2-B82B-28E046D6459B}"/>
          </ac:grpSpMkLst>
        </pc:grpChg>
        <pc:grpChg chg="add del">
          <ac:chgData name="Sam Mesel" userId="1ee7badb-5d1f-4872-89ae-dcf7b71f276a" providerId="ADAL" clId="{53886FC4-CEC3-49C2-A16F-E052A3E85A45}" dt="2020-03-11T03:12:29.214" v="3595"/>
          <ac:grpSpMkLst>
            <pc:docMk/>
            <pc:sldMk cId="1910299488" sldId="676"/>
            <ac:grpSpMk id="39" creationId="{3A32051F-A873-4518-98A6-E01F18F9998E}"/>
          </ac:grpSpMkLst>
        </pc:grpChg>
        <pc:grpChg chg="add del">
          <ac:chgData name="Sam Mesel" userId="1ee7badb-5d1f-4872-89ae-dcf7b71f276a" providerId="ADAL" clId="{53886FC4-CEC3-49C2-A16F-E052A3E85A45}" dt="2020-03-11T03:12:29.214" v="3595"/>
          <ac:grpSpMkLst>
            <pc:docMk/>
            <pc:sldMk cId="1910299488" sldId="676"/>
            <ac:grpSpMk id="46" creationId="{4C415721-883B-4747-A3AB-D86475A63DF4}"/>
          </ac:grpSpMkLst>
        </pc:grpChg>
        <pc:grpChg chg="add">
          <ac:chgData name="Sam Mesel" userId="1ee7badb-5d1f-4872-89ae-dcf7b71f276a" providerId="ADAL" clId="{53886FC4-CEC3-49C2-A16F-E052A3E85A45}" dt="2020-03-11T03:12:32.212" v="3597"/>
          <ac:grpSpMkLst>
            <pc:docMk/>
            <pc:sldMk cId="1910299488" sldId="676"/>
            <ac:grpSpMk id="56" creationId="{16E4D22C-412D-4F11-BD69-3298CBC40912}"/>
          </ac:grpSpMkLst>
        </pc:grpChg>
        <pc:grpChg chg="add mod">
          <ac:chgData name="Sam Mesel" userId="1ee7badb-5d1f-4872-89ae-dcf7b71f276a" providerId="ADAL" clId="{53886FC4-CEC3-49C2-A16F-E052A3E85A45}" dt="2020-03-19T15:41:43.480" v="5407" actId="207"/>
          <ac:grpSpMkLst>
            <pc:docMk/>
            <pc:sldMk cId="1910299488" sldId="676"/>
            <ac:grpSpMk id="68" creationId="{21CC0B6C-6610-4CCA-AAD1-6836BECE52C7}"/>
          </ac:grpSpMkLst>
        </pc:grpChg>
        <pc:grpChg chg="add">
          <ac:chgData name="Sam Mesel" userId="1ee7badb-5d1f-4872-89ae-dcf7b71f276a" providerId="ADAL" clId="{53886FC4-CEC3-49C2-A16F-E052A3E85A45}" dt="2020-03-11T03:12:32.212" v="3597"/>
          <ac:grpSpMkLst>
            <pc:docMk/>
            <pc:sldMk cId="1910299488" sldId="676"/>
            <ac:grpSpMk id="78" creationId="{ECDA65E4-8936-4EE6-AAE7-5FE6F73ADBEE}"/>
          </ac:grpSpMkLst>
        </pc:grpChg>
        <pc:grpChg chg="add">
          <ac:chgData name="Sam Mesel" userId="1ee7badb-5d1f-4872-89ae-dcf7b71f276a" providerId="ADAL" clId="{53886FC4-CEC3-49C2-A16F-E052A3E85A45}" dt="2020-03-11T03:12:32.212" v="3597"/>
          <ac:grpSpMkLst>
            <pc:docMk/>
            <pc:sldMk cId="1910299488" sldId="676"/>
            <ac:grpSpMk id="89" creationId="{B3716192-04E8-41F1-B8E4-476AF1AA5DC3}"/>
          </ac:grpSpMkLst>
        </pc:grpChg>
        <pc:grpChg chg="add">
          <ac:chgData name="Sam Mesel" userId="1ee7badb-5d1f-4872-89ae-dcf7b71f276a" providerId="ADAL" clId="{53886FC4-CEC3-49C2-A16F-E052A3E85A45}" dt="2020-03-11T03:12:32.212" v="3597"/>
          <ac:grpSpMkLst>
            <pc:docMk/>
            <pc:sldMk cId="1910299488" sldId="676"/>
            <ac:grpSpMk id="96" creationId="{EF15931D-F1C7-4557-899B-BF2A120CEE64}"/>
          </ac:grpSpMkLst>
        </pc:grpChg>
        <pc:cxnChg chg="add del">
          <ac:chgData name="Sam Mesel" userId="1ee7badb-5d1f-4872-89ae-dcf7b71f276a" providerId="ADAL" clId="{53886FC4-CEC3-49C2-A16F-E052A3E85A45}" dt="2020-03-11T03:12:29.214" v="3595"/>
          <ac:cxnSpMkLst>
            <pc:docMk/>
            <pc:sldMk cId="1910299488" sldId="676"/>
            <ac:cxnSpMk id="15" creationId="{F90B5636-3502-43AD-8E20-DE8909BA6B08}"/>
          </ac:cxnSpMkLst>
        </pc:cxnChg>
        <pc:cxnChg chg="add del">
          <ac:chgData name="Sam Mesel" userId="1ee7badb-5d1f-4872-89ae-dcf7b71f276a" providerId="ADAL" clId="{53886FC4-CEC3-49C2-A16F-E052A3E85A45}" dt="2020-03-11T03:12:29.214" v="3595"/>
          <ac:cxnSpMkLst>
            <pc:docMk/>
            <pc:sldMk cId="1910299488" sldId="676"/>
            <ac:cxnSpMk id="16" creationId="{AE483CCE-E5FD-44D6-9CA3-635D05270531}"/>
          </ac:cxnSpMkLst>
        </pc:cxnChg>
        <pc:cxnChg chg="add del">
          <ac:chgData name="Sam Mesel" userId="1ee7badb-5d1f-4872-89ae-dcf7b71f276a" providerId="ADAL" clId="{53886FC4-CEC3-49C2-A16F-E052A3E85A45}" dt="2020-03-11T03:12:29.214" v="3595"/>
          <ac:cxnSpMkLst>
            <pc:docMk/>
            <pc:sldMk cId="1910299488" sldId="676"/>
            <ac:cxnSpMk id="17" creationId="{F163ABFA-4626-4EDB-85A0-71A4C62263A9}"/>
          </ac:cxnSpMkLst>
        </pc:cxnChg>
        <pc:cxnChg chg="add del">
          <ac:chgData name="Sam Mesel" userId="1ee7badb-5d1f-4872-89ae-dcf7b71f276a" providerId="ADAL" clId="{53886FC4-CEC3-49C2-A16F-E052A3E85A45}" dt="2020-03-11T03:12:29.214" v="3595"/>
          <ac:cxnSpMkLst>
            <pc:docMk/>
            <pc:sldMk cId="1910299488" sldId="676"/>
            <ac:cxnSpMk id="27" creationId="{FBA5C1EF-9055-4269-8176-3CF83353189B}"/>
          </ac:cxnSpMkLst>
        </pc:cxnChg>
        <pc:cxnChg chg="add del">
          <ac:chgData name="Sam Mesel" userId="1ee7badb-5d1f-4872-89ae-dcf7b71f276a" providerId="ADAL" clId="{53886FC4-CEC3-49C2-A16F-E052A3E85A45}" dt="2020-03-11T03:12:29.214" v="3595"/>
          <ac:cxnSpMkLst>
            <pc:docMk/>
            <pc:sldMk cId="1910299488" sldId="676"/>
            <ac:cxnSpMk id="44" creationId="{AD3CEEB1-1DA1-4684-BA7C-6A08475244E0}"/>
          </ac:cxnSpMkLst>
        </pc:cxnChg>
        <pc:cxnChg chg="add del">
          <ac:chgData name="Sam Mesel" userId="1ee7badb-5d1f-4872-89ae-dcf7b71f276a" providerId="ADAL" clId="{53886FC4-CEC3-49C2-A16F-E052A3E85A45}" dt="2020-03-11T03:12:29.214" v="3595"/>
          <ac:cxnSpMkLst>
            <pc:docMk/>
            <pc:sldMk cId="1910299488" sldId="676"/>
            <ac:cxnSpMk id="45" creationId="{62B343F7-8C8D-4DEB-9FED-90ADD650A8EB}"/>
          </ac:cxnSpMkLst>
        </pc:cxnChg>
        <pc:cxnChg chg="add del">
          <ac:chgData name="Sam Mesel" userId="1ee7badb-5d1f-4872-89ae-dcf7b71f276a" providerId="ADAL" clId="{53886FC4-CEC3-49C2-A16F-E052A3E85A45}" dt="2020-03-11T03:12:29.214" v="3595"/>
          <ac:cxnSpMkLst>
            <pc:docMk/>
            <pc:sldMk cId="1910299488" sldId="676"/>
            <ac:cxnSpMk id="51" creationId="{3BBD29E0-3FFD-4C49-A496-44FFEFE56962}"/>
          </ac:cxnSpMkLst>
        </pc:cxnChg>
        <pc:cxnChg chg="add del">
          <ac:chgData name="Sam Mesel" userId="1ee7badb-5d1f-4872-89ae-dcf7b71f276a" providerId="ADAL" clId="{53886FC4-CEC3-49C2-A16F-E052A3E85A45}" dt="2020-03-11T03:12:29.214" v="3595"/>
          <ac:cxnSpMkLst>
            <pc:docMk/>
            <pc:sldMk cId="1910299488" sldId="676"/>
            <ac:cxnSpMk id="52" creationId="{14D09E60-C0F4-4CC9-A728-EE22E5A7EBED}"/>
          </ac:cxnSpMkLst>
        </pc:cxnChg>
        <pc:cxnChg chg="add">
          <ac:chgData name="Sam Mesel" userId="1ee7badb-5d1f-4872-89ae-dcf7b71f276a" providerId="ADAL" clId="{53886FC4-CEC3-49C2-A16F-E052A3E85A45}" dt="2020-03-11T03:12:32.212" v="3597"/>
          <ac:cxnSpMkLst>
            <pc:docMk/>
            <pc:sldMk cId="1910299488" sldId="676"/>
            <ac:cxnSpMk id="65" creationId="{847F21A1-6287-4163-9EF7-01E4CD96716D}"/>
          </ac:cxnSpMkLst>
        </pc:cxnChg>
        <pc:cxnChg chg="add">
          <ac:chgData name="Sam Mesel" userId="1ee7badb-5d1f-4872-89ae-dcf7b71f276a" providerId="ADAL" clId="{53886FC4-CEC3-49C2-A16F-E052A3E85A45}" dt="2020-03-11T03:12:32.212" v="3597"/>
          <ac:cxnSpMkLst>
            <pc:docMk/>
            <pc:sldMk cId="1910299488" sldId="676"/>
            <ac:cxnSpMk id="66" creationId="{497272C4-337E-4DCD-ACD9-9ECED79F5CC1}"/>
          </ac:cxnSpMkLst>
        </pc:cxnChg>
        <pc:cxnChg chg="add mod">
          <ac:chgData name="Sam Mesel" userId="1ee7badb-5d1f-4872-89ae-dcf7b71f276a" providerId="ADAL" clId="{53886FC4-CEC3-49C2-A16F-E052A3E85A45}" dt="2020-03-19T15:41:18.237" v="5399" actId="208"/>
          <ac:cxnSpMkLst>
            <pc:docMk/>
            <pc:sldMk cId="1910299488" sldId="676"/>
            <ac:cxnSpMk id="67" creationId="{67F41847-CD77-49CF-BBC3-35DD8A550404}"/>
          </ac:cxnSpMkLst>
        </pc:cxnChg>
        <pc:cxnChg chg="add mod">
          <ac:chgData name="Sam Mesel" userId="1ee7badb-5d1f-4872-89ae-dcf7b71f276a" providerId="ADAL" clId="{53886FC4-CEC3-49C2-A16F-E052A3E85A45}" dt="2020-03-19T15:41:29.130" v="5404" actId="208"/>
          <ac:cxnSpMkLst>
            <pc:docMk/>
            <pc:sldMk cId="1910299488" sldId="676"/>
            <ac:cxnSpMk id="77" creationId="{6FB43DB4-96E7-4A37-A00C-7F29AB39ACEF}"/>
          </ac:cxnSpMkLst>
        </pc:cxnChg>
        <pc:cxnChg chg="add mod">
          <ac:chgData name="Sam Mesel" userId="1ee7badb-5d1f-4872-89ae-dcf7b71f276a" providerId="ADAL" clId="{53886FC4-CEC3-49C2-A16F-E052A3E85A45}" dt="2020-03-19T15:41:24.357" v="5402" actId="208"/>
          <ac:cxnSpMkLst>
            <pc:docMk/>
            <pc:sldMk cId="1910299488" sldId="676"/>
            <ac:cxnSpMk id="94" creationId="{41D9AC6E-1611-4CD8-9BF0-E9B65562EB54}"/>
          </ac:cxnSpMkLst>
        </pc:cxnChg>
        <pc:cxnChg chg="add mod">
          <ac:chgData name="Sam Mesel" userId="1ee7badb-5d1f-4872-89ae-dcf7b71f276a" providerId="ADAL" clId="{53886FC4-CEC3-49C2-A16F-E052A3E85A45}" dt="2020-03-19T15:41:20.099" v="5400" actId="208"/>
          <ac:cxnSpMkLst>
            <pc:docMk/>
            <pc:sldMk cId="1910299488" sldId="676"/>
            <ac:cxnSpMk id="95" creationId="{C9A4378A-D171-42DA-8B05-DEEDC90C84B9}"/>
          </ac:cxnSpMkLst>
        </pc:cxnChg>
        <pc:cxnChg chg="add mod">
          <ac:chgData name="Sam Mesel" userId="1ee7badb-5d1f-4872-89ae-dcf7b71f276a" providerId="ADAL" clId="{53886FC4-CEC3-49C2-A16F-E052A3E85A45}" dt="2020-03-19T15:41:25.758" v="5403" actId="208"/>
          <ac:cxnSpMkLst>
            <pc:docMk/>
            <pc:sldMk cId="1910299488" sldId="676"/>
            <ac:cxnSpMk id="101" creationId="{1066AC02-A70E-4600-99A9-D533A60DD898}"/>
          </ac:cxnSpMkLst>
        </pc:cxnChg>
        <pc:cxnChg chg="add mod">
          <ac:chgData name="Sam Mesel" userId="1ee7badb-5d1f-4872-89ae-dcf7b71f276a" providerId="ADAL" clId="{53886FC4-CEC3-49C2-A16F-E052A3E85A45}" dt="2020-03-19T15:41:16.269" v="5398" actId="208"/>
          <ac:cxnSpMkLst>
            <pc:docMk/>
            <pc:sldMk cId="1910299488" sldId="676"/>
            <ac:cxnSpMk id="102" creationId="{B0E80F86-A8E1-4AC3-9869-FE33507E39B6}"/>
          </ac:cxnSpMkLst>
        </pc:cxnChg>
      </pc:sldChg>
      <pc:sldChg chg="addSp delSp modSp new mod delAnim modAnim">
        <pc:chgData name="Sam Mesel" userId="1ee7badb-5d1f-4872-89ae-dcf7b71f276a" providerId="ADAL" clId="{53886FC4-CEC3-49C2-A16F-E052A3E85A45}" dt="2020-03-19T15:43:21.641" v="5426" actId="208"/>
        <pc:sldMkLst>
          <pc:docMk/>
          <pc:sldMk cId="120020239" sldId="677"/>
        </pc:sldMkLst>
        <pc:spChg chg="mod">
          <ac:chgData name="Sam Mesel" userId="1ee7badb-5d1f-4872-89ae-dcf7b71f276a" providerId="ADAL" clId="{53886FC4-CEC3-49C2-A16F-E052A3E85A45}" dt="2020-03-11T22:13:06.646" v="3730" actId="20577"/>
          <ac:spMkLst>
            <pc:docMk/>
            <pc:sldMk cId="120020239" sldId="677"/>
            <ac:spMk id="2" creationId="{EE7D5ED0-59B0-42D8-986F-411714BA819A}"/>
          </ac:spMkLst>
        </pc:spChg>
        <pc:spChg chg="mod">
          <ac:chgData name="Sam Mesel" userId="1ee7badb-5d1f-4872-89ae-dcf7b71f276a" providerId="ADAL" clId="{53886FC4-CEC3-49C2-A16F-E052A3E85A45}" dt="2020-03-11T03:13:09.981" v="3606" actId="20577"/>
          <ac:spMkLst>
            <pc:docMk/>
            <pc:sldMk cId="120020239" sldId="677"/>
            <ac:spMk id="3" creationId="{1E3D06FD-960F-4268-BCE9-0C1AD9F0671D}"/>
          </ac:spMkLst>
        </pc:spChg>
        <pc:spChg chg="add mod">
          <ac:chgData name="Sam Mesel" userId="1ee7badb-5d1f-4872-89ae-dcf7b71f276a" providerId="ADAL" clId="{53886FC4-CEC3-49C2-A16F-E052A3E85A45}" dt="2020-03-11T22:29:33.634" v="3886" actId="1076"/>
          <ac:spMkLst>
            <pc:docMk/>
            <pc:sldMk cId="120020239" sldId="677"/>
            <ac:spMk id="4" creationId="{A6F08AD6-2779-41B8-8E1C-87E932A2CDA7}"/>
          </ac:spMkLst>
        </pc:spChg>
        <pc:spChg chg="del">
          <ac:chgData name="Sam Mesel" userId="1ee7badb-5d1f-4872-89ae-dcf7b71f276a" providerId="ADAL" clId="{53886FC4-CEC3-49C2-A16F-E052A3E85A45}" dt="2020-03-11T03:13:13.444" v="3607" actId="478"/>
          <ac:spMkLst>
            <pc:docMk/>
            <pc:sldMk cId="120020239" sldId="677"/>
            <ac:spMk id="4" creationId="{AE5B8837-7F18-4B19-ADA8-4CDDE0FC406D}"/>
          </ac:spMkLst>
        </pc:spChg>
        <pc:spChg chg="add mod">
          <ac:chgData name="Sam Mesel" userId="1ee7badb-5d1f-4872-89ae-dcf7b71f276a" providerId="ADAL" clId="{53886FC4-CEC3-49C2-A16F-E052A3E85A45}" dt="2020-03-11T22:29:33.634" v="3886" actId="1076"/>
          <ac:spMkLst>
            <pc:docMk/>
            <pc:sldMk cId="120020239" sldId="677"/>
            <ac:spMk id="5" creationId="{29416495-340F-422C-91E4-5485DD87A1E9}"/>
          </ac:spMkLst>
        </pc:spChg>
        <pc:spChg chg="add mod">
          <ac:chgData name="Sam Mesel" userId="1ee7badb-5d1f-4872-89ae-dcf7b71f276a" providerId="ADAL" clId="{53886FC4-CEC3-49C2-A16F-E052A3E85A45}" dt="2020-03-11T22:31:45.490" v="3897" actId="1076"/>
          <ac:spMkLst>
            <pc:docMk/>
            <pc:sldMk cId="120020239" sldId="677"/>
            <ac:spMk id="11" creationId="{D8557EAF-A16C-4240-8CE3-8CFDF6108840}"/>
          </ac:spMkLst>
        </pc:spChg>
        <pc:spChg chg="add del">
          <ac:chgData name="Sam Mesel" userId="1ee7badb-5d1f-4872-89ae-dcf7b71f276a" providerId="ADAL" clId="{53886FC4-CEC3-49C2-A16F-E052A3E85A45}" dt="2020-03-11T03:13:46.762" v="3609"/>
          <ac:spMkLst>
            <pc:docMk/>
            <pc:sldMk cId="120020239" sldId="677"/>
            <ac:spMk id="15" creationId="{94CC5AAB-B09C-4048-BC09-9EE3E9665BF7}"/>
          </ac:spMkLst>
        </pc:spChg>
        <pc:spChg chg="add del">
          <ac:chgData name="Sam Mesel" userId="1ee7badb-5d1f-4872-89ae-dcf7b71f276a" providerId="ADAL" clId="{53886FC4-CEC3-49C2-A16F-E052A3E85A45}" dt="2020-03-11T03:13:46.762" v="3609"/>
          <ac:spMkLst>
            <pc:docMk/>
            <pc:sldMk cId="120020239" sldId="677"/>
            <ac:spMk id="16" creationId="{EBCF6E8F-CA51-4940-920B-610994330F4D}"/>
          </ac:spMkLst>
        </pc:spChg>
        <pc:spChg chg="add del">
          <ac:chgData name="Sam Mesel" userId="1ee7badb-5d1f-4872-89ae-dcf7b71f276a" providerId="ADAL" clId="{53886FC4-CEC3-49C2-A16F-E052A3E85A45}" dt="2020-03-11T03:13:46.762" v="3609"/>
          <ac:spMkLst>
            <pc:docMk/>
            <pc:sldMk cId="120020239" sldId="677"/>
            <ac:spMk id="17" creationId="{EF22D6AC-A5BF-4940-9373-218FB8F2EAEF}"/>
          </ac:spMkLst>
        </pc:spChg>
        <pc:spChg chg="add del">
          <ac:chgData name="Sam Mesel" userId="1ee7badb-5d1f-4872-89ae-dcf7b71f276a" providerId="ADAL" clId="{53886FC4-CEC3-49C2-A16F-E052A3E85A45}" dt="2020-03-11T03:13:46.762" v="3609"/>
          <ac:spMkLst>
            <pc:docMk/>
            <pc:sldMk cId="120020239" sldId="677"/>
            <ac:spMk id="18" creationId="{CB0EED4A-4037-414A-BE63-1C4D2B107ADD}"/>
          </ac:spMkLst>
        </pc:spChg>
        <pc:spChg chg="add del">
          <ac:chgData name="Sam Mesel" userId="1ee7badb-5d1f-4872-89ae-dcf7b71f276a" providerId="ADAL" clId="{53886FC4-CEC3-49C2-A16F-E052A3E85A45}" dt="2020-03-11T03:13:46.762" v="3609"/>
          <ac:spMkLst>
            <pc:docMk/>
            <pc:sldMk cId="120020239" sldId="677"/>
            <ac:spMk id="55" creationId="{7E0E65FA-1B2F-4A97-902A-A2B04FAC8DE0}"/>
          </ac:spMkLst>
        </pc:spChg>
        <pc:spChg chg="add del">
          <ac:chgData name="Sam Mesel" userId="1ee7badb-5d1f-4872-89ae-dcf7b71f276a" providerId="ADAL" clId="{53886FC4-CEC3-49C2-A16F-E052A3E85A45}" dt="2020-03-11T03:13:46.762" v="3609"/>
          <ac:spMkLst>
            <pc:docMk/>
            <pc:sldMk cId="120020239" sldId="677"/>
            <ac:spMk id="56" creationId="{01F4BDC3-DBFA-47ED-A1EA-93F8F3A9E69C}"/>
          </ac:spMkLst>
        </pc:spChg>
        <pc:spChg chg="add del">
          <ac:chgData name="Sam Mesel" userId="1ee7badb-5d1f-4872-89ae-dcf7b71f276a" providerId="ADAL" clId="{53886FC4-CEC3-49C2-A16F-E052A3E85A45}" dt="2020-03-11T22:16:52.339" v="3792"/>
          <ac:spMkLst>
            <pc:docMk/>
            <pc:sldMk cId="120020239" sldId="677"/>
            <ac:spMk id="62" creationId="{03EF5BEA-853F-40AD-AA37-D2E386541E40}"/>
          </ac:spMkLst>
        </pc:spChg>
        <pc:spChg chg="add del">
          <ac:chgData name="Sam Mesel" userId="1ee7badb-5d1f-4872-89ae-dcf7b71f276a" providerId="ADAL" clId="{53886FC4-CEC3-49C2-A16F-E052A3E85A45}" dt="2020-03-11T22:16:52.339" v="3792"/>
          <ac:spMkLst>
            <pc:docMk/>
            <pc:sldMk cId="120020239" sldId="677"/>
            <ac:spMk id="63" creationId="{C32406A4-0E04-4075-9861-D946AFB2D3FA}"/>
          </ac:spMkLst>
        </pc:spChg>
        <pc:spChg chg="add del">
          <ac:chgData name="Sam Mesel" userId="1ee7badb-5d1f-4872-89ae-dcf7b71f276a" providerId="ADAL" clId="{53886FC4-CEC3-49C2-A16F-E052A3E85A45}" dt="2020-03-11T03:14:36.267" v="3611"/>
          <ac:spMkLst>
            <pc:docMk/>
            <pc:sldMk cId="120020239" sldId="677"/>
            <ac:spMk id="70" creationId="{0104F6C7-4046-4059-B2C6-3AB03FF4C701}"/>
          </ac:spMkLst>
        </pc:spChg>
        <pc:spChg chg="add del">
          <ac:chgData name="Sam Mesel" userId="1ee7badb-5d1f-4872-89ae-dcf7b71f276a" providerId="ADAL" clId="{53886FC4-CEC3-49C2-A16F-E052A3E85A45}" dt="2020-03-11T03:14:36.267" v="3611"/>
          <ac:spMkLst>
            <pc:docMk/>
            <pc:sldMk cId="120020239" sldId="677"/>
            <ac:spMk id="71" creationId="{3A86FEA2-FB98-44A8-90B0-A8F96094B395}"/>
          </ac:spMkLst>
        </pc:spChg>
        <pc:spChg chg="add del">
          <ac:chgData name="Sam Mesel" userId="1ee7badb-5d1f-4872-89ae-dcf7b71f276a" providerId="ADAL" clId="{53886FC4-CEC3-49C2-A16F-E052A3E85A45}" dt="2020-03-11T03:14:36.267" v="3611"/>
          <ac:spMkLst>
            <pc:docMk/>
            <pc:sldMk cId="120020239" sldId="677"/>
            <ac:spMk id="72" creationId="{031495BA-3AEA-4260-8E0E-8886DDE6E43A}"/>
          </ac:spMkLst>
        </pc:spChg>
        <pc:spChg chg="add del">
          <ac:chgData name="Sam Mesel" userId="1ee7badb-5d1f-4872-89ae-dcf7b71f276a" providerId="ADAL" clId="{53886FC4-CEC3-49C2-A16F-E052A3E85A45}" dt="2020-03-11T03:14:36.267" v="3611"/>
          <ac:spMkLst>
            <pc:docMk/>
            <pc:sldMk cId="120020239" sldId="677"/>
            <ac:spMk id="73" creationId="{48E8665F-579E-4AF2-8703-A7AE4796A8F0}"/>
          </ac:spMkLst>
        </pc:spChg>
        <pc:spChg chg="add del">
          <ac:chgData name="Sam Mesel" userId="1ee7badb-5d1f-4872-89ae-dcf7b71f276a" providerId="ADAL" clId="{53886FC4-CEC3-49C2-A16F-E052A3E85A45}" dt="2020-03-11T03:14:36.267" v="3611"/>
          <ac:spMkLst>
            <pc:docMk/>
            <pc:sldMk cId="120020239" sldId="677"/>
            <ac:spMk id="98" creationId="{8E795278-10D7-4A6C-B19A-83588AC1BE94}"/>
          </ac:spMkLst>
        </pc:spChg>
        <pc:spChg chg="add del">
          <ac:chgData name="Sam Mesel" userId="1ee7badb-5d1f-4872-89ae-dcf7b71f276a" providerId="ADAL" clId="{53886FC4-CEC3-49C2-A16F-E052A3E85A45}" dt="2020-03-11T03:14:36.267" v="3611"/>
          <ac:spMkLst>
            <pc:docMk/>
            <pc:sldMk cId="120020239" sldId="677"/>
            <ac:spMk id="111" creationId="{4C497653-EB73-4B51-95C8-470D1702D370}"/>
          </ac:spMkLst>
        </pc:spChg>
        <pc:spChg chg="add del">
          <ac:chgData name="Sam Mesel" userId="1ee7badb-5d1f-4872-89ae-dcf7b71f276a" providerId="ADAL" clId="{53886FC4-CEC3-49C2-A16F-E052A3E85A45}" dt="2020-03-11T03:14:36.267" v="3611"/>
          <ac:spMkLst>
            <pc:docMk/>
            <pc:sldMk cId="120020239" sldId="677"/>
            <ac:spMk id="112" creationId="{C1C52AD7-46F0-446E-A8DC-AA35BC2E6ADF}"/>
          </ac:spMkLst>
        </pc:spChg>
        <pc:spChg chg="add">
          <ac:chgData name="Sam Mesel" userId="1ee7badb-5d1f-4872-89ae-dcf7b71f276a" providerId="ADAL" clId="{53886FC4-CEC3-49C2-A16F-E052A3E85A45}" dt="2020-03-11T03:14:52.273" v="3612"/>
          <ac:spMkLst>
            <pc:docMk/>
            <pc:sldMk cId="120020239" sldId="677"/>
            <ac:spMk id="126" creationId="{B8D3BEC2-1648-4865-B5AC-CF8F0E862928}"/>
          </ac:spMkLst>
        </pc:spChg>
        <pc:spChg chg="add">
          <ac:chgData name="Sam Mesel" userId="1ee7badb-5d1f-4872-89ae-dcf7b71f276a" providerId="ADAL" clId="{53886FC4-CEC3-49C2-A16F-E052A3E85A45}" dt="2020-03-11T03:14:52.273" v="3612"/>
          <ac:spMkLst>
            <pc:docMk/>
            <pc:sldMk cId="120020239" sldId="677"/>
            <ac:spMk id="127" creationId="{7781E7FE-B4C0-4188-A2DA-36052D937E23}"/>
          </ac:spMkLst>
        </pc:spChg>
        <pc:spChg chg="add">
          <ac:chgData name="Sam Mesel" userId="1ee7badb-5d1f-4872-89ae-dcf7b71f276a" providerId="ADAL" clId="{53886FC4-CEC3-49C2-A16F-E052A3E85A45}" dt="2020-03-11T03:14:52.273" v="3612"/>
          <ac:spMkLst>
            <pc:docMk/>
            <pc:sldMk cId="120020239" sldId="677"/>
            <ac:spMk id="128" creationId="{5374DD51-2D9C-4FB9-9FBA-6DA4828F1D51}"/>
          </ac:spMkLst>
        </pc:spChg>
        <pc:spChg chg="add">
          <ac:chgData name="Sam Mesel" userId="1ee7badb-5d1f-4872-89ae-dcf7b71f276a" providerId="ADAL" clId="{53886FC4-CEC3-49C2-A16F-E052A3E85A45}" dt="2020-03-11T03:14:52.273" v="3612"/>
          <ac:spMkLst>
            <pc:docMk/>
            <pc:sldMk cId="120020239" sldId="677"/>
            <ac:spMk id="129" creationId="{7DE2A349-FA75-4430-876B-0B6C6586D2C3}"/>
          </ac:spMkLst>
        </pc:spChg>
        <pc:spChg chg="mod">
          <ac:chgData name="Sam Mesel" userId="1ee7badb-5d1f-4872-89ae-dcf7b71f276a" providerId="ADAL" clId="{53886FC4-CEC3-49C2-A16F-E052A3E85A45}" dt="2020-03-19T15:43:09.102" v="5424" actId="207"/>
          <ac:spMkLst>
            <pc:docMk/>
            <pc:sldMk cId="120020239" sldId="677"/>
            <ac:spMk id="135" creationId="{C12C36D2-87D0-4DD7-9EE9-DD2F7C34D7AA}"/>
          </ac:spMkLst>
        </pc:spChg>
        <pc:spChg chg="mod">
          <ac:chgData name="Sam Mesel" userId="1ee7badb-5d1f-4872-89ae-dcf7b71f276a" providerId="ADAL" clId="{53886FC4-CEC3-49C2-A16F-E052A3E85A45}" dt="2020-03-19T15:42:37.169" v="5416" actId="208"/>
          <ac:spMkLst>
            <pc:docMk/>
            <pc:sldMk cId="120020239" sldId="677"/>
            <ac:spMk id="136" creationId="{E4A432CF-075C-42D9-AF99-1A65A835F071}"/>
          </ac:spMkLst>
        </pc:spChg>
        <pc:spChg chg="mod">
          <ac:chgData name="Sam Mesel" userId="1ee7badb-5d1f-4872-89ae-dcf7b71f276a" providerId="ADAL" clId="{53886FC4-CEC3-49C2-A16F-E052A3E85A45}" dt="2020-03-19T15:42:37.169" v="5416" actId="208"/>
          <ac:spMkLst>
            <pc:docMk/>
            <pc:sldMk cId="120020239" sldId="677"/>
            <ac:spMk id="137" creationId="{ACB22106-CB71-4220-8268-C467105125B9}"/>
          </ac:spMkLst>
        </pc:spChg>
        <pc:spChg chg="mod">
          <ac:chgData name="Sam Mesel" userId="1ee7badb-5d1f-4872-89ae-dcf7b71f276a" providerId="ADAL" clId="{53886FC4-CEC3-49C2-A16F-E052A3E85A45}" dt="2020-03-19T15:42:37.169" v="5416" actId="208"/>
          <ac:spMkLst>
            <pc:docMk/>
            <pc:sldMk cId="120020239" sldId="677"/>
            <ac:spMk id="138" creationId="{9C513CC3-37FA-46F2-9967-46D8C2950177}"/>
          </ac:spMkLst>
        </pc:spChg>
        <pc:spChg chg="mod">
          <ac:chgData name="Sam Mesel" userId="1ee7badb-5d1f-4872-89ae-dcf7b71f276a" providerId="ADAL" clId="{53886FC4-CEC3-49C2-A16F-E052A3E85A45}" dt="2020-03-19T15:42:37.169" v="5416" actId="208"/>
          <ac:spMkLst>
            <pc:docMk/>
            <pc:sldMk cId="120020239" sldId="677"/>
            <ac:spMk id="139" creationId="{92E95D09-E327-4591-9D19-64B286C3D0E3}"/>
          </ac:spMkLst>
        </pc:spChg>
        <pc:spChg chg="mod">
          <ac:chgData name="Sam Mesel" userId="1ee7badb-5d1f-4872-89ae-dcf7b71f276a" providerId="ADAL" clId="{53886FC4-CEC3-49C2-A16F-E052A3E85A45}" dt="2020-03-19T15:42:37.169" v="5416" actId="208"/>
          <ac:spMkLst>
            <pc:docMk/>
            <pc:sldMk cId="120020239" sldId="677"/>
            <ac:spMk id="140" creationId="{8CDE7261-EB01-47C4-8933-637CBB196F2D}"/>
          </ac:spMkLst>
        </pc:spChg>
        <pc:spChg chg="mod">
          <ac:chgData name="Sam Mesel" userId="1ee7badb-5d1f-4872-89ae-dcf7b71f276a" providerId="ADAL" clId="{53886FC4-CEC3-49C2-A16F-E052A3E85A45}" dt="2020-03-19T15:42:37.169" v="5416" actId="208"/>
          <ac:spMkLst>
            <pc:docMk/>
            <pc:sldMk cId="120020239" sldId="677"/>
            <ac:spMk id="141" creationId="{9B62FB59-EF06-4A7E-9D14-2410BE69ECCC}"/>
          </ac:spMkLst>
        </pc:spChg>
        <pc:spChg chg="mod">
          <ac:chgData name="Sam Mesel" userId="1ee7badb-5d1f-4872-89ae-dcf7b71f276a" providerId="ADAL" clId="{53886FC4-CEC3-49C2-A16F-E052A3E85A45}" dt="2020-03-19T15:42:48.756" v="5420" actId="208"/>
          <ac:spMkLst>
            <pc:docMk/>
            <pc:sldMk cId="120020239" sldId="677"/>
            <ac:spMk id="145" creationId="{1283DD8B-8640-407E-B613-0CDE9524965D}"/>
          </ac:spMkLst>
        </pc:spChg>
        <pc:spChg chg="mod">
          <ac:chgData name="Sam Mesel" userId="1ee7badb-5d1f-4872-89ae-dcf7b71f276a" providerId="ADAL" clId="{53886FC4-CEC3-49C2-A16F-E052A3E85A45}" dt="2020-03-19T15:42:48.756" v="5420" actId="208"/>
          <ac:spMkLst>
            <pc:docMk/>
            <pc:sldMk cId="120020239" sldId="677"/>
            <ac:spMk id="146" creationId="{ABB1E11B-76AE-48AB-9039-09307009AD74}"/>
          </ac:spMkLst>
        </pc:spChg>
        <pc:spChg chg="mod">
          <ac:chgData name="Sam Mesel" userId="1ee7badb-5d1f-4872-89ae-dcf7b71f276a" providerId="ADAL" clId="{53886FC4-CEC3-49C2-A16F-E052A3E85A45}" dt="2020-03-19T15:42:48.756" v="5420" actId="208"/>
          <ac:spMkLst>
            <pc:docMk/>
            <pc:sldMk cId="120020239" sldId="677"/>
            <ac:spMk id="147" creationId="{A28649A6-CDB8-44C0-85D2-145909C00CAF}"/>
          </ac:spMkLst>
        </pc:spChg>
        <pc:spChg chg="mod">
          <ac:chgData name="Sam Mesel" userId="1ee7badb-5d1f-4872-89ae-dcf7b71f276a" providerId="ADAL" clId="{53886FC4-CEC3-49C2-A16F-E052A3E85A45}" dt="2020-03-19T15:42:48.756" v="5420" actId="208"/>
          <ac:spMkLst>
            <pc:docMk/>
            <pc:sldMk cId="120020239" sldId="677"/>
            <ac:spMk id="148" creationId="{F9E6FAC8-0313-404F-BC94-0CCEDCFD4EDB}"/>
          </ac:spMkLst>
        </pc:spChg>
        <pc:spChg chg="mod">
          <ac:chgData name="Sam Mesel" userId="1ee7badb-5d1f-4872-89ae-dcf7b71f276a" providerId="ADAL" clId="{53886FC4-CEC3-49C2-A16F-E052A3E85A45}" dt="2020-03-19T15:42:48.756" v="5420" actId="208"/>
          <ac:spMkLst>
            <pc:docMk/>
            <pc:sldMk cId="120020239" sldId="677"/>
            <ac:spMk id="149" creationId="{0BEE5A7D-19F2-406A-845D-CD0CCFF610C9}"/>
          </ac:spMkLst>
        </pc:spChg>
        <pc:spChg chg="mod">
          <ac:chgData name="Sam Mesel" userId="1ee7badb-5d1f-4872-89ae-dcf7b71f276a" providerId="ADAL" clId="{53886FC4-CEC3-49C2-A16F-E052A3E85A45}" dt="2020-03-19T15:42:48.756" v="5420" actId="208"/>
          <ac:spMkLst>
            <pc:docMk/>
            <pc:sldMk cId="120020239" sldId="677"/>
            <ac:spMk id="150" creationId="{44365124-0947-42AB-951D-866264932581}"/>
          </ac:spMkLst>
        </pc:spChg>
        <pc:spChg chg="mod">
          <ac:chgData name="Sam Mesel" userId="1ee7badb-5d1f-4872-89ae-dcf7b71f276a" providerId="ADAL" clId="{53886FC4-CEC3-49C2-A16F-E052A3E85A45}" dt="2020-03-19T15:42:48.756" v="5420" actId="208"/>
          <ac:spMkLst>
            <pc:docMk/>
            <pc:sldMk cId="120020239" sldId="677"/>
            <ac:spMk id="151" creationId="{61CCA603-CB51-41F5-9729-E5D54DA7EC78}"/>
          </ac:spMkLst>
        </pc:spChg>
        <pc:spChg chg="mod">
          <ac:chgData name="Sam Mesel" userId="1ee7badb-5d1f-4872-89ae-dcf7b71f276a" providerId="ADAL" clId="{53886FC4-CEC3-49C2-A16F-E052A3E85A45}" dt="2020-03-19T15:42:48.756" v="5420" actId="208"/>
          <ac:spMkLst>
            <pc:docMk/>
            <pc:sldMk cId="120020239" sldId="677"/>
            <ac:spMk id="152" creationId="{3726ED09-4B3B-4A00-9B43-FE4E9D270E58}"/>
          </ac:spMkLst>
        </pc:spChg>
        <pc:spChg chg="mod">
          <ac:chgData name="Sam Mesel" userId="1ee7badb-5d1f-4872-89ae-dcf7b71f276a" providerId="ADAL" clId="{53886FC4-CEC3-49C2-A16F-E052A3E85A45}" dt="2020-03-19T15:43:05.078" v="5423" actId="207"/>
          <ac:spMkLst>
            <pc:docMk/>
            <pc:sldMk cId="120020239" sldId="677"/>
            <ac:spMk id="153" creationId="{AD33DA6F-CDF4-4C66-8F3E-659D638FC559}"/>
          </ac:spMkLst>
        </pc:spChg>
        <pc:spChg chg="add">
          <ac:chgData name="Sam Mesel" userId="1ee7badb-5d1f-4872-89ae-dcf7b71f276a" providerId="ADAL" clId="{53886FC4-CEC3-49C2-A16F-E052A3E85A45}" dt="2020-03-11T03:14:52.273" v="3612"/>
          <ac:spMkLst>
            <pc:docMk/>
            <pc:sldMk cId="120020239" sldId="677"/>
            <ac:spMk id="154" creationId="{5CF78BED-3D8D-457D-A765-91F4E258D781}"/>
          </ac:spMkLst>
        </pc:spChg>
        <pc:spChg chg="add">
          <ac:chgData name="Sam Mesel" userId="1ee7badb-5d1f-4872-89ae-dcf7b71f276a" providerId="ADAL" clId="{53886FC4-CEC3-49C2-A16F-E052A3E85A45}" dt="2020-03-11T03:14:52.273" v="3612"/>
          <ac:spMkLst>
            <pc:docMk/>
            <pc:sldMk cId="120020239" sldId="677"/>
            <ac:spMk id="167" creationId="{DFA548F3-B72D-4E0B-B120-DA1412A2662B}"/>
          </ac:spMkLst>
        </pc:spChg>
        <pc:spChg chg="add">
          <ac:chgData name="Sam Mesel" userId="1ee7badb-5d1f-4872-89ae-dcf7b71f276a" providerId="ADAL" clId="{53886FC4-CEC3-49C2-A16F-E052A3E85A45}" dt="2020-03-11T03:14:52.273" v="3612"/>
          <ac:spMkLst>
            <pc:docMk/>
            <pc:sldMk cId="120020239" sldId="677"/>
            <ac:spMk id="168" creationId="{B144B7E1-4819-4850-A095-310FADCA25E2}"/>
          </ac:spMkLst>
        </pc:spChg>
        <pc:spChg chg="add mod">
          <ac:chgData name="Sam Mesel" userId="1ee7badb-5d1f-4872-89ae-dcf7b71f276a" providerId="ADAL" clId="{53886FC4-CEC3-49C2-A16F-E052A3E85A45}" dt="2020-03-11T22:29:33.634" v="3886" actId="1076"/>
          <ac:spMkLst>
            <pc:docMk/>
            <pc:sldMk cId="120020239" sldId="677"/>
            <ac:spMk id="172" creationId="{3CE3E135-AA50-47A4-A188-F733535C4DC1}"/>
          </ac:spMkLst>
        </pc:spChg>
        <pc:spChg chg="add del mod">
          <ac:chgData name="Sam Mesel" userId="1ee7badb-5d1f-4872-89ae-dcf7b71f276a" providerId="ADAL" clId="{53886FC4-CEC3-49C2-A16F-E052A3E85A45}" dt="2020-03-11T22:32:49.798" v="3900" actId="478"/>
          <ac:spMkLst>
            <pc:docMk/>
            <pc:sldMk cId="120020239" sldId="677"/>
            <ac:spMk id="173" creationId="{45A8B86E-1134-45D9-A4D1-F0692028CB51}"/>
          </ac:spMkLst>
        </pc:spChg>
        <pc:grpChg chg="add del">
          <ac:chgData name="Sam Mesel" userId="1ee7badb-5d1f-4872-89ae-dcf7b71f276a" providerId="ADAL" clId="{53886FC4-CEC3-49C2-A16F-E052A3E85A45}" dt="2020-03-11T03:13:46.762" v="3609"/>
          <ac:grpSpMkLst>
            <pc:docMk/>
            <pc:sldMk cId="120020239" sldId="677"/>
            <ac:grpSpMk id="5" creationId="{9DCCA22A-F13F-4B3C-A186-9720E52FB4D7}"/>
          </ac:grpSpMkLst>
        </pc:grpChg>
        <pc:grpChg chg="add del">
          <ac:chgData name="Sam Mesel" userId="1ee7badb-5d1f-4872-89ae-dcf7b71f276a" providerId="ADAL" clId="{53886FC4-CEC3-49C2-A16F-E052A3E85A45}" dt="2020-03-11T03:13:46.762" v="3609"/>
          <ac:grpSpMkLst>
            <pc:docMk/>
            <pc:sldMk cId="120020239" sldId="677"/>
            <ac:grpSpMk id="10" creationId="{D67B7AA1-3E2E-4EA6-94CA-6E39A8065D46}"/>
          </ac:grpSpMkLst>
        </pc:grpChg>
        <pc:grpChg chg="add del">
          <ac:chgData name="Sam Mesel" userId="1ee7badb-5d1f-4872-89ae-dcf7b71f276a" providerId="ADAL" clId="{53886FC4-CEC3-49C2-A16F-E052A3E85A45}" dt="2020-03-11T03:13:46.762" v="3609"/>
          <ac:grpSpMkLst>
            <pc:docMk/>
            <pc:sldMk cId="120020239" sldId="677"/>
            <ac:grpSpMk id="22" creationId="{58F5487B-AE17-47B3-A3AD-589D1CA129C4}"/>
          </ac:grpSpMkLst>
        </pc:grpChg>
        <pc:grpChg chg="add del">
          <ac:chgData name="Sam Mesel" userId="1ee7badb-5d1f-4872-89ae-dcf7b71f276a" providerId="ADAL" clId="{53886FC4-CEC3-49C2-A16F-E052A3E85A45}" dt="2020-03-11T03:13:46.762" v="3609"/>
          <ac:grpSpMkLst>
            <pc:docMk/>
            <pc:sldMk cId="120020239" sldId="677"/>
            <ac:grpSpMk id="33" creationId="{C3EA0016-F682-4F44-B392-CBF6915E05E1}"/>
          </ac:grpSpMkLst>
        </pc:grpChg>
        <pc:grpChg chg="add del">
          <ac:chgData name="Sam Mesel" userId="1ee7badb-5d1f-4872-89ae-dcf7b71f276a" providerId="ADAL" clId="{53886FC4-CEC3-49C2-A16F-E052A3E85A45}" dt="2020-03-11T03:13:46.762" v="3609"/>
          <ac:grpSpMkLst>
            <pc:docMk/>
            <pc:sldMk cId="120020239" sldId="677"/>
            <ac:grpSpMk id="43" creationId="{A38C3EC5-7EDC-4AB1-B02C-DD00FB1A5E3C}"/>
          </ac:grpSpMkLst>
        </pc:grpChg>
        <pc:grpChg chg="add del">
          <ac:chgData name="Sam Mesel" userId="1ee7badb-5d1f-4872-89ae-dcf7b71f276a" providerId="ADAL" clId="{53886FC4-CEC3-49C2-A16F-E052A3E85A45}" dt="2020-03-11T03:13:46.762" v="3609"/>
          <ac:grpSpMkLst>
            <pc:docMk/>
            <pc:sldMk cId="120020239" sldId="677"/>
            <ac:grpSpMk id="50" creationId="{927D8A30-B401-4D15-A9C5-B320A43D9FDD}"/>
          </ac:grpSpMkLst>
        </pc:grpChg>
        <pc:grpChg chg="add del">
          <ac:chgData name="Sam Mesel" userId="1ee7badb-5d1f-4872-89ae-dcf7b71f276a" providerId="ADAL" clId="{53886FC4-CEC3-49C2-A16F-E052A3E85A45}" dt="2020-03-11T03:14:36.267" v="3611"/>
          <ac:grpSpMkLst>
            <pc:docMk/>
            <pc:sldMk cId="120020239" sldId="677"/>
            <ac:grpSpMk id="60" creationId="{8339FC09-3125-42EB-A0B4-B781859336F7}"/>
          </ac:grpSpMkLst>
        </pc:grpChg>
        <pc:grpChg chg="add del">
          <ac:chgData name="Sam Mesel" userId="1ee7badb-5d1f-4872-89ae-dcf7b71f276a" providerId="ADAL" clId="{53886FC4-CEC3-49C2-A16F-E052A3E85A45}" dt="2020-03-11T03:14:36.267" v="3611"/>
          <ac:grpSpMkLst>
            <pc:docMk/>
            <pc:sldMk cId="120020239" sldId="677"/>
            <ac:grpSpMk id="65" creationId="{123116A2-542D-495C-A081-D6CFF137BD75}"/>
          </ac:grpSpMkLst>
        </pc:grpChg>
        <pc:grpChg chg="add del">
          <ac:chgData name="Sam Mesel" userId="1ee7badb-5d1f-4872-89ae-dcf7b71f276a" providerId="ADAL" clId="{53886FC4-CEC3-49C2-A16F-E052A3E85A45}" dt="2020-03-11T03:14:36.267" v="3611"/>
          <ac:grpSpMkLst>
            <pc:docMk/>
            <pc:sldMk cId="120020239" sldId="677"/>
            <ac:grpSpMk id="77" creationId="{28E0D8E1-94D7-43CE-A09D-9BC6903BE7E1}"/>
          </ac:grpSpMkLst>
        </pc:grpChg>
        <pc:grpChg chg="add del">
          <ac:chgData name="Sam Mesel" userId="1ee7badb-5d1f-4872-89ae-dcf7b71f276a" providerId="ADAL" clId="{53886FC4-CEC3-49C2-A16F-E052A3E85A45}" dt="2020-03-11T03:14:36.267" v="3611"/>
          <ac:grpSpMkLst>
            <pc:docMk/>
            <pc:sldMk cId="120020239" sldId="677"/>
            <ac:grpSpMk id="88" creationId="{DAE3790E-29F6-466E-B3A9-A27525DC46B4}"/>
          </ac:grpSpMkLst>
        </pc:grpChg>
        <pc:grpChg chg="add del">
          <ac:chgData name="Sam Mesel" userId="1ee7badb-5d1f-4872-89ae-dcf7b71f276a" providerId="ADAL" clId="{53886FC4-CEC3-49C2-A16F-E052A3E85A45}" dt="2020-03-11T03:14:36.267" v="3611"/>
          <ac:grpSpMkLst>
            <pc:docMk/>
            <pc:sldMk cId="120020239" sldId="677"/>
            <ac:grpSpMk id="99" creationId="{42395D7E-6FDD-4F8B-AD7E-710C5B1CCFD2}"/>
          </ac:grpSpMkLst>
        </pc:grpChg>
        <pc:grpChg chg="add del">
          <ac:chgData name="Sam Mesel" userId="1ee7badb-5d1f-4872-89ae-dcf7b71f276a" providerId="ADAL" clId="{53886FC4-CEC3-49C2-A16F-E052A3E85A45}" dt="2020-03-11T03:14:36.267" v="3611"/>
          <ac:grpSpMkLst>
            <pc:docMk/>
            <pc:sldMk cId="120020239" sldId="677"/>
            <ac:grpSpMk id="106" creationId="{65513AE7-EF15-496F-9147-52380BEDD5E4}"/>
          </ac:grpSpMkLst>
        </pc:grpChg>
        <pc:grpChg chg="add">
          <ac:chgData name="Sam Mesel" userId="1ee7badb-5d1f-4872-89ae-dcf7b71f276a" providerId="ADAL" clId="{53886FC4-CEC3-49C2-A16F-E052A3E85A45}" dt="2020-03-11T03:14:52.273" v="3612"/>
          <ac:grpSpMkLst>
            <pc:docMk/>
            <pc:sldMk cId="120020239" sldId="677"/>
            <ac:grpSpMk id="116" creationId="{0502E350-4747-4713-98A9-065E88ED89B1}"/>
          </ac:grpSpMkLst>
        </pc:grpChg>
        <pc:grpChg chg="add">
          <ac:chgData name="Sam Mesel" userId="1ee7badb-5d1f-4872-89ae-dcf7b71f276a" providerId="ADAL" clId="{53886FC4-CEC3-49C2-A16F-E052A3E85A45}" dt="2020-03-11T03:14:52.273" v="3612"/>
          <ac:grpSpMkLst>
            <pc:docMk/>
            <pc:sldMk cId="120020239" sldId="677"/>
            <ac:grpSpMk id="121" creationId="{0E2F1440-23F7-40D5-AEDE-2D5BB7B05DA9}"/>
          </ac:grpSpMkLst>
        </pc:grpChg>
        <pc:grpChg chg="add mod">
          <ac:chgData name="Sam Mesel" userId="1ee7badb-5d1f-4872-89ae-dcf7b71f276a" providerId="ADAL" clId="{53886FC4-CEC3-49C2-A16F-E052A3E85A45}" dt="2020-03-11T22:29:33.634" v="3886" actId="1076"/>
          <ac:grpSpMkLst>
            <pc:docMk/>
            <pc:sldMk cId="120020239" sldId="677"/>
            <ac:grpSpMk id="133" creationId="{7BF2EDFB-6DC5-413C-B2CA-BAECC16D04C4}"/>
          </ac:grpSpMkLst>
        </pc:grpChg>
        <pc:grpChg chg="add">
          <ac:chgData name="Sam Mesel" userId="1ee7badb-5d1f-4872-89ae-dcf7b71f276a" providerId="ADAL" clId="{53886FC4-CEC3-49C2-A16F-E052A3E85A45}" dt="2020-03-11T03:14:52.273" v="3612"/>
          <ac:grpSpMkLst>
            <pc:docMk/>
            <pc:sldMk cId="120020239" sldId="677"/>
            <ac:grpSpMk id="144" creationId="{0909926D-BEF8-4681-9DAB-C63F7DB1A6CD}"/>
          </ac:grpSpMkLst>
        </pc:grpChg>
        <pc:grpChg chg="add">
          <ac:chgData name="Sam Mesel" userId="1ee7badb-5d1f-4872-89ae-dcf7b71f276a" providerId="ADAL" clId="{53886FC4-CEC3-49C2-A16F-E052A3E85A45}" dt="2020-03-11T03:14:52.273" v="3612"/>
          <ac:grpSpMkLst>
            <pc:docMk/>
            <pc:sldMk cId="120020239" sldId="677"/>
            <ac:grpSpMk id="155" creationId="{2AC6AA3D-0E2E-41F0-BBB6-67AC6DBDC119}"/>
          </ac:grpSpMkLst>
        </pc:grpChg>
        <pc:grpChg chg="add">
          <ac:chgData name="Sam Mesel" userId="1ee7badb-5d1f-4872-89ae-dcf7b71f276a" providerId="ADAL" clId="{53886FC4-CEC3-49C2-A16F-E052A3E85A45}" dt="2020-03-11T03:14:52.273" v="3612"/>
          <ac:grpSpMkLst>
            <pc:docMk/>
            <pc:sldMk cId="120020239" sldId="677"/>
            <ac:grpSpMk id="162" creationId="{D281A85E-E923-4769-941F-A3A57CD1BC3D}"/>
          </ac:grpSpMkLst>
        </pc:grpChg>
        <pc:cxnChg chg="add del">
          <ac:chgData name="Sam Mesel" userId="1ee7badb-5d1f-4872-89ae-dcf7b71f276a" providerId="ADAL" clId="{53886FC4-CEC3-49C2-A16F-E052A3E85A45}" dt="2020-03-11T03:13:46.762" v="3609"/>
          <ac:cxnSpMkLst>
            <pc:docMk/>
            <pc:sldMk cId="120020239" sldId="677"/>
            <ac:cxnSpMk id="19" creationId="{0E85CFD7-41AC-4548-9BBC-E0BAABD58612}"/>
          </ac:cxnSpMkLst>
        </pc:cxnChg>
        <pc:cxnChg chg="add del">
          <ac:chgData name="Sam Mesel" userId="1ee7badb-5d1f-4872-89ae-dcf7b71f276a" providerId="ADAL" clId="{53886FC4-CEC3-49C2-A16F-E052A3E85A45}" dt="2020-03-11T03:13:46.762" v="3609"/>
          <ac:cxnSpMkLst>
            <pc:docMk/>
            <pc:sldMk cId="120020239" sldId="677"/>
            <ac:cxnSpMk id="20" creationId="{2ADC8AFB-966B-4CA0-B156-927EEE91638C}"/>
          </ac:cxnSpMkLst>
        </pc:cxnChg>
        <pc:cxnChg chg="add del">
          <ac:chgData name="Sam Mesel" userId="1ee7badb-5d1f-4872-89ae-dcf7b71f276a" providerId="ADAL" clId="{53886FC4-CEC3-49C2-A16F-E052A3E85A45}" dt="2020-03-11T03:13:46.762" v="3609"/>
          <ac:cxnSpMkLst>
            <pc:docMk/>
            <pc:sldMk cId="120020239" sldId="677"/>
            <ac:cxnSpMk id="21" creationId="{02C55241-A184-4AE4-8B82-A5F1777E5C05}"/>
          </ac:cxnSpMkLst>
        </pc:cxnChg>
        <pc:cxnChg chg="add del">
          <ac:chgData name="Sam Mesel" userId="1ee7badb-5d1f-4872-89ae-dcf7b71f276a" providerId="ADAL" clId="{53886FC4-CEC3-49C2-A16F-E052A3E85A45}" dt="2020-03-11T03:13:46.762" v="3609"/>
          <ac:cxnSpMkLst>
            <pc:docMk/>
            <pc:sldMk cId="120020239" sldId="677"/>
            <ac:cxnSpMk id="31" creationId="{90D3B8A8-48C8-4E9A-8A8C-28D8D703A7E8}"/>
          </ac:cxnSpMkLst>
        </pc:cxnChg>
        <pc:cxnChg chg="add del">
          <ac:chgData name="Sam Mesel" userId="1ee7badb-5d1f-4872-89ae-dcf7b71f276a" providerId="ADAL" clId="{53886FC4-CEC3-49C2-A16F-E052A3E85A45}" dt="2020-03-11T03:13:46.762" v="3609"/>
          <ac:cxnSpMkLst>
            <pc:docMk/>
            <pc:sldMk cId="120020239" sldId="677"/>
            <ac:cxnSpMk id="32" creationId="{21381A3C-1CFD-4492-89EA-FC6BBD7C16CD}"/>
          </ac:cxnSpMkLst>
        </pc:cxnChg>
        <pc:cxnChg chg="add del">
          <ac:chgData name="Sam Mesel" userId="1ee7badb-5d1f-4872-89ae-dcf7b71f276a" providerId="ADAL" clId="{53886FC4-CEC3-49C2-A16F-E052A3E85A45}" dt="2020-03-11T03:13:46.762" v="3609"/>
          <ac:cxnSpMkLst>
            <pc:docMk/>
            <pc:sldMk cId="120020239" sldId="677"/>
            <ac:cxnSpMk id="48" creationId="{66D28663-00FC-403C-BDA7-2CF6ABA693A8}"/>
          </ac:cxnSpMkLst>
        </pc:cxnChg>
        <pc:cxnChg chg="add del">
          <ac:chgData name="Sam Mesel" userId="1ee7badb-5d1f-4872-89ae-dcf7b71f276a" providerId="ADAL" clId="{53886FC4-CEC3-49C2-A16F-E052A3E85A45}" dt="2020-03-11T03:13:46.762" v="3609"/>
          <ac:cxnSpMkLst>
            <pc:docMk/>
            <pc:sldMk cId="120020239" sldId="677"/>
            <ac:cxnSpMk id="49" creationId="{1573D86E-8E14-42A1-AD33-31A70CA1F3CC}"/>
          </ac:cxnSpMkLst>
        </pc:cxnChg>
        <pc:cxnChg chg="add del">
          <ac:chgData name="Sam Mesel" userId="1ee7badb-5d1f-4872-89ae-dcf7b71f276a" providerId="ADAL" clId="{53886FC4-CEC3-49C2-A16F-E052A3E85A45}" dt="2020-03-11T03:13:46.762" v="3609"/>
          <ac:cxnSpMkLst>
            <pc:docMk/>
            <pc:sldMk cId="120020239" sldId="677"/>
            <ac:cxnSpMk id="57" creationId="{3788A836-2FEF-4253-88A1-6F32EDF887A9}"/>
          </ac:cxnSpMkLst>
        </pc:cxnChg>
        <pc:cxnChg chg="add del">
          <ac:chgData name="Sam Mesel" userId="1ee7badb-5d1f-4872-89ae-dcf7b71f276a" providerId="ADAL" clId="{53886FC4-CEC3-49C2-A16F-E052A3E85A45}" dt="2020-03-11T03:13:46.762" v="3609"/>
          <ac:cxnSpMkLst>
            <pc:docMk/>
            <pc:sldMk cId="120020239" sldId="677"/>
            <ac:cxnSpMk id="58" creationId="{76A00344-4522-40C2-AC68-1708D7CE8B5E}"/>
          </ac:cxnSpMkLst>
        </pc:cxnChg>
        <pc:cxnChg chg="add del">
          <ac:chgData name="Sam Mesel" userId="1ee7badb-5d1f-4872-89ae-dcf7b71f276a" providerId="ADAL" clId="{53886FC4-CEC3-49C2-A16F-E052A3E85A45}" dt="2020-03-11T03:13:46.762" v="3609"/>
          <ac:cxnSpMkLst>
            <pc:docMk/>
            <pc:sldMk cId="120020239" sldId="677"/>
            <ac:cxnSpMk id="59" creationId="{EAC9C3EB-F53A-4999-BBBB-F903E6CDB1C8}"/>
          </ac:cxnSpMkLst>
        </pc:cxnChg>
        <pc:cxnChg chg="add mod">
          <ac:chgData name="Sam Mesel" userId="1ee7badb-5d1f-4872-89ae-dcf7b71f276a" providerId="ADAL" clId="{53886FC4-CEC3-49C2-A16F-E052A3E85A45}" dt="2020-03-19T15:42:34.763" v="5415" actId="208"/>
          <ac:cxnSpMkLst>
            <pc:docMk/>
            <pc:sldMk cId="120020239" sldId="677"/>
            <ac:cxnSpMk id="71" creationId="{D9B9A41F-33E3-48AF-96F7-435B229225E5}"/>
          </ac:cxnSpMkLst>
        </pc:cxnChg>
        <pc:cxnChg chg="add del">
          <ac:chgData name="Sam Mesel" userId="1ee7badb-5d1f-4872-89ae-dcf7b71f276a" providerId="ADAL" clId="{53886FC4-CEC3-49C2-A16F-E052A3E85A45}" dt="2020-03-11T03:14:36.267" v="3611"/>
          <ac:cxnSpMkLst>
            <pc:docMk/>
            <pc:sldMk cId="120020239" sldId="677"/>
            <ac:cxnSpMk id="74" creationId="{FB5CC22E-1434-4E19-9B97-A0AC1E6CC5DC}"/>
          </ac:cxnSpMkLst>
        </pc:cxnChg>
        <pc:cxnChg chg="add del">
          <ac:chgData name="Sam Mesel" userId="1ee7badb-5d1f-4872-89ae-dcf7b71f276a" providerId="ADAL" clId="{53886FC4-CEC3-49C2-A16F-E052A3E85A45}" dt="2020-03-11T03:14:36.267" v="3611"/>
          <ac:cxnSpMkLst>
            <pc:docMk/>
            <pc:sldMk cId="120020239" sldId="677"/>
            <ac:cxnSpMk id="75" creationId="{506CAC90-723B-4540-90CB-15932365E255}"/>
          </ac:cxnSpMkLst>
        </pc:cxnChg>
        <pc:cxnChg chg="add del">
          <ac:chgData name="Sam Mesel" userId="1ee7badb-5d1f-4872-89ae-dcf7b71f276a" providerId="ADAL" clId="{53886FC4-CEC3-49C2-A16F-E052A3E85A45}" dt="2020-03-11T03:14:36.267" v="3611"/>
          <ac:cxnSpMkLst>
            <pc:docMk/>
            <pc:sldMk cId="120020239" sldId="677"/>
            <ac:cxnSpMk id="76" creationId="{BD97ABAA-EA5C-43BB-8284-0B942F3653FD}"/>
          </ac:cxnSpMkLst>
        </pc:cxnChg>
        <pc:cxnChg chg="add del">
          <ac:chgData name="Sam Mesel" userId="1ee7badb-5d1f-4872-89ae-dcf7b71f276a" providerId="ADAL" clId="{53886FC4-CEC3-49C2-A16F-E052A3E85A45}" dt="2020-03-11T03:14:36.267" v="3611"/>
          <ac:cxnSpMkLst>
            <pc:docMk/>
            <pc:sldMk cId="120020239" sldId="677"/>
            <ac:cxnSpMk id="86" creationId="{3B754C4A-6F56-48C2-8C28-31FEEF7C11DA}"/>
          </ac:cxnSpMkLst>
        </pc:cxnChg>
        <pc:cxnChg chg="add del">
          <ac:chgData name="Sam Mesel" userId="1ee7badb-5d1f-4872-89ae-dcf7b71f276a" providerId="ADAL" clId="{53886FC4-CEC3-49C2-A16F-E052A3E85A45}" dt="2020-03-11T03:14:36.267" v="3611"/>
          <ac:cxnSpMkLst>
            <pc:docMk/>
            <pc:sldMk cId="120020239" sldId="677"/>
            <ac:cxnSpMk id="87" creationId="{1E1C399A-5603-45BB-9DC5-7A313AA51CCA}"/>
          </ac:cxnSpMkLst>
        </pc:cxnChg>
        <pc:cxnChg chg="add del">
          <ac:chgData name="Sam Mesel" userId="1ee7badb-5d1f-4872-89ae-dcf7b71f276a" providerId="ADAL" clId="{53886FC4-CEC3-49C2-A16F-E052A3E85A45}" dt="2020-03-11T03:14:36.267" v="3611"/>
          <ac:cxnSpMkLst>
            <pc:docMk/>
            <pc:sldMk cId="120020239" sldId="677"/>
            <ac:cxnSpMk id="104" creationId="{F0356309-0A1F-4F57-AC53-08C3B8D0BDF4}"/>
          </ac:cxnSpMkLst>
        </pc:cxnChg>
        <pc:cxnChg chg="add del">
          <ac:chgData name="Sam Mesel" userId="1ee7badb-5d1f-4872-89ae-dcf7b71f276a" providerId="ADAL" clId="{53886FC4-CEC3-49C2-A16F-E052A3E85A45}" dt="2020-03-11T03:14:36.267" v="3611"/>
          <ac:cxnSpMkLst>
            <pc:docMk/>
            <pc:sldMk cId="120020239" sldId="677"/>
            <ac:cxnSpMk id="105" creationId="{178D9190-951C-476C-A303-F393ED3B32AA}"/>
          </ac:cxnSpMkLst>
        </pc:cxnChg>
        <pc:cxnChg chg="add del">
          <ac:chgData name="Sam Mesel" userId="1ee7badb-5d1f-4872-89ae-dcf7b71f276a" providerId="ADAL" clId="{53886FC4-CEC3-49C2-A16F-E052A3E85A45}" dt="2020-03-11T03:14:36.267" v="3611"/>
          <ac:cxnSpMkLst>
            <pc:docMk/>
            <pc:sldMk cId="120020239" sldId="677"/>
            <ac:cxnSpMk id="113" creationId="{F80A1819-AD44-4177-A398-10309C29DCFE}"/>
          </ac:cxnSpMkLst>
        </pc:cxnChg>
        <pc:cxnChg chg="add del">
          <ac:chgData name="Sam Mesel" userId="1ee7badb-5d1f-4872-89ae-dcf7b71f276a" providerId="ADAL" clId="{53886FC4-CEC3-49C2-A16F-E052A3E85A45}" dt="2020-03-11T03:14:36.267" v="3611"/>
          <ac:cxnSpMkLst>
            <pc:docMk/>
            <pc:sldMk cId="120020239" sldId="677"/>
            <ac:cxnSpMk id="114" creationId="{D12F19AF-DFC8-4A5C-94A9-F7D287603E19}"/>
          </ac:cxnSpMkLst>
        </pc:cxnChg>
        <pc:cxnChg chg="add del">
          <ac:chgData name="Sam Mesel" userId="1ee7badb-5d1f-4872-89ae-dcf7b71f276a" providerId="ADAL" clId="{53886FC4-CEC3-49C2-A16F-E052A3E85A45}" dt="2020-03-11T03:14:36.267" v="3611"/>
          <ac:cxnSpMkLst>
            <pc:docMk/>
            <pc:sldMk cId="120020239" sldId="677"/>
            <ac:cxnSpMk id="115" creationId="{6AD1A3DC-F6CD-4BED-88A7-4A65F4D7F4CF}"/>
          </ac:cxnSpMkLst>
        </pc:cxnChg>
        <pc:cxnChg chg="add">
          <ac:chgData name="Sam Mesel" userId="1ee7badb-5d1f-4872-89ae-dcf7b71f276a" providerId="ADAL" clId="{53886FC4-CEC3-49C2-A16F-E052A3E85A45}" dt="2020-03-11T03:14:52.273" v="3612"/>
          <ac:cxnSpMkLst>
            <pc:docMk/>
            <pc:sldMk cId="120020239" sldId="677"/>
            <ac:cxnSpMk id="130" creationId="{7B263DE3-482E-4305-9CA9-10EBBFF5E3E8}"/>
          </ac:cxnSpMkLst>
        </pc:cxnChg>
        <pc:cxnChg chg="add">
          <ac:chgData name="Sam Mesel" userId="1ee7badb-5d1f-4872-89ae-dcf7b71f276a" providerId="ADAL" clId="{53886FC4-CEC3-49C2-A16F-E052A3E85A45}" dt="2020-03-11T03:14:52.273" v="3612"/>
          <ac:cxnSpMkLst>
            <pc:docMk/>
            <pc:sldMk cId="120020239" sldId="677"/>
            <ac:cxnSpMk id="131" creationId="{C990F757-D9A2-4D54-B041-D1FF30454ED0}"/>
          </ac:cxnSpMkLst>
        </pc:cxnChg>
        <pc:cxnChg chg="add mod">
          <ac:chgData name="Sam Mesel" userId="1ee7badb-5d1f-4872-89ae-dcf7b71f276a" providerId="ADAL" clId="{53886FC4-CEC3-49C2-A16F-E052A3E85A45}" dt="2020-03-19T15:42:30.513" v="5413" actId="208"/>
          <ac:cxnSpMkLst>
            <pc:docMk/>
            <pc:sldMk cId="120020239" sldId="677"/>
            <ac:cxnSpMk id="132" creationId="{198DC975-6249-43A7-8EBA-2B62A8EBA322}"/>
          </ac:cxnSpMkLst>
        </pc:cxnChg>
        <pc:cxnChg chg="add mod">
          <ac:chgData name="Sam Mesel" userId="1ee7badb-5d1f-4872-89ae-dcf7b71f276a" providerId="ADAL" clId="{53886FC4-CEC3-49C2-A16F-E052A3E85A45}" dt="2020-03-19T15:43:19.029" v="5425" actId="208"/>
          <ac:cxnSpMkLst>
            <pc:docMk/>
            <pc:sldMk cId="120020239" sldId="677"/>
            <ac:cxnSpMk id="142" creationId="{8F9F469D-687A-46D8-8AB2-D7036B1C7687}"/>
          </ac:cxnSpMkLst>
        </pc:cxnChg>
        <pc:cxnChg chg="add mod">
          <ac:chgData name="Sam Mesel" userId="1ee7badb-5d1f-4872-89ae-dcf7b71f276a" providerId="ADAL" clId="{53886FC4-CEC3-49C2-A16F-E052A3E85A45}" dt="2020-03-19T15:42:41.986" v="5417" actId="208"/>
          <ac:cxnSpMkLst>
            <pc:docMk/>
            <pc:sldMk cId="120020239" sldId="677"/>
            <ac:cxnSpMk id="143" creationId="{7989D623-8E95-423A-881D-07A3A95D6032}"/>
          </ac:cxnSpMkLst>
        </pc:cxnChg>
        <pc:cxnChg chg="add mod">
          <ac:chgData name="Sam Mesel" userId="1ee7badb-5d1f-4872-89ae-dcf7b71f276a" providerId="ADAL" clId="{53886FC4-CEC3-49C2-A16F-E052A3E85A45}" dt="2020-03-19T15:43:21.641" v="5426" actId="208"/>
          <ac:cxnSpMkLst>
            <pc:docMk/>
            <pc:sldMk cId="120020239" sldId="677"/>
            <ac:cxnSpMk id="160" creationId="{16339C85-4283-475D-B612-98EE373FE2B1}"/>
          </ac:cxnSpMkLst>
        </pc:cxnChg>
        <pc:cxnChg chg="add mod">
          <ac:chgData name="Sam Mesel" userId="1ee7badb-5d1f-4872-89ae-dcf7b71f276a" providerId="ADAL" clId="{53886FC4-CEC3-49C2-A16F-E052A3E85A45}" dt="2020-03-19T15:42:45.901" v="5419" actId="208"/>
          <ac:cxnSpMkLst>
            <pc:docMk/>
            <pc:sldMk cId="120020239" sldId="677"/>
            <ac:cxnSpMk id="161" creationId="{88E28738-6A2E-4352-B2A9-AEBEDD88AE99}"/>
          </ac:cxnSpMkLst>
        </pc:cxnChg>
        <pc:cxnChg chg="add mod">
          <ac:chgData name="Sam Mesel" userId="1ee7badb-5d1f-4872-89ae-dcf7b71f276a" providerId="ADAL" clId="{53886FC4-CEC3-49C2-A16F-E052A3E85A45}" dt="2020-03-19T15:42:32.895" v="5414" actId="208"/>
          <ac:cxnSpMkLst>
            <pc:docMk/>
            <pc:sldMk cId="120020239" sldId="677"/>
            <ac:cxnSpMk id="169" creationId="{3FFA7F5E-CD56-4028-87CB-89A3E748FA42}"/>
          </ac:cxnSpMkLst>
        </pc:cxnChg>
        <pc:cxnChg chg="add">
          <ac:chgData name="Sam Mesel" userId="1ee7badb-5d1f-4872-89ae-dcf7b71f276a" providerId="ADAL" clId="{53886FC4-CEC3-49C2-A16F-E052A3E85A45}" dt="2020-03-11T03:14:52.273" v="3612"/>
          <ac:cxnSpMkLst>
            <pc:docMk/>
            <pc:sldMk cId="120020239" sldId="677"/>
            <ac:cxnSpMk id="170" creationId="{FF097824-5099-4459-B883-8112729228BC}"/>
          </ac:cxnSpMkLst>
        </pc:cxnChg>
        <pc:cxnChg chg="add mod">
          <ac:chgData name="Sam Mesel" userId="1ee7badb-5d1f-4872-89ae-dcf7b71f276a" providerId="ADAL" clId="{53886FC4-CEC3-49C2-A16F-E052A3E85A45}" dt="2020-03-19T15:42:43.037" v="5418" actId="208"/>
          <ac:cxnSpMkLst>
            <pc:docMk/>
            <pc:sldMk cId="120020239" sldId="677"/>
            <ac:cxnSpMk id="171" creationId="{12C4A719-AB2C-43A9-B231-DB6172AD2CFF}"/>
          </ac:cxnSpMkLst>
        </pc:cxnChg>
      </pc:sldChg>
      <pc:sldChg chg="addSp delSp modSp new mod ord modAnim">
        <pc:chgData name="Sam Mesel" userId="1ee7badb-5d1f-4872-89ae-dcf7b71f276a" providerId="ADAL" clId="{53886FC4-CEC3-49C2-A16F-E052A3E85A45}" dt="2020-03-19T15:39:31.751" v="5388" actId="208"/>
        <pc:sldMkLst>
          <pc:docMk/>
          <pc:sldMk cId="2423425577" sldId="678"/>
        </pc:sldMkLst>
        <pc:spChg chg="mod">
          <ac:chgData name="Sam Mesel" userId="1ee7badb-5d1f-4872-89ae-dcf7b71f276a" providerId="ADAL" clId="{53886FC4-CEC3-49C2-A16F-E052A3E85A45}" dt="2020-03-11T22:12:18.950" v="3671" actId="20577"/>
          <ac:spMkLst>
            <pc:docMk/>
            <pc:sldMk cId="2423425577" sldId="678"/>
            <ac:spMk id="2" creationId="{8E5F4152-6AD6-46D5-AD57-CDC91D06F254}"/>
          </ac:spMkLst>
        </pc:spChg>
        <pc:spChg chg="mod">
          <ac:chgData name="Sam Mesel" userId="1ee7badb-5d1f-4872-89ae-dcf7b71f276a" providerId="ADAL" clId="{53886FC4-CEC3-49C2-A16F-E052A3E85A45}" dt="2020-03-11T22:12:28.471" v="3673" actId="6549"/>
          <ac:spMkLst>
            <pc:docMk/>
            <pc:sldMk cId="2423425577" sldId="678"/>
            <ac:spMk id="3" creationId="{B1D023C5-C0D2-4FCC-9E41-5FD37CAED508}"/>
          </ac:spMkLst>
        </pc:spChg>
        <pc:spChg chg="del">
          <ac:chgData name="Sam Mesel" userId="1ee7badb-5d1f-4872-89ae-dcf7b71f276a" providerId="ADAL" clId="{53886FC4-CEC3-49C2-A16F-E052A3E85A45}" dt="2020-03-11T03:10:43.937" v="3574" actId="478"/>
          <ac:spMkLst>
            <pc:docMk/>
            <pc:sldMk cId="2423425577" sldId="678"/>
            <ac:spMk id="4" creationId="{E3AD8D99-7F4D-40A1-8C47-48DA41F9D5FB}"/>
          </ac:spMkLst>
        </pc:spChg>
        <pc:spChg chg="add del">
          <ac:chgData name="Sam Mesel" userId="1ee7badb-5d1f-4872-89ae-dcf7b71f276a" providerId="ADAL" clId="{53886FC4-CEC3-49C2-A16F-E052A3E85A45}" dt="2020-03-11T03:10:48.764" v="3576"/>
          <ac:spMkLst>
            <pc:docMk/>
            <pc:sldMk cId="2423425577" sldId="678"/>
            <ac:spMk id="5" creationId="{02A8A070-DB99-419D-8D99-F239AE33E1EB}"/>
          </ac:spMkLst>
        </pc:spChg>
        <pc:spChg chg="add del">
          <ac:chgData name="Sam Mesel" userId="1ee7badb-5d1f-4872-89ae-dcf7b71f276a" providerId="ADAL" clId="{53886FC4-CEC3-49C2-A16F-E052A3E85A45}" dt="2020-03-11T03:12:47.654" v="3600" actId="478"/>
          <ac:spMkLst>
            <pc:docMk/>
            <pc:sldMk cId="2423425577" sldId="678"/>
            <ac:spMk id="6" creationId="{5E3662D6-E68A-41ED-A224-FBF5D0F0C0CD}"/>
          </ac:spMkLst>
        </pc:spChg>
        <pc:spChg chg="add">
          <ac:chgData name="Sam Mesel" userId="1ee7badb-5d1f-4872-89ae-dcf7b71f276a" providerId="ADAL" clId="{53886FC4-CEC3-49C2-A16F-E052A3E85A45}" dt="2020-03-11T03:11:02.787" v="3577"/>
          <ac:spMkLst>
            <pc:docMk/>
            <pc:sldMk cId="2423425577" sldId="678"/>
            <ac:spMk id="12" creationId="{63056667-24BD-42A8-8A1C-1D1B8F9BD1A0}"/>
          </ac:spMkLst>
        </pc:spChg>
        <pc:spChg chg="add">
          <ac:chgData name="Sam Mesel" userId="1ee7badb-5d1f-4872-89ae-dcf7b71f276a" providerId="ADAL" clId="{53886FC4-CEC3-49C2-A16F-E052A3E85A45}" dt="2020-03-11T03:11:02.787" v="3577"/>
          <ac:spMkLst>
            <pc:docMk/>
            <pc:sldMk cId="2423425577" sldId="678"/>
            <ac:spMk id="13" creationId="{D181CE8E-B0D1-4124-85E7-E83ED42F88C0}"/>
          </ac:spMkLst>
        </pc:spChg>
        <pc:spChg chg="add">
          <ac:chgData name="Sam Mesel" userId="1ee7badb-5d1f-4872-89ae-dcf7b71f276a" providerId="ADAL" clId="{53886FC4-CEC3-49C2-A16F-E052A3E85A45}" dt="2020-03-11T03:11:02.787" v="3577"/>
          <ac:spMkLst>
            <pc:docMk/>
            <pc:sldMk cId="2423425577" sldId="678"/>
            <ac:spMk id="14" creationId="{8B5BE213-040E-4037-8EDB-14F388D33928}"/>
          </ac:spMkLst>
        </pc:spChg>
        <pc:spChg chg="add">
          <ac:chgData name="Sam Mesel" userId="1ee7badb-5d1f-4872-89ae-dcf7b71f276a" providerId="ADAL" clId="{53886FC4-CEC3-49C2-A16F-E052A3E85A45}" dt="2020-03-11T03:11:02.787" v="3577"/>
          <ac:spMkLst>
            <pc:docMk/>
            <pc:sldMk cId="2423425577" sldId="678"/>
            <ac:spMk id="15" creationId="{04B46463-6976-4F57-A74D-6D55E72EF777}"/>
          </ac:spMkLst>
        </pc:spChg>
        <pc:spChg chg="mod">
          <ac:chgData name="Sam Mesel" userId="1ee7badb-5d1f-4872-89ae-dcf7b71f276a" providerId="ADAL" clId="{53886FC4-CEC3-49C2-A16F-E052A3E85A45}" dt="2020-03-19T15:39:12.179" v="5384" actId="207"/>
          <ac:spMkLst>
            <pc:docMk/>
            <pc:sldMk cId="2423425577" sldId="678"/>
            <ac:spMk id="20" creationId="{329641DA-23E4-4081-96BF-5A14CF530E7B}"/>
          </ac:spMkLst>
        </pc:spChg>
        <pc:spChg chg="mod">
          <ac:chgData name="Sam Mesel" userId="1ee7badb-5d1f-4872-89ae-dcf7b71f276a" providerId="ADAL" clId="{53886FC4-CEC3-49C2-A16F-E052A3E85A45}" dt="2020-03-19T15:38:50.443" v="5382" actId="208"/>
          <ac:spMkLst>
            <pc:docMk/>
            <pc:sldMk cId="2423425577" sldId="678"/>
            <ac:spMk id="21" creationId="{47C4DDCC-DAF3-47E7-AF28-A1E0567C4D81}"/>
          </ac:spMkLst>
        </pc:spChg>
        <pc:spChg chg="mod">
          <ac:chgData name="Sam Mesel" userId="1ee7badb-5d1f-4872-89ae-dcf7b71f276a" providerId="ADAL" clId="{53886FC4-CEC3-49C2-A16F-E052A3E85A45}" dt="2020-03-19T15:38:50.443" v="5382" actId="208"/>
          <ac:spMkLst>
            <pc:docMk/>
            <pc:sldMk cId="2423425577" sldId="678"/>
            <ac:spMk id="22" creationId="{3906D2AB-DCEB-4C61-B305-8E9CAED9B414}"/>
          </ac:spMkLst>
        </pc:spChg>
        <pc:spChg chg="mod">
          <ac:chgData name="Sam Mesel" userId="1ee7badb-5d1f-4872-89ae-dcf7b71f276a" providerId="ADAL" clId="{53886FC4-CEC3-49C2-A16F-E052A3E85A45}" dt="2020-03-19T15:38:50.443" v="5382" actId="208"/>
          <ac:spMkLst>
            <pc:docMk/>
            <pc:sldMk cId="2423425577" sldId="678"/>
            <ac:spMk id="23" creationId="{3A789D20-50EF-473A-9443-30E32EC50D82}"/>
          </ac:spMkLst>
        </pc:spChg>
        <pc:spChg chg="mod">
          <ac:chgData name="Sam Mesel" userId="1ee7badb-5d1f-4872-89ae-dcf7b71f276a" providerId="ADAL" clId="{53886FC4-CEC3-49C2-A16F-E052A3E85A45}" dt="2020-03-19T15:38:50.443" v="5382" actId="208"/>
          <ac:spMkLst>
            <pc:docMk/>
            <pc:sldMk cId="2423425577" sldId="678"/>
            <ac:spMk id="24" creationId="{E092A925-5C64-42A4-AB7C-68D3FEB86D97}"/>
          </ac:spMkLst>
        </pc:spChg>
        <pc:spChg chg="mod">
          <ac:chgData name="Sam Mesel" userId="1ee7badb-5d1f-4872-89ae-dcf7b71f276a" providerId="ADAL" clId="{53886FC4-CEC3-49C2-A16F-E052A3E85A45}" dt="2020-03-19T15:38:50.443" v="5382" actId="208"/>
          <ac:spMkLst>
            <pc:docMk/>
            <pc:sldMk cId="2423425577" sldId="678"/>
            <ac:spMk id="25" creationId="{3D5A67BC-D026-4609-93EE-17ABE4CB0D1D}"/>
          </ac:spMkLst>
        </pc:spChg>
        <pc:spChg chg="mod">
          <ac:chgData name="Sam Mesel" userId="1ee7badb-5d1f-4872-89ae-dcf7b71f276a" providerId="ADAL" clId="{53886FC4-CEC3-49C2-A16F-E052A3E85A45}" dt="2020-03-19T15:38:50.443" v="5382" actId="208"/>
          <ac:spMkLst>
            <pc:docMk/>
            <pc:sldMk cId="2423425577" sldId="678"/>
            <ac:spMk id="26" creationId="{41E68A5B-1EF1-45D0-A012-5F65EFF20177}"/>
          </ac:spMkLst>
        </pc:spChg>
        <pc:spChg chg="mod">
          <ac:chgData name="Sam Mesel" userId="1ee7badb-5d1f-4872-89ae-dcf7b71f276a" providerId="ADAL" clId="{53886FC4-CEC3-49C2-A16F-E052A3E85A45}" dt="2020-03-19T15:38:43.656" v="5381" actId="208"/>
          <ac:spMkLst>
            <pc:docMk/>
            <pc:sldMk cId="2423425577" sldId="678"/>
            <ac:spMk id="29" creationId="{5D63D6A7-8D7B-4FD9-83C0-B663ED48C192}"/>
          </ac:spMkLst>
        </pc:spChg>
        <pc:spChg chg="mod">
          <ac:chgData name="Sam Mesel" userId="1ee7badb-5d1f-4872-89ae-dcf7b71f276a" providerId="ADAL" clId="{53886FC4-CEC3-49C2-A16F-E052A3E85A45}" dt="2020-03-19T15:38:43.656" v="5381" actId="208"/>
          <ac:spMkLst>
            <pc:docMk/>
            <pc:sldMk cId="2423425577" sldId="678"/>
            <ac:spMk id="30" creationId="{8A307C1D-FC2A-404D-BCC3-D783881A07A6}"/>
          </ac:spMkLst>
        </pc:spChg>
        <pc:spChg chg="mod">
          <ac:chgData name="Sam Mesel" userId="1ee7badb-5d1f-4872-89ae-dcf7b71f276a" providerId="ADAL" clId="{53886FC4-CEC3-49C2-A16F-E052A3E85A45}" dt="2020-03-19T15:38:43.656" v="5381" actId="208"/>
          <ac:spMkLst>
            <pc:docMk/>
            <pc:sldMk cId="2423425577" sldId="678"/>
            <ac:spMk id="31" creationId="{1291609C-A473-4239-BD6C-C8B06C2F270D}"/>
          </ac:spMkLst>
        </pc:spChg>
        <pc:spChg chg="mod">
          <ac:chgData name="Sam Mesel" userId="1ee7badb-5d1f-4872-89ae-dcf7b71f276a" providerId="ADAL" clId="{53886FC4-CEC3-49C2-A16F-E052A3E85A45}" dt="2020-03-19T15:38:43.656" v="5381" actId="208"/>
          <ac:spMkLst>
            <pc:docMk/>
            <pc:sldMk cId="2423425577" sldId="678"/>
            <ac:spMk id="32" creationId="{AD71447E-D126-4F75-B8C8-B761F5B234E6}"/>
          </ac:spMkLst>
        </pc:spChg>
        <pc:spChg chg="mod">
          <ac:chgData name="Sam Mesel" userId="1ee7badb-5d1f-4872-89ae-dcf7b71f276a" providerId="ADAL" clId="{53886FC4-CEC3-49C2-A16F-E052A3E85A45}" dt="2020-03-19T15:38:43.656" v="5381" actId="208"/>
          <ac:spMkLst>
            <pc:docMk/>
            <pc:sldMk cId="2423425577" sldId="678"/>
            <ac:spMk id="33" creationId="{6C3F08E2-045F-4F85-A1D1-F6B01B84E9C5}"/>
          </ac:spMkLst>
        </pc:spChg>
        <pc:spChg chg="mod">
          <ac:chgData name="Sam Mesel" userId="1ee7badb-5d1f-4872-89ae-dcf7b71f276a" providerId="ADAL" clId="{53886FC4-CEC3-49C2-A16F-E052A3E85A45}" dt="2020-03-19T15:38:43.656" v="5381" actId="208"/>
          <ac:spMkLst>
            <pc:docMk/>
            <pc:sldMk cId="2423425577" sldId="678"/>
            <ac:spMk id="34" creationId="{B0569EA0-42E6-4005-868D-18985E606C1D}"/>
          </ac:spMkLst>
        </pc:spChg>
        <pc:spChg chg="mod">
          <ac:chgData name="Sam Mesel" userId="1ee7badb-5d1f-4872-89ae-dcf7b71f276a" providerId="ADAL" clId="{53886FC4-CEC3-49C2-A16F-E052A3E85A45}" dt="2020-03-19T15:38:43.656" v="5381" actId="208"/>
          <ac:spMkLst>
            <pc:docMk/>
            <pc:sldMk cId="2423425577" sldId="678"/>
            <ac:spMk id="35" creationId="{EA3FC12F-14DA-45D6-93A5-00CB022E084E}"/>
          </ac:spMkLst>
        </pc:spChg>
        <pc:spChg chg="mod">
          <ac:chgData name="Sam Mesel" userId="1ee7badb-5d1f-4872-89ae-dcf7b71f276a" providerId="ADAL" clId="{53886FC4-CEC3-49C2-A16F-E052A3E85A45}" dt="2020-03-19T15:38:43.656" v="5381" actId="208"/>
          <ac:spMkLst>
            <pc:docMk/>
            <pc:sldMk cId="2423425577" sldId="678"/>
            <ac:spMk id="36" creationId="{8126CAB0-81B6-4C47-89AE-E103C61AE394}"/>
          </ac:spMkLst>
        </pc:spChg>
        <pc:spChg chg="mod">
          <ac:chgData name="Sam Mesel" userId="1ee7badb-5d1f-4872-89ae-dcf7b71f276a" providerId="ADAL" clId="{53886FC4-CEC3-49C2-A16F-E052A3E85A45}" dt="2020-03-19T15:39:31.751" v="5388" actId="208"/>
          <ac:spMkLst>
            <pc:docMk/>
            <pc:sldMk cId="2423425577" sldId="678"/>
            <ac:spMk id="37" creationId="{9BB94217-80CE-40B8-BDBA-478B2E76A843}"/>
          </ac:spMkLst>
        </pc:spChg>
        <pc:spChg chg="add">
          <ac:chgData name="Sam Mesel" userId="1ee7badb-5d1f-4872-89ae-dcf7b71f276a" providerId="ADAL" clId="{53886FC4-CEC3-49C2-A16F-E052A3E85A45}" dt="2020-03-11T03:11:02.787" v="3577"/>
          <ac:spMkLst>
            <pc:docMk/>
            <pc:sldMk cId="2423425577" sldId="678"/>
            <ac:spMk id="46" creationId="{02ED59ED-C897-45BD-B177-1E77D9BCF6CE}"/>
          </ac:spMkLst>
        </pc:spChg>
        <pc:spChg chg="add">
          <ac:chgData name="Sam Mesel" userId="1ee7badb-5d1f-4872-89ae-dcf7b71f276a" providerId="ADAL" clId="{53886FC4-CEC3-49C2-A16F-E052A3E85A45}" dt="2020-03-11T03:11:02.787" v="3577"/>
          <ac:spMkLst>
            <pc:docMk/>
            <pc:sldMk cId="2423425577" sldId="678"/>
            <ac:spMk id="47" creationId="{6EBAF503-1439-4CE9-ABA3-3235A3690DF1}"/>
          </ac:spMkLst>
        </pc:spChg>
        <pc:spChg chg="add mod">
          <ac:chgData name="Sam Mesel" userId="1ee7badb-5d1f-4872-89ae-dcf7b71f276a" providerId="ADAL" clId="{53886FC4-CEC3-49C2-A16F-E052A3E85A45}" dt="2020-03-19T15:38:04.394" v="5379" actId="208"/>
          <ac:spMkLst>
            <pc:docMk/>
            <pc:sldMk cId="2423425577" sldId="678"/>
            <ac:spMk id="48" creationId="{8BD3CB33-A79D-4CF8-BF28-16B7BCF07B02}"/>
          </ac:spMkLst>
        </pc:spChg>
        <pc:spChg chg="add mod">
          <ac:chgData name="Sam Mesel" userId="1ee7badb-5d1f-4872-89ae-dcf7b71f276a" providerId="ADAL" clId="{53886FC4-CEC3-49C2-A16F-E052A3E85A45}" dt="2020-03-11T22:20:27.371" v="3828" actId="20577"/>
          <ac:spMkLst>
            <pc:docMk/>
            <pc:sldMk cId="2423425577" sldId="678"/>
            <ac:spMk id="49" creationId="{A5C4CD31-C443-4104-9B21-CF43D9C846DB}"/>
          </ac:spMkLst>
        </pc:spChg>
        <pc:grpChg chg="add">
          <ac:chgData name="Sam Mesel" userId="1ee7badb-5d1f-4872-89ae-dcf7b71f276a" providerId="ADAL" clId="{53886FC4-CEC3-49C2-A16F-E052A3E85A45}" dt="2020-03-11T03:11:02.787" v="3577"/>
          <ac:grpSpMkLst>
            <pc:docMk/>
            <pc:sldMk cId="2423425577" sldId="678"/>
            <ac:grpSpMk id="7" creationId="{9236FAAC-07C2-4650-9EF4-9595031DD9DC}"/>
          </ac:grpSpMkLst>
        </pc:grpChg>
        <pc:grpChg chg="add">
          <ac:chgData name="Sam Mesel" userId="1ee7badb-5d1f-4872-89ae-dcf7b71f276a" providerId="ADAL" clId="{53886FC4-CEC3-49C2-A16F-E052A3E85A45}" dt="2020-03-11T03:11:02.787" v="3577"/>
          <ac:grpSpMkLst>
            <pc:docMk/>
            <pc:sldMk cId="2423425577" sldId="678"/>
            <ac:grpSpMk id="18" creationId="{CF2A9F90-94BA-4962-BB0B-463BDCC60D34}"/>
          </ac:grpSpMkLst>
        </pc:grpChg>
        <pc:grpChg chg="add">
          <ac:chgData name="Sam Mesel" userId="1ee7badb-5d1f-4872-89ae-dcf7b71f276a" providerId="ADAL" clId="{53886FC4-CEC3-49C2-A16F-E052A3E85A45}" dt="2020-03-11T03:11:02.787" v="3577"/>
          <ac:grpSpMkLst>
            <pc:docMk/>
            <pc:sldMk cId="2423425577" sldId="678"/>
            <ac:grpSpMk id="28" creationId="{2CB2C712-2B23-43AB-AABF-D0FDA92D4E8B}"/>
          </ac:grpSpMkLst>
        </pc:grpChg>
        <pc:grpChg chg="add">
          <ac:chgData name="Sam Mesel" userId="1ee7badb-5d1f-4872-89ae-dcf7b71f276a" providerId="ADAL" clId="{53886FC4-CEC3-49C2-A16F-E052A3E85A45}" dt="2020-03-11T03:11:02.787" v="3577"/>
          <ac:grpSpMkLst>
            <pc:docMk/>
            <pc:sldMk cId="2423425577" sldId="678"/>
            <ac:grpSpMk id="39" creationId="{666F6B1F-E545-4A82-8FBB-E2102D44A3D4}"/>
          </ac:grpSpMkLst>
        </pc:grpChg>
        <pc:cxnChg chg="add">
          <ac:chgData name="Sam Mesel" userId="1ee7badb-5d1f-4872-89ae-dcf7b71f276a" providerId="ADAL" clId="{53886FC4-CEC3-49C2-A16F-E052A3E85A45}" dt="2020-03-11T03:11:02.787" v="3577"/>
          <ac:cxnSpMkLst>
            <pc:docMk/>
            <pc:sldMk cId="2423425577" sldId="678"/>
            <ac:cxnSpMk id="16" creationId="{32EFFD0A-5488-4040-9E53-E4B179C92EAB}"/>
          </ac:cxnSpMkLst>
        </pc:cxnChg>
        <pc:cxnChg chg="add">
          <ac:chgData name="Sam Mesel" userId="1ee7badb-5d1f-4872-89ae-dcf7b71f276a" providerId="ADAL" clId="{53886FC4-CEC3-49C2-A16F-E052A3E85A45}" dt="2020-03-11T03:11:02.787" v="3577"/>
          <ac:cxnSpMkLst>
            <pc:docMk/>
            <pc:sldMk cId="2423425577" sldId="678"/>
            <ac:cxnSpMk id="17" creationId="{2EE16880-12F3-4789-BEF0-E7C7A7AC44C6}"/>
          </ac:cxnSpMkLst>
        </pc:cxnChg>
        <pc:cxnChg chg="add mod">
          <ac:chgData name="Sam Mesel" userId="1ee7badb-5d1f-4872-89ae-dcf7b71f276a" providerId="ADAL" clId="{53886FC4-CEC3-49C2-A16F-E052A3E85A45}" dt="2020-03-19T15:38:27.110" v="5380" actId="208"/>
          <ac:cxnSpMkLst>
            <pc:docMk/>
            <pc:sldMk cId="2423425577" sldId="678"/>
            <ac:cxnSpMk id="27" creationId="{A3C78F01-CCCB-43FD-A7CE-CC6351B87601}"/>
          </ac:cxnSpMkLst>
        </pc:cxnChg>
        <pc:cxnChg chg="add mod">
          <ac:chgData name="Sam Mesel" userId="1ee7badb-5d1f-4872-89ae-dcf7b71f276a" providerId="ADAL" clId="{53886FC4-CEC3-49C2-A16F-E052A3E85A45}" dt="2020-03-19T15:38:27.110" v="5380" actId="208"/>
          <ac:cxnSpMkLst>
            <pc:docMk/>
            <pc:sldMk cId="2423425577" sldId="678"/>
            <ac:cxnSpMk id="38" creationId="{93B0AB7F-81B8-473F-8A9D-9E8637DEC4FC}"/>
          </ac:cxnSpMkLst>
        </pc:cxnChg>
        <pc:cxnChg chg="add mod">
          <ac:chgData name="Sam Mesel" userId="1ee7badb-5d1f-4872-89ae-dcf7b71f276a" providerId="ADAL" clId="{53886FC4-CEC3-49C2-A16F-E052A3E85A45}" dt="2020-03-19T15:38:27.110" v="5380" actId="208"/>
          <ac:cxnSpMkLst>
            <pc:docMk/>
            <pc:sldMk cId="2423425577" sldId="678"/>
            <ac:cxnSpMk id="44" creationId="{DCEB1710-76D1-4361-9BD2-0E3C840C626F}"/>
          </ac:cxnSpMkLst>
        </pc:cxnChg>
        <pc:cxnChg chg="add mod">
          <ac:chgData name="Sam Mesel" userId="1ee7badb-5d1f-4872-89ae-dcf7b71f276a" providerId="ADAL" clId="{53886FC4-CEC3-49C2-A16F-E052A3E85A45}" dt="2020-03-19T15:38:27.110" v="5380" actId="208"/>
          <ac:cxnSpMkLst>
            <pc:docMk/>
            <pc:sldMk cId="2423425577" sldId="678"/>
            <ac:cxnSpMk id="45" creationId="{9F4606B6-F5A7-4CDA-B805-63259B6EB4C0}"/>
          </ac:cxnSpMkLst>
        </pc:cxnChg>
      </pc:sldChg>
      <pc:sldChg chg="addSp delSp modSp new mod modAnim">
        <pc:chgData name="Sam Mesel" userId="1ee7badb-5d1f-4872-89ae-dcf7b71f276a" providerId="ADAL" clId="{53886FC4-CEC3-49C2-A16F-E052A3E85A45}" dt="2020-03-19T15:46:12.514" v="5449" actId="6549"/>
        <pc:sldMkLst>
          <pc:docMk/>
          <pc:sldMk cId="3736628029" sldId="679"/>
        </pc:sldMkLst>
        <pc:spChg chg="mod">
          <ac:chgData name="Sam Mesel" userId="1ee7badb-5d1f-4872-89ae-dcf7b71f276a" providerId="ADAL" clId="{53886FC4-CEC3-49C2-A16F-E052A3E85A45}" dt="2020-03-19T15:46:03.983" v="5447" actId="20577"/>
          <ac:spMkLst>
            <pc:docMk/>
            <pc:sldMk cId="3736628029" sldId="679"/>
            <ac:spMk id="2" creationId="{527A175F-ACE6-4CA1-80E7-783D16EADB33}"/>
          </ac:spMkLst>
        </pc:spChg>
        <pc:spChg chg="mod">
          <ac:chgData name="Sam Mesel" userId="1ee7badb-5d1f-4872-89ae-dcf7b71f276a" providerId="ADAL" clId="{53886FC4-CEC3-49C2-A16F-E052A3E85A45}" dt="2020-03-19T15:46:12.514" v="5449" actId="6549"/>
          <ac:spMkLst>
            <pc:docMk/>
            <pc:sldMk cId="3736628029" sldId="679"/>
            <ac:spMk id="3" creationId="{6FAD9CA5-4663-496C-BF00-E0E407289D47}"/>
          </ac:spMkLst>
        </pc:spChg>
        <pc:spChg chg="add mod">
          <ac:chgData name="Sam Mesel" userId="1ee7badb-5d1f-4872-89ae-dcf7b71f276a" providerId="ADAL" clId="{53886FC4-CEC3-49C2-A16F-E052A3E85A45}" dt="2020-03-11T22:47:17.010" v="3952" actId="1076"/>
          <ac:spMkLst>
            <pc:docMk/>
            <pc:sldMk cId="3736628029" sldId="679"/>
            <ac:spMk id="4" creationId="{46D817A7-F84C-4E23-AFCC-BAAF2E87BE27}"/>
          </ac:spMkLst>
        </pc:spChg>
        <pc:spChg chg="del">
          <ac:chgData name="Sam Mesel" userId="1ee7badb-5d1f-4872-89ae-dcf7b71f276a" providerId="ADAL" clId="{53886FC4-CEC3-49C2-A16F-E052A3E85A45}" dt="2020-03-11T03:15:23.262" v="3644" actId="478"/>
          <ac:spMkLst>
            <pc:docMk/>
            <pc:sldMk cId="3736628029" sldId="679"/>
            <ac:spMk id="4" creationId="{61DC524C-A256-407E-B611-F888295B8578}"/>
          </ac:spMkLst>
        </pc:spChg>
        <pc:spChg chg="add">
          <ac:chgData name="Sam Mesel" userId="1ee7badb-5d1f-4872-89ae-dcf7b71f276a" providerId="ADAL" clId="{53886FC4-CEC3-49C2-A16F-E052A3E85A45}" dt="2020-03-11T03:15:53.484" v="3645"/>
          <ac:spMkLst>
            <pc:docMk/>
            <pc:sldMk cId="3736628029" sldId="679"/>
            <ac:spMk id="15" creationId="{D6DAD6CB-0F99-49B6-863E-A4E63613FFE5}"/>
          </ac:spMkLst>
        </pc:spChg>
        <pc:spChg chg="add">
          <ac:chgData name="Sam Mesel" userId="1ee7badb-5d1f-4872-89ae-dcf7b71f276a" providerId="ADAL" clId="{53886FC4-CEC3-49C2-A16F-E052A3E85A45}" dt="2020-03-11T03:15:53.484" v="3645"/>
          <ac:spMkLst>
            <pc:docMk/>
            <pc:sldMk cId="3736628029" sldId="679"/>
            <ac:spMk id="16" creationId="{5A78A5F8-BD91-4CAD-976F-084EDA84904F}"/>
          </ac:spMkLst>
        </pc:spChg>
        <pc:spChg chg="add">
          <ac:chgData name="Sam Mesel" userId="1ee7badb-5d1f-4872-89ae-dcf7b71f276a" providerId="ADAL" clId="{53886FC4-CEC3-49C2-A16F-E052A3E85A45}" dt="2020-03-11T03:15:53.484" v="3645"/>
          <ac:spMkLst>
            <pc:docMk/>
            <pc:sldMk cId="3736628029" sldId="679"/>
            <ac:spMk id="17" creationId="{F7877A32-C71A-4380-B919-DF5495FBB4E6}"/>
          </ac:spMkLst>
        </pc:spChg>
        <pc:spChg chg="add">
          <ac:chgData name="Sam Mesel" userId="1ee7badb-5d1f-4872-89ae-dcf7b71f276a" providerId="ADAL" clId="{53886FC4-CEC3-49C2-A16F-E052A3E85A45}" dt="2020-03-11T03:15:53.484" v="3645"/>
          <ac:spMkLst>
            <pc:docMk/>
            <pc:sldMk cId="3736628029" sldId="679"/>
            <ac:spMk id="18" creationId="{F8E1FE6A-2BC8-4DAB-80A2-6F12B68FFC4A}"/>
          </ac:spMkLst>
        </pc:spChg>
        <pc:spChg chg="mod">
          <ac:chgData name="Sam Mesel" userId="1ee7badb-5d1f-4872-89ae-dcf7b71f276a" providerId="ADAL" clId="{53886FC4-CEC3-49C2-A16F-E052A3E85A45}" dt="2020-03-19T15:44:23.054" v="5432" actId="207"/>
          <ac:spMkLst>
            <pc:docMk/>
            <pc:sldMk cId="3736628029" sldId="679"/>
            <ac:spMk id="24" creationId="{DEB34D4E-BE66-4097-96BD-DC1E185F354F}"/>
          </ac:spMkLst>
        </pc:spChg>
        <pc:spChg chg="mod">
          <ac:chgData name="Sam Mesel" userId="1ee7badb-5d1f-4872-89ae-dcf7b71f276a" providerId="ADAL" clId="{53886FC4-CEC3-49C2-A16F-E052A3E85A45}" dt="2020-03-19T15:43:55.399" v="5427" actId="208"/>
          <ac:spMkLst>
            <pc:docMk/>
            <pc:sldMk cId="3736628029" sldId="679"/>
            <ac:spMk id="25" creationId="{D21CB96D-91FA-4022-B44C-369D08A79E8E}"/>
          </ac:spMkLst>
        </pc:spChg>
        <pc:spChg chg="mod">
          <ac:chgData name="Sam Mesel" userId="1ee7badb-5d1f-4872-89ae-dcf7b71f276a" providerId="ADAL" clId="{53886FC4-CEC3-49C2-A16F-E052A3E85A45}" dt="2020-03-19T15:43:55.399" v="5427" actId="208"/>
          <ac:spMkLst>
            <pc:docMk/>
            <pc:sldMk cId="3736628029" sldId="679"/>
            <ac:spMk id="26" creationId="{D6FE7BE8-0554-4092-B172-3392C8D811C2}"/>
          </ac:spMkLst>
        </pc:spChg>
        <pc:spChg chg="mod">
          <ac:chgData name="Sam Mesel" userId="1ee7badb-5d1f-4872-89ae-dcf7b71f276a" providerId="ADAL" clId="{53886FC4-CEC3-49C2-A16F-E052A3E85A45}" dt="2020-03-19T15:43:55.399" v="5427" actId="208"/>
          <ac:spMkLst>
            <pc:docMk/>
            <pc:sldMk cId="3736628029" sldId="679"/>
            <ac:spMk id="27" creationId="{B07D9E59-CB56-47D5-85EC-399EC5850E97}"/>
          </ac:spMkLst>
        </pc:spChg>
        <pc:spChg chg="mod">
          <ac:chgData name="Sam Mesel" userId="1ee7badb-5d1f-4872-89ae-dcf7b71f276a" providerId="ADAL" clId="{53886FC4-CEC3-49C2-A16F-E052A3E85A45}" dt="2020-03-19T15:43:55.399" v="5427" actId="208"/>
          <ac:spMkLst>
            <pc:docMk/>
            <pc:sldMk cId="3736628029" sldId="679"/>
            <ac:spMk id="28" creationId="{2B958C81-658A-49B1-8833-BB3007E2F525}"/>
          </ac:spMkLst>
        </pc:spChg>
        <pc:spChg chg="mod">
          <ac:chgData name="Sam Mesel" userId="1ee7badb-5d1f-4872-89ae-dcf7b71f276a" providerId="ADAL" clId="{53886FC4-CEC3-49C2-A16F-E052A3E85A45}" dt="2020-03-19T15:43:55.399" v="5427" actId="208"/>
          <ac:spMkLst>
            <pc:docMk/>
            <pc:sldMk cId="3736628029" sldId="679"/>
            <ac:spMk id="29" creationId="{9464D36D-3801-4658-9CEC-FCC4BD8DCDFD}"/>
          </ac:spMkLst>
        </pc:spChg>
        <pc:spChg chg="mod">
          <ac:chgData name="Sam Mesel" userId="1ee7badb-5d1f-4872-89ae-dcf7b71f276a" providerId="ADAL" clId="{53886FC4-CEC3-49C2-A16F-E052A3E85A45}" dt="2020-03-19T15:43:55.399" v="5427" actId="208"/>
          <ac:spMkLst>
            <pc:docMk/>
            <pc:sldMk cId="3736628029" sldId="679"/>
            <ac:spMk id="30" creationId="{C0C3EE50-6A52-4158-9067-16AFD4DF6572}"/>
          </ac:spMkLst>
        </pc:spChg>
        <pc:spChg chg="mod">
          <ac:chgData name="Sam Mesel" userId="1ee7badb-5d1f-4872-89ae-dcf7b71f276a" providerId="ADAL" clId="{53886FC4-CEC3-49C2-A16F-E052A3E85A45}" dt="2020-03-19T15:44:01.644" v="5428" actId="208"/>
          <ac:spMkLst>
            <pc:docMk/>
            <pc:sldMk cId="3736628029" sldId="679"/>
            <ac:spMk id="34" creationId="{86342C4D-85CA-460A-B036-61CB2BFBE448}"/>
          </ac:spMkLst>
        </pc:spChg>
        <pc:spChg chg="mod">
          <ac:chgData name="Sam Mesel" userId="1ee7badb-5d1f-4872-89ae-dcf7b71f276a" providerId="ADAL" clId="{53886FC4-CEC3-49C2-A16F-E052A3E85A45}" dt="2020-03-19T15:44:01.644" v="5428" actId="208"/>
          <ac:spMkLst>
            <pc:docMk/>
            <pc:sldMk cId="3736628029" sldId="679"/>
            <ac:spMk id="35" creationId="{8F037B01-2DC1-408A-A3DD-4F49F494D7E4}"/>
          </ac:spMkLst>
        </pc:spChg>
        <pc:spChg chg="mod">
          <ac:chgData name="Sam Mesel" userId="1ee7badb-5d1f-4872-89ae-dcf7b71f276a" providerId="ADAL" clId="{53886FC4-CEC3-49C2-A16F-E052A3E85A45}" dt="2020-03-19T15:44:01.644" v="5428" actId="208"/>
          <ac:spMkLst>
            <pc:docMk/>
            <pc:sldMk cId="3736628029" sldId="679"/>
            <ac:spMk id="36" creationId="{6F23DDB7-BE81-4874-8801-1EE8644C6A2A}"/>
          </ac:spMkLst>
        </pc:spChg>
        <pc:spChg chg="mod">
          <ac:chgData name="Sam Mesel" userId="1ee7badb-5d1f-4872-89ae-dcf7b71f276a" providerId="ADAL" clId="{53886FC4-CEC3-49C2-A16F-E052A3E85A45}" dt="2020-03-19T15:44:01.644" v="5428" actId="208"/>
          <ac:spMkLst>
            <pc:docMk/>
            <pc:sldMk cId="3736628029" sldId="679"/>
            <ac:spMk id="37" creationId="{6A590AAA-3CD4-4231-8D7B-84434FC65976}"/>
          </ac:spMkLst>
        </pc:spChg>
        <pc:spChg chg="mod">
          <ac:chgData name="Sam Mesel" userId="1ee7badb-5d1f-4872-89ae-dcf7b71f276a" providerId="ADAL" clId="{53886FC4-CEC3-49C2-A16F-E052A3E85A45}" dt="2020-03-19T15:44:01.644" v="5428" actId="208"/>
          <ac:spMkLst>
            <pc:docMk/>
            <pc:sldMk cId="3736628029" sldId="679"/>
            <ac:spMk id="38" creationId="{DC17CFDE-7494-4800-8F8F-1533134EE1D2}"/>
          </ac:spMkLst>
        </pc:spChg>
        <pc:spChg chg="mod">
          <ac:chgData name="Sam Mesel" userId="1ee7badb-5d1f-4872-89ae-dcf7b71f276a" providerId="ADAL" clId="{53886FC4-CEC3-49C2-A16F-E052A3E85A45}" dt="2020-03-19T15:44:01.644" v="5428" actId="208"/>
          <ac:spMkLst>
            <pc:docMk/>
            <pc:sldMk cId="3736628029" sldId="679"/>
            <ac:spMk id="39" creationId="{E6B14D61-BFED-415A-B7C9-F9FA30875245}"/>
          </ac:spMkLst>
        </pc:spChg>
        <pc:spChg chg="mod">
          <ac:chgData name="Sam Mesel" userId="1ee7badb-5d1f-4872-89ae-dcf7b71f276a" providerId="ADAL" clId="{53886FC4-CEC3-49C2-A16F-E052A3E85A45}" dt="2020-03-19T15:44:01.644" v="5428" actId="208"/>
          <ac:spMkLst>
            <pc:docMk/>
            <pc:sldMk cId="3736628029" sldId="679"/>
            <ac:spMk id="40" creationId="{F26CCEF9-09F5-4317-9506-77D08DD207F5}"/>
          </ac:spMkLst>
        </pc:spChg>
        <pc:spChg chg="mod">
          <ac:chgData name="Sam Mesel" userId="1ee7badb-5d1f-4872-89ae-dcf7b71f276a" providerId="ADAL" clId="{53886FC4-CEC3-49C2-A16F-E052A3E85A45}" dt="2020-03-19T15:44:01.644" v="5428" actId="208"/>
          <ac:spMkLst>
            <pc:docMk/>
            <pc:sldMk cId="3736628029" sldId="679"/>
            <ac:spMk id="41" creationId="{F005A197-444A-4312-A99B-3C53F5EEA9F9}"/>
          </ac:spMkLst>
        </pc:spChg>
        <pc:spChg chg="mod">
          <ac:chgData name="Sam Mesel" userId="1ee7badb-5d1f-4872-89ae-dcf7b71f276a" providerId="ADAL" clId="{53886FC4-CEC3-49C2-A16F-E052A3E85A45}" dt="2020-03-19T15:44:18.270" v="5431" actId="207"/>
          <ac:spMkLst>
            <pc:docMk/>
            <pc:sldMk cId="3736628029" sldId="679"/>
            <ac:spMk id="42" creationId="{A767A2BF-33A6-4B07-A96A-4CCEE9A2E8FB}"/>
          </ac:spMkLst>
        </pc:spChg>
        <pc:spChg chg="add">
          <ac:chgData name="Sam Mesel" userId="1ee7badb-5d1f-4872-89ae-dcf7b71f276a" providerId="ADAL" clId="{53886FC4-CEC3-49C2-A16F-E052A3E85A45}" dt="2020-03-11T03:15:53.484" v="3645"/>
          <ac:spMkLst>
            <pc:docMk/>
            <pc:sldMk cId="3736628029" sldId="679"/>
            <ac:spMk id="43" creationId="{8196D690-0DBF-46D8-A38D-B99BC4A5B4CA}"/>
          </ac:spMkLst>
        </pc:spChg>
        <pc:spChg chg="add">
          <ac:chgData name="Sam Mesel" userId="1ee7badb-5d1f-4872-89ae-dcf7b71f276a" providerId="ADAL" clId="{53886FC4-CEC3-49C2-A16F-E052A3E85A45}" dt="2020-03-11T03:15:53.484" v="3645"/>
          <ac:spMkLst>
            <pc:docMk/>
            <pc:sldMk cId="3736628029" sldId="679"/>
            <ac:spMk id="61" creationId="{F29D399A-6FB4-4D9D-8AB1-19DAECFDC9E0}"/>
          </ac:spMkLst>
        </pc:spChg>
        <pc:spChg chg="add">
          <ac:chgData name="Sam Mesel" userId="1ee7badb-5d1f-4872-89ae-dcf7b71f276a" providerId="ADAL" clId="{53886FC4-CEC3-49C2-A16F-E052A3E85A45}" dt="2020-03-11T03:15:53.484" v="3645"/>
          <ac:spMkLst>
            <pc:docMk/>
            <pc:sldMk cId="3736628029" sldId="679"/>
            <ac:spMk id="62" creationId="{6026A7F6-99D2-4CE3-A3BC-29891D967FB1}"/>
          </ac:spMkLst>
        </pc:spChg>
        <pc:spChg chg="add mod">
          <ac:chgData name="Sam Mesel" userId="1ee7badb-5d1f-4872-89ae-dcf7b71f276a" providerId="ADAL" clId="{53886FC4-CEC3-49C2-A16F-E052A3E85A45}" dt="2020-03-11T22:48:31.161" v="3964" actId="1037"/>
          <ac:spMkLst>
            <pc:docMk/>
            <pc:sldMk cId="3736628029" sldId="679"/>
            <ac:spMk id="63" creationId="{607D2292-2D43-4C61-B3B1-47B7B69BF369}"/>
          </ac:spMkLst>
        </pc:spChg>
        <pc:spChg chg="add mod">
          <ac:chgData name="Sam Mesel" userId="1ee7badb-5d1f-4872-89ae-dcf7b71f276a" providerId="ADAL" clId="{53886FC4-CEC3-49C2-A16F-E052A3E85A45}" dt="2020-03-11T22:42:47.384" v="3934" actId="1037"/>
          <ac:spMkLst>
            <pc:docMk/>
            <pc:sldMk cId="3736628029" sldId="679"/>
            <ac:spMk id="64" creationId="{A9264292-F9FA-4569-9EE5-6F6CF1C7EE7A}"/>
          </ac:spMkLst>
        </pc:spChg>
        <pc:spChg chg="add mod">
          <ac:chgData name="Sam Mesel" userId="1ee7badb-5d1f-4872-89ae-dcf7b71f276a" providerId="ADAL" clId="{53886FC4-CEC3-49C2-A16F-E052A3E85A45}" dt="2020-03-11T22:48:45.422" v="3966" actId="1037"/>
          <ac:spMkLst>
            <pc:docMk/>
            <pc:sldMk cId="3736628029" sldId="679"/>
            <ac:spMk id="74" creationId="{D64D98F3-998E-4F83-8F25-4B2A10FC174E}"/>
          </ac:spMkLst>
        </pc:spChg>
        <pc:spChg chg="add mod">
          <ac:chgData name="Sam Mesel" userId="1ee7badb-5d1f-4872-89ae-dcf7b71f276a" providerId="ADAL" clId="{53886FC4-CEC3-49C2-A16F-E052A3E85A45}" dt="2020-03-11T23:29:20.888" v="3978" actId="1076"/>
          <ac:spMkLst>
            <pc:docMk/>
            <pc:sldMk cId="3736628029" sldId="679"/>
            <ac:spMk id="77" creationId="{78449FEB-1926-4A87-9CDA-44458D7F7FA3}"/>
          </ac:spMkLst>
        </pc:spChg>
        <pc:grpChg chg="add">
          <ac:chgData name="Sam Mesel" userId="1ee7badb-5d1f-4872-89ae-dcf7b71f276a" providerId="ADAL" clId="{53886FC4-CEC3-49C2-A16F-E052A3E85A45}" dt="2020-03-11T03:15:53.484" v="3645"/>
          <ac:grpSpMkLst>
            <pc:docMk/>
            <pc:sldMk cId="3736628029" sldId="679"/>
            <ac:grpSpMk id="5" creationId="{BA19EA14-7146-495F-822B-D73E0332E081}"/>
          </ac:grpSpMkLst>
        </pc:grpChg>
        <pc:grpChg chg="add">
          <ac:chgData name="Sam Mesel" userId="1ee7badb-5d1f-4872-89ae-dcf7b71f276a" providerId="ADAL" clId="{53886FC4-CEC3-49C2-A16F-E052A3E85A45}" dt="2020-03-11T03:15:53.484" v="3645"/>
          <ac:grpSpMkLst>
            <pc:docMk/>
            <pc:sldMk cId="3736628029" sldId="679"/>
            <ac:grpSpMk id="10" creationId="{24948AB6-288F-4F90-AABD-E6DC8E90135B}"/>
          </ac:grpSpMkLst>
        </pc:grpChg>
        <pc:grpChg chg="add mod">
          <ac:chgData name="Sam Mesel" userId="1ee7badb-5d1f-4872-89ae-dcf7b71f276a" providerId="ADAL" clId="{53886FC4-CEC3-49C2-A16F-E052A3E85A45}" dt="2020-03-11T22:42:47.384" v="3934" actId="1037"/>
          <ac:grpSpMkLst>
            <pc:docMk/>
            <pc:sldMk cId="3736628029" sldId="679"/>
            <ac:grpSpMk id="22" creationId="{6D5913BB-8409-42E5-8953-2CEE491198D7}"/>
          </ac:grpSpMkLst>
        </pc:grpChg>
        <pc:grpChg chg="add">
          <ac:chgData name="Sam Mesel" userId="1ee7badb-5d1f-4872-89ae-dcf7b71f276a" providerId="ADAL" clId="{53886FC4-CEC3-49C2-A16F-E052A3E85A45}" dt="2020-03-11T03:15:53.484" v="3645"/>
          <ac:grpSpMkLst>
            <pc:docMk/>
            <pc:sldMk cId="3736628029" sldId="679"/>
            <ac:grpSpMk id="33" creationId="{DE577633-2230-48E2-AB20-2EB948EABCB4}"/>
          </ac:grpSpMkLst>
        </pc:grpChg>
        <pc:grpChg chg="add">
          <ac:chgData name="Sam Mesel" userId="1ee7badb-5d1f-4872-89ae-dcf7b71f276a" providerId="ADAL" clId="{53886FC4-CEC3-49C2-A16F-E052A3E85A45}" dt="2020-03-11T03:15:53.484" v="3645"/>
          <ac:grpSpMkLst>
            <pc:docMk/>
            <pc:sldMk cId="3736628029" sldId="679"/>
            <ac:grpSpMk id="44" creationId="{75B2D7CB-FF8E-4BE6-B14D-8CFF647E5F6F}"/>
          </ac:grpSpMkLst>
        </pc:grpChg>
        <pc:grpChg chg="add">
          <ac:chgData name="Sam Mesel" userId="1ee7badb-5d1f-4872-89ae-dcf7b71f276a" providerId="ADAL" clId="{53886FC4-CEC3-49C2-A16F-E052A3E85A45}" dt="2020-03-11T03:15:53.484" v="3645"/>
          <ac:grpSpMkLst>
            <pc:docMk/>
            <pc:sldMk cId="3736628029" sldId="679"/>
            <ac:grpSpMk id="51" creationId="{0095A8B9-B002-414D-8112-BE3BCEED9992}"/>
          </ac:grpSpMkLst>
        </pc:grpChg>
        <pc:cxnChg chg="add">
          <ac:chgData name="Sam Mesel" userId="1ee7badb-5d1f-4872-89ae-dcf7b71f276a" providerId="ADAL" clId="{53886FC4-CEC3-49C2-A16F-E052A3E85A45}" dt="2020-03-11T03:15:53.484" v="3645"/>
          <ac:cxnSpMkLst>
            <pc:docMk/>
            <pc:sldMk cId="3736628029" sldId="679"/>
            <ac:cxnSpMk id="19" creationId="{0B5AA637-BF26-48A7-9562-3803A53DDE8C}"/>
          </ac:cxnSpMkLst>
        </pc:cxnChg>
        <pc:cxnChg chg="add">
          <ac:chgData name="Sam Mesel" userId="1ee7badb-5d1f-4872-89ae-dcf7b71f276a" providerId="ADAL" clId="{53886FC4-CEC3-49C2-A16F-E052A3E85A45}" dt="2020-03-11T03:15:53.484" v="3645"/>
          <ac:cxnSpMkLst>
            <pc:docMk/>
            <pc:sldMk cId="3736628029" sldId="679"/>
            <ac:cxnSpMk id="20" creationId="{427F99BA-7FEE-4CC6-8E23-0F4E7BE97A0F}"/>
          </ac:cxnSpMkLst>
        </pc:cxnChg>
        <pc:cxnChg chg="add mod">
          <ac:chgData name="Sam Mesel" userId="1ee7badb-5d1f-4872-89ae-dcf7b71f276a" providerId="ADAL" clId="{53886FC4-CEC3-49C2-A16F-E052A3E85A45}" dt="2020-03-19T15:45:15.969" v="5439" actId="208"/>
          <ac:cxnSpMkLst>
            <pc:docMk/>
            <pc:sldMk cId="3736628029" sldId="679"/>
            <ac:cxnSpMk id="21" creationId="{6DF6837F-67EB-44B3-A7C3-91D83F172F88}"/>
          </ac:cxnSpMkLst>
        </pc:cxnChg>
        <pc:cxnChg chg="add mod">
          <ac:chgData name="Sam Mesel" userId="1ee7badb-5d1f-4872-89ae-dcf7b71f276a" providerId="ADAL" clId="{53886FC4-CEC3-49C2-A16F-E052A3E85A45}" dt="2020-03-19T15:44:53.867" v="5433" actId="208"/>
          <ac:cxnSpMkLst>
            <pc:docMk/>
            <pc:sldMk cId="3736628029" sldId="679"/>
            <ac:cxnSpMk id="31" creationId="{162D83F1-79EA-44D7-8E2C-5C777C8ED1E9}"/>
          </ac:cxnSpMkLst>
        </pc:cxnChg>
        <pc:cxnChg chg="add mod">
          <ac:chgData name="Sam Mesel" userId="1ee7badb-5d1f-4872-89ae-dcf7b71f276a" providerId="ADAL" clId="{53886FC4-CEC3-49C2-A16F-E052A3E85A45}" dt="2020-03-19T15:44:59.761" v="5434" actId="208"/>
          <ac:cxnSpMkLst>
            <pc:docMk/>
            <pc:sldMk cId="3736628029" sldId="679"/>
            <ac:cxnSpMk id="32" creationId="{48554B5A-07BB-4402-8E9A-66BC0F107C5D}"/>
          </ac:cxnSpMkLst>
        </pc:cxnChg>
        <pc:cxnChg chg="add mod">
          <ac:chgData name="Sam Mesel" userId="1ee7badb-5d1f-4872-89ae-dcf7b71f276a" providerId="ADAL" clId="{53886FC4-CEC3-49C2-A16F-E052A3E85A45}" dt="2020-03-19T15:45:10.286" v="5437" actId="208"/>
          <ac:cxnSpMkLst>
            <pc:docMk/>
            <pc:sldMk cId="3736628029" sldId="679"/>
            <ac:cxnSpMk id="49" creationId="{1BF2B102-EBCA-4CB3-B98B-8559B3539526}"/>
          </ac:cxnSpMkLst>
        </pc:cxnChg>
        <pc:cxnChg chg="add mod">
          <ac:chgData name="Sam Mesel" userId="1ee7badb-5d1f-4872-89ae-dcf7b71f276a" providerId="ADAL" clId="{53886FC4-CEC3-49C2-A16F-E052A3E85A45}" dt="2020-03-19T15:45:11.672" v="5438" actId="208"/>
          <ac:cxnSpMkLst>
            <pc:docMk/>
            <pc:sldMk cId="3736628029" sldId="679"/>
            <ac:cxnSpMk id="50" creationId="{96F6B9F4-E9E4-44A4-9F4B-2CE83B6C1DC7}"/>
          </ac:cxnSpMkLst>
        </pc:cxnChg>
        <pc:cxnChg chg="add mod">
          <ac:chgData name="Sam Mesel" userId="1ee7badb-5d1f-4872-89ae-dcf7b71f276a" providerId="ADAL" clId="{53886FC4-CEC3-49C2-A16F-E052A3E85A45}" dt="2020-03-19T15:45:26.003" v="5440" actId="208"/>
          <ac:cxnSpMkLst>
            <pc:docMk/>
            <pc:sldMk cId="3736628029" sldId="679"/>
            <ac:cxnSpMk id="56" creationId="{7003EF3A-2A81-4BEA-A22F-584237A61985}"/>
          </ac:cxnSpMkLst>
        </pc:cxnChg>
        <pc:cxnChg chg="add">
          <ac:chgData name="Sam Mesel" userId="1ee7badb-5d1f-4872-89ae-dcf7b71f276a" providerId="ADAL" clId="{53886FC4-CEC3-49C2-A16F-E052A3E85A45}" dt="2020-03-11T03:15:53.484" v="3645"/>
          <ac:cxnSpMkLst>
            <pc:docMk/>
            <pc:sldMk cId="3736628029" sldId="679"/>
            <ac:cxnSpMk id="57" creationId="{64674A08-8508-42C8-A131-EF9B8A4B933D}"/>
          </ac:cxnSpMkLst>
        </pc:cxnChg>
        <pc:cxnChg chg="add mod">
          <ac:chgData name="Sam Mesel" userId="1ee7badb-5d1f-4872-89ae-dcf7b71f276a" providerId="ADAL" clId="{53886FC4-CEC3-49C2-A16F-E052A3E85A45}" dt="2020-03-19T15:45:28.891" v="5441" actId="208"/>
          <ac:cxnSpMkLst>
            <pc:docMk/>
            <pc:sldMk cId="3736628029" sldId="679"/>
            <ac:cxnSpMk id="58" creationId="{BEC62FF0-07C1-404E-9481-19005141DDD4}"/>
          </ac:cxnSpMkLst>
        </pc:cxnChg>
        <pc:cxnChg chg="add mod">
          <ac:chgData name="Sam Mesel" userId="1ee7badb-5d1f-4872-89ae-dcf7b71f276a" providerId="ADAL" clId="{53886FC4-CEC3-49C2-A16F-E052A3E85A45}" dt="2020-03-19T15:45:31.644" v="5442" actId="208"/>
          <ac:cxnSpMkLst>
            <pc:docMk/>
            <pc:sldMk cId="3736628029" sldId="679"/>
            <ac:cxnSpMk id="59" creationId="{E2642FCD-A067-4B54-B9D6-7FF6D0E95CBB}"/>
          </ac:cxnSpMkLst>
        </pc:cxnChg>
        <pc:cxnChg chg="add mod">
          <ac:chgData name="Sam Mesel" userId="1ee7badb-5d1f-4872-89ae-dcf7b71f276a" providerId="ADAL" clId="{53886FC4-CEC3-49C2-A16F-E052A3E85A45}" dt="2020-03-19T15:45:06.643" v="5436" actId="208"/>
          <ac:cxnSpMkLst>
            <pc:docMk/>
            <pc:sldMk cId="3736628029" sldId="679"/>
            <ac:cxnSpMk id="60" creationId="{9C63A1B7-CA24-4D04-8E44-5A9F9C94974C}"/>
          </ac:cxnSpMkLst>
        </pc:cxnChg>
        <pc:cxnChg chg="add mod">
          <ac:chgData name="Sam Mesel" userId="1ee7badb-5d1f-4872-89ae-dcf7b71f276a" providerId="ADAL" clId="{53886FC4-CEC3-49C2-A16F-E052A3E85A45}" dt="2020-03-19T15:45:33.932" v="5443" actId="208"/>
          <ac:cxnSpMkLst>
            <pc:docMk/>
            <pc:sldMk cId="3736628029" sldId="679"/>
            <ac:cxnSpMk id="75" creationId="{061806F9-E485-4210-91E2-E8F7F429563A}"/>
          </ac:cxnSpMkLst>
        </pc:cxnChg>
      </pc:sldChg>
      <pc:sldChg chg="modSp add mod modNotesTx">
        <pc:chgData name="Sam Mesel" userId="1ee7badb-5d1f-4872-89ae-dcf7b71f276a" providerId="ADAL" clId="{53886FC4-CEC3-49C2-A16F-E052A3E85A45}" dt="2020-03-19T17:28:12.561" v="7614" actId="20577"/>
        <pc:sldMkLst>
          <pc:docMk/>
          <pc:sldMk cId="3179011032" sldId="680"/>
        </pc:sldMkLst>
        <pc:spChg chg="mod">
          <ac:chgData name="Sam Mesel" userId="1ee7badb-5d1f-4872-89ae-dcf7b71f276a" providerId="ADAL" clId="{53886FC4-CEC3-49C2-A16F-E052A3E85A45}" dt="2020-03-19T17:27:46.941" v="7597" actId="6549"/>
          <ac:spMkLst>
            <pc:docMk/>
            <pc:sldMk cId="3179011032" sldId="680"/>
            <ac:spMk id="6" creationId="{637E159C-9ACF-48AE-927A-D5FB13695C7F}"/>
          </ac:spMkLst>
        </pc:spChg>
      </pc:sldChg>
      <pc:sldChg chg="addSp delSp modSp add mod ord delAnim modAnim modNotesTx">
        <pc:chgData name="Sam Mesel" userId="1ee7badb-5d1f-4872-89ae-dcf7b71f276a" providerId="ADAL" clId="{53886FC4-CEC3-49C2-A16F-E052A3E85A45}" dt="2020-03-19T16:44:31.304" v="6899" actId="14100"/>
        <pc:sldMkLst>
          <pc:docMk/>
          <pc:sldMk cId="3478126155" sldId="681"/>
        </pc:sldMkLst>
        <pc:spChg chg="mod">
          <ac:chgData name="Sam Mesel" userId="1ee7badb-5d1f-4872-89ae-dcf7b71f276a" providerId="ADAL" clId="{53886FC4-CEC3-49C2-A16F-E052A3E85A45}" dt="2020-03-11T23:38:42.230" v="4129" actId="21"/>
          <ac:spMkLst>
            <pc:docMk/>
            <pc:sldMk cId="3478126155" sldId="681"/>
            <ac:spMk id="2" creationId="{EB67312A-9819-43C6-8D84-D9136E6CFFCC}"/>
          </ac:spMkLst>
        </pc:spChg>
        <pc:spChg chg="mod">
          <ac:chgData name="Sam Mesel" userId="1ee7badb-5d1f-4872-89ae-dcf7b71f276a" providerId="ADAL" clId="{53886FC4-CEC3-49C2-A16F-E052A3E85A45}" dt="2020-03-19T16:37:23.623" v="6801" actId="20577"/>
          <ac:spMkLst>
            <pc:docMk/>
            <pc:sldMk cId="3478126155" sldId="681"/>
            <ac:spMk id="3" creationId="{F35E8CBB-5A7D-4DEF-BAF7-8DD5D042F9E0}"/>
          </ac:spMkLst>
        </pc:spChg>
        <pc:spChg chg="del mod">
          <ac:chgData name="Sam Mesel" userId="1ee7badb-5d1f-4872-89ae-dcf7b71f276a" providerId="ADAL" clId="{53886FC4-CEC3-49C2-A16F-E052A3E85A45}" dt="2020-03-19T16:37:29.555" v="6802" actId="478"/>
          <ac:spMkLst>
            <pc:docMk/>
            <pc:sldMk cId="3478126155" sldId="681"/>
            <ac:spMk id="4" creationId="{F3616A99-090F-45E1-9334-58D58B148205}"/>
          </ac:spMkLst>
        </pc:spChg>
        <pc:spChg chg="add del mod">
          <ac:chgData name="Sam Mesel" userId="1ee7badb-5d1f-4872-89ae-dcf7b71f276a" providerId="ADAL" clId="{53886FC4-CEC3-49C2-A16F-E052A3E85A45}" dt="2020-03-19T16:37:32.144" v="6803" actId="478"/>
          <ac:spMkLst>
            <pc:docMk/>
            <pc:sldMk cId="3478126155" sldId="681"/>
            <ac:spMk id="6" creationId="{1A97E306-1DE9-4606-B1F3-38EE6747FE81}"/>
          </ac:spMkLst>
        </pc:spChg>
        <pc:spChg chg="add del mod">
          <ac:chgData name="Sam Mesel" userId="1ee7badb-5d1f-4872-89ae-dcf7b71f276a" providerId="ADAL" clId="{53886FC4-CEC3-49C2-A16F-E052A3E85A45}" dt="2020-03-11T23:40:20.755" v="4141" actId="478"/>
          <ac:spMkLst>
            <pc:docMk/>
            <pc:sldMk cId="3478126155" sldId="681"/>
            <ac:spMk id="7" creationId="{09FA5BAE-E213-4C51-99CB-8F2D82AA0F37}"/>
          </ac:spMkLst>
        </pc:spChg>
        <pc:spChg chg="add mod">
          <ac:chgData name="Sam Mesel" userId="1ee7badb-5d1f-4872-89ae-dcf7b71f276a" providerId="ADAL" clId="{53886FC4-CEC3-49C2-A16F-E052A3E85A45}" dt="2020-03-19T16:39:08.558" v="6807" actId="6549"/>
          <ac:spMkLst>
            <pc:docMk/>
            <pc:sldMk cId="3478126155" sldId="681"/>
            <ac:spMk id="12" creationId="{937A596A-4DB9-41DC-A815-80CF009972D6}"/>
          </ac:spMkLst>
        </pc:spChg>
        <pc:spChg chg="add mod">
          <ac:chgData name="Sam Mesel" userId="1ee7badb-5d1f-4872-89ae-dcf7b71f276a" providerId="ADAL" clId="{53886FC4-CEC3-49C2-A16F-E052A3E85A45}" dt="2020-03-19T16:44:31.304" v="6899" actId="14100"/>
          <ac:spMkLst>
            <pc:docMk/>
            <pc:sldMk cId="3478126155" sldId="681"/>
            <ac:spMk id="13" creationId="{8460F7CC-1C4E-4F5E-B06C-7BD4D7AB1400}"/>
          </ac:spMkLst>
        </pc:spChg>
        <pc:graphicFrameChg chg="del mod">
          <ac:chgData name="Sam Mesel" userId="1ee7badb-5d1f-4872-89ae-dcf7b71f276a" providerId="ADAL" clId="{53886FC4-CEC3-49C2-A16F-E052A3E85A45}" dt="2020-03-11T23:39:17.815" v="4132" actId="478"/>
          <ac:graphicFrameMkLst>
            <pc:docMk/>
            <pc:sldMk cId="3478126155" sldId="681"/>
            <ac:graphicFrameMk id="6" creationId="{ECD4F830-3F57-4416-97C9-3E857291381E}"/>
          </ac:graphicFrameMkLst>
        </pc:graphicFrameChg>
        <pc:picChg chg="add del mod">
          <ac:chgData name="Sam Mesel" userId="1ee7badb-5d1f-4872-89ae-dcf7b71f276a" providerId="ADAL" clId="{53886FC4-CEC3-49C2-A16F-E052A3E85A45}" dt="2020-03-19T15:55:54.827" v="5476" actId="478"/>
          <ac:picMkLst>
            <pc:docMk/>
            <pc:sldMk cId="3478126155" sldId="681"/>
            <ac:picMk id="8" creationId="{CA17CF02-C4D1-4F45-A971-6277FA5FAAEA}"/>
          </ac:picMkLst>
        </pc:picChg>
        <pc:picChg chg="add del mod">
          <ac:chgData name="Sam Mesel" userId="1ee7badb-5d1f-4872-89ae-dcf7b71f276a" providerId="ADAL" clId="{53886FC4-CEC3-49C2-A16F-E052A3E85A45}" dt="2020-03-19T15:55:53.760" v="5475" actId="478"/>
          <ac:picMkLst>
            <pc:docMk/>
            <pc:sldMk cId="3478126155" sldId="681"/>
            <ac:picMk id="9" creationId="{18683C53-2448-4694-9CAD-BC92FAD0FCB2}"/>
          </ac:picMkLst>
        </pc:picChg>
        <pc:picChg chg="add del mod">
          <ac:chgData name="Sam Mesel" userId="1ee7badb-5d1f-4872-89ae-dcf7b71f276a" providerId="ADAL" clId="{53886FC4-CEC3-49C2-A16F-E052A3E85A45}" dt="2020-03-19T15:55:52.858" v="5474" actId="478"/>
          <ac:picMkLst>
            <pc:docMk/>
            <pc:sldMk cId="3478126155" sldId="681"/>
            <ac:picMk id="10" creationId="{15E1F92C-8A4F-4EFF-BA0F-AF20ECDF9FE5}"/>
          </ac:picMkLst>
        </pc:picChg>
        <pc:picChg chg="add del mod">
          <ac:chgData name="Sam Mesel" userId="1ee7badb-5d1f-4872-89ae-dcf7b71f276a" providerId="ADAL" clId="{53886FC4-CEC3-49C2-A16F-E052A3E85A45}" dt="2020-03-19T15:55:49.923" v="5473" actId="478"/>
          <ac:picMkLst>
            <pc:docMk/>
            <pc:sldMk cId="3478126155" sldId="681"/>
            <ac:picMk id="11" creationId="{04C12883-2F02-40DD-BBB4-21E766C8DC9B}"/>
          </ac:picMkLst>
        </pc:picChg>
      </pc:sldChg>
      <pc:sldChg chg="modSp add mod modNotesTx">
        <pc:chgData name="Sam Mesel" userId="1ee7badb-5d1f-4872-89ae-dcf7b71f276a" providerId="ADAL" clId="{53886FC4-CEC3-49C2-A16F-E052A3E85A45}" dt="2020-03-20T00:36:52.984" v="13069" actId="6549"/>
        <pc:sldMkLst>
          <pc:docMk/>
          <pc:sldMk cId="936353458" sldId="682"/>
        </pc:sldMkLst>
        <pc:spChg chg="mod">
          <ac:chgData name="Sam Mesel" userId="1ee7badb-5d1f-4872-89ae-dcf7b71f276a" providerId="ADAL" clId="{53886FC4-CEC3-49C2-A16F-E052A3E85A45}" dt="2020-03-20T00:36:34.328" v="13065" actId="6549"/>
          <ac:spMkLst>
            <pc:docMk/>
            <pc:sldMk cId="936353458" sldId="682"/>
            <ac:spMk id="6" creationId="{637E159C-9ACF-48AE-927A-D5FB13695C7F}"/>
          </ac:spMkLst>
        </pc:spChg>
      </pc:sldChg>
      <pc:sldChg chg="addSp delSp modSp new del mod modShow chgLayout">
        <pc:chgData name="Sam Mesel" userId="1ee7badb-5d1f-4872-89ae-dcf7b71f276a" providerId="ADAL" clId="{53886FC4-CEC3-49C2-A16F-E052A3E85A45}" dt="2020-03-20T00:35:45.774" v="13042" actId="47"/>
        <pc:sldMkLst>
          <pc:docMk/>
          <pc:sldMk cId="4176087182" sldId="683"/>
        </pc:sldMkLst>
        <pc:spChg chg="del mod ord">
          <ac:chgData name="Sam Mesel" userId="1ee7badb-5d1f-4872-89ae-dcf7b71f276a" providerId="ADAL" clId="{53886FC4-CEC3-49C2-A16F-E052A3E85A45}" dt="2020-03-12T01:35:46.272" v="4358" actId="700"/>
          <ac:spMkLst>
            <pc:docMk/>
            <pc:sldMk cId="4176087182" sldId="683"/>
            <ac:spMk id="2" creationId="{04B31188-C5C0-479E-91AF-34D0F9E2F036}"/>
          </ac:spMkLst>
        </pc:spChg>
        <pc:spChg chg="del mod ord">
          <ac:chgData name="Sam Mesel" userId="1ee7badb-5d1f-4872-89ae-dcf7b71f276a" providerId="ADAL" clId="{53886FC4-CEC3-49C2-A16F-E052A3E85A45}" dt="2020-03-12T01:35:46.272" v="4358" actId="700"/>
          <ac:spMkLst>
            <pc:docMk/>
            <pc:sldMk cId="4176087182" sldId="683"/>
            <ac:spMk id="3" creationId="{AB9284B6-EDA6-4E58-91D9-E87A9F6021CB}"/>
          </ac:spMkLst>
        </pc:spChg>
        <pc:spChg chg="del">
          <ac:chgData name="Sam Mesel" userId="1ee7badb-5d1f-4872-89ae-dcf7b71f276a" providerId="ADAL" clId="{53886FC4-CEC3-49C2-A16F-E052A3E85A45}" dt="2020-03-12T01:35:46.272" v="4358" actId="700"/>
          <ac:spMkLst>
            <pc:docMk/>
            <pc:sldMk cId="4176087182" sldId="683"/>
            <ac:spMk id="4" creationId="{FF03AB63-3C33-40C3-A503-6281CC6B40ED}"/>
          </ac:spMkLst>
        </pc:spChg>
        <pc:spChg chg="add mod ord">
          <ac:chgData name="Sam Mesel" userId="1ee7badb-5d1f-4872-89ae-dcf7b71f276a" providerId="ADAL" clId="{53886FC4-CEC3-49C2-A16F-E052A3E85A45}" dt="2020-03-12T01:37:13.756" v="4444" actId="20577"/>
          <ac:spMkLst>
            <pc:docMk/>
            <pc:sldMk cId="4176087182" sldId="683"/>
            <ac:spMk id="5" creationId="{BFEBC72E-76AD-445C-A71B-54B0C4EA0865}"/>
          </ac:spMkLst>
        </pc:spChg>
        <pc:spChg chg="add mod ord">
          <ac:chgData name="Sam Mesel" userId="1ee7badb-5d1f-4872-89ae-dcf7b71f276a" providerId="ADAL" clId="{53886FC4-CEC3-49C2-A16F-E052A3E85A45}" dt="2020-03-12T01:35:46.272" v="4358" actId="700"/>
          <ac:spMkLst>
            <pc:docMk/>
            <pc:sldMk cId="4176087182" sldId="683"/>
            <ac:spMk id="6" creationId="{C61BFD0A-1488-4058-943B-2DE5B7C19A5D}"/>
          </ac:spMkLst>
        </pc:spChg>
        <pc:spChg chg="add del mod ord">
          <ac:chgData name="Sam Mesel" userId="1ee7badb-5d1f-4872-89ae-dcf7b71f276a" providerId="ADAL" clId="{53886FC4-CEC3-49C2-A16F-E052A3E85A45}" dt="2020-03-19T15:30:20.311" v="5348" actId="478"/>
          <ac:spMkLst>
            <pc:docMk/>
            <pc:sldMk cId="4176087182" sldId="683"/>
            <ac:spMk id="7" creationId="{E178DCE5-B796-4851-AFB1-8FC8B60E8EC6}"/>
          </ac:spMkLst>
        </pc:spChg>
        <pc:picChg chg="add">
          <ac:chgData name="Sam Mesel" userId="1ee7badb-5d1f-4872-89ae-dcf7b71f276a" providerId="ADAL" clId="{53886FC4-CEC3-49C2-A16F-E052A3E85A45}" dt="2020-03-12T01:37:00.991" v="4442"/>
          <ac:picMkLst>
            <pc:docMk/>
            <pc:sldMk cId="4176087182" sldId="683"/>
            <ac:picMk id="8" creationId="{15C8A426-F987-4327-8FD5-E47FFCA1587B}"/>
          </ac:picMkLst>
        </pc:picChg>
      </pc:sldChg>
      <pc:sldChg chg="addSp delSp modSp new del mod modShow chgLayout">
        <pc:chgData name="Sam Mesel" userId="1ee7badb-5d1f-4872-89ae-dcf7b71f276a" providerId="ADAL" clId="{53886FC4-CEC3-49C2-A16F-E052A3E85A45}" dt="2020-03-20T00:35:44.562" v="13041" actId="47"/>
        <pc:sldMkLst>
          <pc:docMk/>
          <pc:sldMk cId="2614279862" sldId="684"/>
        </pc:sldMkLst>
        <pc:spChg chg="del mod ord">
          <ac:chgData name="Sam Mesel" userId="1ee7badb-5d1f-4872-89ae-dcf7b71f276a" providerId="ADAL" clId="{53886FC4-CEC3-49C2-A16F-E052A3E85A45}" dt="2020-03-12T01:37:26.349" v="4446" actId="700"/>
          <ac:spMkLst>
            <pc:docMk/>
            <pc:sldMk cId="2614279862" sldId="684"/>
            <ac:spMk id="2" creationId="{F9FC1E5E-B524-4A5A-BE54-D71590EDEC28}"/>
          </ac:spMkLst>
        </pc:spChg>
        <pc:spChg chg="del mod ord">
          <ac:chgData name="Sam Mesel" userId="1ee7badb-5d1f-4872-89ae-dcf7b71f276a" providerId="ADAL" clId="{53886FC4-CEC3-49C2-A16F-E052A3E85A45}" dt="2020-03-12T01:37:26.349" v="4446" actId="700"/>
          <ac:spMkLst>
            <pc:docMk/>
            <pc:sldMk cId="2614279862" sldId="684"/>
            <ac:spMk id="3" creationId="{EEF27FF0-9DB3-4DCE-B14A-149F598577EF}"/>
          </ac:spMkLst>
        </pc:spChg>
        <pc:spChg chg="del">
          <ac:chgData name="Sam Mesel" userId="1ee7badb-5d1f-4872-89ae-dcf7b71f276a" providerId="ADAL" clId="{53886FC4-CEC3-49C2-A16F-E052A3E85A45}" dt="2020-03-12T01:37:26.349" v="4446" actId="700"/>
          <ac:spMkLst>
            <pc:docMk/>
            <pc:sldMk cId="2614279862" sldId="684"/>
            <ac:spMk id="4" creationId="{0537E02C-BDA3-40EA-93A4-50E9260F400F}"/>
          </ac:spMkLst>
        </pc:spChg>
        <pc:spChg chg="add mod ord">
          <ac:chgData name="Sam Mesel" userId="1ee7badb-5d1f-4872-89ae-dcf7b71f276a" providerId="ADAL" clId="{53886FC4-CEC3-49C2-A16F-E052A3E85A45}" dt="2020-03-12T01:37:37.828" v="4503" actId="20577"/>
          <ac:spMkLst>
            <pc:docMk/>
            <pc:sldMk cId="2614279862" sldId="684"/>
            <ac:spMk id="5" creationId="{5D1E31E6-7AFC-47D7-8AC1-E4C1FF8C9BA0}"/>
          </ac:spMkLst>
        </pc:spChg>
        <pc:spChg chg="add mod ord">
          <ac:chgData name="Sam Mesel" userId="1ee7badb-5d1f-4872-89ae-dcf7b71f276a" providerId="ADAL" clId="{53886FC4-CEC3-49C2-A16F-E052A3E85A45}" dt="2020-03-12T01:37:26.349" v="4446" actId="700"/>
          <ac:spMkLst>
            <pc:docMk/>
            <pc:sldMk cId="2614279862" sldId="684"/>
            <ac:spMk id="6" creationId="{E26C29AB-D9B6-46EC-A02B-57AF8690AF8C}"/>
          </ac:spMkLst>
        </pc:spChg>
        <pc:spChg chg="add del mod ord">
          <ac:chgData name="Sam Mesel" userId="1ee7badb-5d1f-4872-89ae-dcf7b71f276a" providerId="ADAL" clId="{53886FC4-CEC3-49C2-A16F-E052A3E85A45}" dt="2020-03-19T15:30:11.981" v="5347" actId="478"/>
          <ac:spMkLst>
            <pc:docMk/>
            <pc:sldMk cId="2614279862" sldId="684"/>
            <ac:spMk id="7" creationId="{5893207E-BE9A-4666-87DA-113F0346779E}"/>
          </ac:spMkLst>
        </pc:spChg>
        <pc:picChg chg="add">
          <ac:chgData name="Sam Mesel" userId="1ee7badb-5d1f-4872-89ae-dcf7b71f276a" providerId="ADAL" clId="{53886FC4-CEC3-49C2-A16F-E052A3E85A45}" dt="2020-03-12T01:39:25.245" v="4505"/>
          <ac:picMkLst>
            <pc:docMk/>
            <pc:sldMk cId="2614279862" sldId="684"/>
            <ac:picMk id="8" creationId="{C96F9544-BE47-4632-AB21-222D15323612}"/>
          </ac:picMkLst>
        </pc:picChg>
      </pc:sldChg>
      <pc:sldChg chg="addSp delSp modSp new del mod modShow chgLayout">
        <pc:chgData name="Sam Mesel" userId="1ee7badb-5d1f-4872-89ae-dcf7b71f276a" providerId="ADAL" clId="{53886FC4-CEC3-49C2-A16F-E052A3E85A45}" dt="2020-03-20T00:35:53.090" v="13044" actId="47"/>
        <pc:sldMkLst>
          <pc:docMk/>
          <pc:sldMk cId="1475308671" sldId="685"/>
        </pc:sldMkLst>
        <pc:spChg chg="del mod ord">
          <ac:chgData name="Sam Mesel" userId="1ee7badb-5d1f-4872-89ae-dcf7b71f276a" providerId="ADAL" clId="{53886FC4-CEC3-49C2-A16F-E052A3E85A45}" dt="2020-03-12T01:48:12" v="4546" actId="700"/>
          <ac:spMkLst>
            <pc:docMk/>
            <pc:sldMk cId="1475308671" sldId="685"/>
            <ac:spMk id="2" creationId="{5512085A-6728-45F5-BE99-215BB1F801F4}"/>
          </ac:spMkLst>
        </pc:spChg>
        <pc:spChg chg="del mod ord">
          <ac:chgData name="Sam Mesel" userId="1ee7badb-5d1f-4872-89ae-dcf7b71f276a" providerId="ADAL" clId="{53886FC4-CEC3-49C2-A16F-E052A3E85A45}" dt="2020-03-12T01:48:12" v="4546" actId="700"/>
          <ac:spMkLst>
            <pc:docMk/>
            <pc:sldMk cId="1475308671" sldId="685"/>
            <ac:spMk id="3" creationId="{65B833A4-212F-41E4-A7DD-64B936EF2B57}"/>
          </ac:spMkLst>
        </pc:spChg>
        <pc:spChg chg="del">
          <ac:chgData name="Sam Mesel" userId="1ee7badb-5d1f-4872-89ae-dcf7b71f276a" providerId="ADAL" clId="{53886FC4-CEC3-49C2-A16F-E052A3E85A45}" dt="2020-03-12T01:48:12" v="4546" actId="700"/>
          <ac:spMkLst>
            <pc:docMk/>
            <pc:sldMk cId="1475308671" sldId="685"/>
            <ac:spMk id="4" creationId="{22CE2BAB-B3E8-4DB5-89CA-6FA4448467AC}"/>
          </ac:spMkLst>
        </pc:spChg>
        <pc:spChg chg="add mod ord">
          <ac:chgData name="Sam Mesel" userId="1ee7badb-5d1f-4872-89ae-dcf7b71f276a" providerId="ADAL" clId="{53886FC4-CEC3-49C2-A16F-E052A3E85A45}" dt="2020-03-12T01:50:04.688" v="4715" actId="20577"/>
          <ac:spMkLst>
            <pc:docMk/>
            <pc:sldMk cId="1475308671" sldId="685"/>
            <ac:spMk id="5" creationId="{C94CA7AA-65F4-4524-A2AB-C62022A716BA}"/>
          </ac:spMkLst>
        </pc:spChg>
        <pc:spChg chg="add mod ord">
          <ac:chgData name="Sam Mesel" userId="1ee7badb-5d1f-4872-89ae-dcf7b71f276a" providerId="ADAL" clId="{53886FC4-CEC3-49C2-A16F-E052A3E85A45}" dt="2020-03-12T01:48:12" v="4546" actId="700"/>
          <ac:spMkLst>
            <pc:docMk/>
            <pc:sldMk cId="1475308671" sldId="685"/>
            <ac:spMk id="6" creationId="{6F6793B5-BDAF-4D3A-8ACC-1EA636366576}"/>
          </ac:spMkLst>
        </pc:spChg>
        <pc:spChg chg="add mod ord">
          <ac:chgData name="Sam Mesel" userId="1ee7badb-5d1f-4872-89ae-dcf7b71f276a" providerId="ADAL" clId="{53886FC4-CEC3-49C2-A16F-E052A3E85A45}" dt="2020-03-12T01:48:12" v="4546" actId="700"/>
          <ac:spMkLst>
            <pc:docMk/>
            <pc:sldMk cId="1475308671" sldId="685"/>
            <ac:spMk id="7" creationId="{91E9D200-2E0E-4449-9BE8-4B60C0C6B152}"/>
          </ac:spMkLst>
        </pc:spChg>
      </pc:sldChg>
      <pc:sldChg chg="addSp modSp add del mod ord">
        <pc:chgData name="Sam Mesel" userId="1ee7badb-5d1f-4872-89ae-dcf7b71f276a" providerId="ADAL" clId="{53886FC4-CEC3-49C2-A16F-E052A3E85A45}" dt="2020-03-20T00:35:51.928" v="13043" actId="47"/>
        <pc:sldMkLst>
          <pc:docMk/>
          <pc:sldMk cId="2363835729" sldId="686"/>
        </pc:sldMkLst>
        <pc:spChg chg="mod">
          <ac:chgData name="Sam Mesel" userId="1ee7badb-5d1f-4872-89ae-dcf7b71f276a" providerId="ADAL" clId="{53886FC4-CEC3-49C2-A16F-E052A3E85A45}" dt="2020-03-12T01:48:32.643" v="4599" actId="20577"/>
          <ac:spMkLst>
            <pc:docMk/>
            <pc:sldMk cId="2363835729" sldId="686"/>
            <ac:spMk id="5" creationId="{C94CA7AA-65F4-4524-A2AB-C62022A716BA}"/>
          </ac:spMkLst>
        </pc:spChg>
        <pc:spChg chg="mod">
          <ac:chgData name="Sam Mesel" userId="1ee7badb-5d1f-4872-89ae-dcf7b71f276a" providerId="ADAL" clId="{53886FC4-CEC3-49C2-A16F-E052A3E85A45}" dt="2020-03-12T01:48:54.572" v="4659"/>
          <ac:spMkLst>
            <pc:docMk/>
            <pc:sldMk cId="2363835729" sldId="686"/>
            <ac:spMk id="7" creationId="{91E9D200-2E0E-4449-9BE8-4B60C0C6B152}"/>
          </ac:spMkLst>
        </pc:spChg>
        <pc:picChg chg="add">
          <ac:chgData name="Sam Mesel" userId="1ee7badb-5d1f-4872-89ae-dcf7b71f276a" providerId="ADAL" clId="{53886FC4-CEC3-49C2-A16F-E052A3E85A45}" dt="2020-03-12T01:49:05.931" v="4660"/>
          <ac:picMkLst>
            <pc:docMk/>
            <pc:sldMk cId="2363835729" sldId="686"/>
            <ac:picMk id="2" creationId="{59E0D0E2-684A-4456-B62C-DBC2953FD0CB}"/>
          </ac:picMkLst>
        </pc:picChg>
      </pc:sldChg>
      <pc:sldChg chg="addSp delSp modSp add del mod modAnim modNotesTx">
        <pc:chgData name="Sam Mesel" userId="1ee7badb-5d1f-4872-89ae-dcf7b71f276a" providerId="ADAL" clId="{53886FC4-CEC3-49C2-A16F-E052A3E85A45}" dt="2020-03-20T00:35:53.993" v="13045" actId="47"/>
        <pc:sldMkLst>
          <pc:docMk/>
          <pc:sldMk cId="3992302424" sldId="687"/>
        </pc:sldMkLst>
        <pc:spChg chg="mod">
          <ac:chgData name="Sam Mesel" userId="1ee7badb-5d1f-4872-89ae-dcf7b71f276a" providerId="ADAL" clId="{53886FC4-CEC3-49C2-A16F-E052A3E85A45}" dt="2020-03-12T02:03:00.011" v="4781" actId="20577"/>
          <ac:spMkLst>
            <pc:docMk/>
            <pc:sldMk cId="3992302424" sldId="687"/>
            <ac:spMk id="5" creationId="{C94CA7AA-65F4-4524-A2AB-C62022A716BA}"/>
          </ac:spMkLst>
        </pc:spChg>
        <pc:spChg chg="del mod">
          <ac:chgData name="Sam Mesel" userId="1ee7badb-5d1f-4872-89ae-dcf7b71f276a" providerId="ADAL" clId="{53886FC4-CEC3-49C2-A16F-E052A3E85A45}" dt="2020-03-12T01:56:00.494" v="4729" actId="478"/>
          <ac:spMkLst>
            <pc:docMk/>
            <pc:sldMk cId="3992302424" sldId="687"/>
            <ac:spMk id="7" creationId="{91E9D200-2E0E-4449-9BE8-4B60C0C6B152}"/>
          </ac:spMkLst>
        </pc:spChg>
        <pc:picChg chg="add mod">
          <ac:chgData name="Sam Mesel" userId="1ee7badb-5d1f-4872-89ae-dcf7b71f276a" providerId="ADAL" clId="{53886FC4-CEC3-49C2-A16F-E052A3E85A45}" dt="2020-03-12T01:56:18.560" v="4732" actId="1076"/>
          <ac:picMkLst>
            <pc:docMk/>
            <pc:sldMk cId="3992302424" sldId="687"/>
            <ac:picMk id="2" creationId="{5D24D701-3718-4579-9336-E562183B5CC5}"/>
          </ac:picMkLst>
        </pc:picChg>
        <pc:picChg chg="add del mod">
          <ac:chgData name="Sam Mesel" userId="1ee7badb-5d1f-4872-89ae-dcf7b71f276a" providerId="ADAL" clId="{53886FC4-CEC3-49C2-A16F-E052A3E85A45}" dt="2020-03-12T01:57:06.687" v="4737" actId="478"/>
          <ac:picMkLst>
            <pc:docMk/>
            <pc:sldMk cId="3992302424" sldId="687"/>
            <ac:picMk id="3" creationId="{1EC58B07-5242-45A1-B529-3DD0E9070794}"/>
          </ac:picMkLst>
        </pc:picChg>
        <pc:picChg chg="add">
          <ac:chgData name="Sam Mesel" userId="1ee7badb-5d1f-4872-89ae-dcf7b71f276a" providerId="ADAL" clId="{53886FC4-CEC3-49C2-A16F-E052A3E85A45}" dt="2020-03-12T01:57:18.692" v="4738"/>
          <ac:picMkLst>
            <pc:docMk/>
            <pc:sldMk cId="3992302424" sldId="687"/>
            <ac:picMk id="4" creationId="{63F709A8-C6EA-4A68-A33E-8193E11D3EE3}"/>
          </ac:picMkLst>
        </pc:picChg>
        <pc:picChg chg="add mod">
          <ac:chgData name="Sam Mesel" userId="1ee7badb-5d1f-4872-89ae-dcf7b71f276a" providerId="ADAL" clId="{53886FC4-CEC3-49C2-A16F-E052A3E85A45}" dt="2020-03-12T01:57:34.899" v="4741" actId="1076"/>
          <ac:picMkLst>
            <pc:docMk/>
            <pc:sldMk cId="3992302424" sldId="687"/>
            <ac:picMk id="8" creationId="{65D2A96F-5176-48A1-A18B-D86B3EFD0E6D}"/>
          </ac:picMkLst>
        </pc:picChg>
        <pc:picChg chg="add">
          <ac:chgData name="Sam Mesel" userId="1ee7badb-5d1f-4872-89ae-dcf7b71f276a" providerId="ADAL" clId="{53886FC4-CEC3-49C2-A16F-E052A3E85A45}" dt="2020-03-12T01:57:48.623" v="4744"/>
          <ac:picMkLst>
            <pc:docMk/>
            <pc:sldMk cId="3992302424" sldId="687"/>
            <ac:picMk id="9" creationId="{F31187AC-075E-4354-9ED0-6FE3F52BAA27}"/>
          </ac:picMkLst>
        </pc:picChg>
      </pc:sldChg>
      <pc:sldChg chg="add del">
        <pc:chgData name="Sam Mesel" userId="1ee7badb-5d1f-4872-89ae-dcf7b71f276a" providerId="ADAL" clId="{53886FC4-CEC3-49C2-A16F-E052A3E85A45}" dt="2020-03-12T01:55:15.850" v="4722" actId="47"/>
        <pc:sldMkLst>
          <pc:docMk/>
          <pc:sldMk cId="1484890430" sldId="688"/>
        </pc:sldMkLst>
      </pc:sldChg>
      <pc:sldChg chg="addSp modSp add del mod modAnim">
        <pc:chgData name="Sam Mesel" userId="1ee7badb-5d1f-4872-89ae-dcf7b71f276a" providerId="ADAL" clId="{53886FC4-CEC3-49C2-A16F-E052A3E85A45}" dt="2020-03-20T00:35:55.092" v="13046" actId="47"/>
        <pc:sldMkLst>
          <pc:docMk/>
          <pc:sldMk cId="2019257066" sldId="688"/>
        </pc:sldMkLst>
        <pc:spChg chg="mod">
          <ac:chgData name="Sam Mesel" userId="1ee7badb-5d1f-4872-89ae-dcf7b71f276a" providerId="ADAL" clId="{53886FC4-CEC3-49C2-A16F-E052A3E85A45}" dt="2020-03-12T02:03:31.319" v="4831" actId="20577"/>
          <ac:spMkLst>
            <pc:docMk/>
            <pc:sldMk cId="2019257066" sldId="688"/>
            <ac:spMk id="5" creationId="{C94CA7AA-65F4-4524-A2AB-C62022A716BA}"/>
          </ac:spMkLst>
        </pc:spChg>
        <pc:picChg chg="add mod modCrop">
          <ac:chgData name="Sam Mesel" userId="1ee7badb-5d1f-4872-89ae-dcf7b71f276a" providerId="ADAL" clId="{53886FC4-CEC3-49C2-A16F-E052A3E85A45}" dt="2020-03-12T02:06:07.190" v="4854" actId="732"/>
          <ac:picMkLst>
            <pc:docMk/>
            <pc:sldMk cId="2019257066" sldId="688"/>
            <ac:picMk id="2" creationId="{B953C1AE-9360-4508-BC57-7A6F2022412A}"/>
          </ac:picMkLst>
        </pc:picChg>
        <pc:picChg chg="add">
          <ac:chgData name="Sam Mesel" userId="1ee7badb-5d1f-4872-89ae-dcf7b71f276a" providerId="ADAL" clId="{53886FC4-CEC3-49C2-A16F-E052A3E85A45}" dt="2020-03-12T02:04:13.700" v="4837"/>
          <ac:picMkLst>
            <pc:docMk/>
            <pc:sldMk cId="2019257066" sldId="688"/>
            <ac:picMk id="3" creationId="{6E5B8D2E-441C-47D3-939E-BA21B4A7DE54}"/>
          </ac:picMkLst>
        </pc:picChg>
        <pc:picChg chg="add">
          <ac:chgData name="Sam Mesel" userId="1ee7badb-5d1f-4872-89ae-dcf7b71f276a" providerId="ADAL" clId="{53886FC4-CEC3-49C2-A16F-E052A3E85A45}" dt="2020-03-12T02:05:10.798" v="4848"/>
          <ac:picMkLst>
            <pc:docMk/>
            <pc:sldMk cId="2019257066" sldId="688"/>
            <ac:picMk id="4" creationId="{C4EB7B4E-7D45-45B9-B7BF-05F0FF12FBE4}"/>
          </ac:picMkLst>
        </pc:picChg>
        <pc:picChg chg="add mod modCrop">
          <ac:chgData name="Sam Mesel" userId="1ee7badb-5d1f-4872-89ae-dcf7b71f276a" providerId="ADAL" clId="{53886FC4-CEC3-49C2-A16F-E052A3E85A45}" dt="2020-03-12T02:06:28.671" v="4859" actId="1076"/>
          <ac:picMkLst>
            <pc:docMk/>
            <pc:sldMk cId="2019257066" sldId="688"/>
            <ac:picMk id="8" creationId="{57D54B64-A64C-479E-98E5-9585FB153A44}"/>
          </ac:picMkLst>
        </pc:picChg>
        <pc:picChg chg="add">
          <ac:chgData name="Sam Mesel" userId="1ee7badb-5d1f-4872-89ae-dcf7b71f276a" providerId="ADAL" clId="{53886FC4-CEC3-49C2-A16F-E052A3E85A45}" dt="2020-03-12T02:06:45.724" v="4860"/>
          <ac:picMkLst>
            <pc:docMk/>
            <pc:sldMk cId="2019257066" sldId="688"/>
            <ac:picMk id="9" creationId="{365ABB2D-D1BE-4ADC-A033-6AA13D6E9606}"/>
          </ac:picMkLst>
        </pc:picChg>
        <pc:picChg chg="add">
          <ac:chgData name="Sam Mesel" userId="1ee7badb-5d1f-4872-89ae-dcf7b71f276a" providerId="ADAL" clId="{53886FC4-CEC3-49C2-A16F-E052A3E85A45}" dt="2020-03-12T02:07:05.033" v="4863"/>
          <ac:picMkLst>
            <pc:docMk/>
            <pc:sldMk cId="2019257066" sldId="688"/>
            <ac:picMk id="10" creationId="{B37648F8-5285-4165-82DF-80113C02166B}"/>
          </ac:picMkLst>
        </pc:picChg>
        <pc:picChg chg="add mod modCrop">
          <ac:chgData name="Sam Mesel" userId="1ee7badb-5d1f-4872-89ae-dcf7b71f276a" providerId="ADAL" clId="{53886FC4-CEC3-49C2-A16F-E052A3E85A45}" dt="2020-03-12T02:07:45.341" v="4870" actId="1076"/>
          <ac:picMkLst>
            <pc:docMk/>
            <pc:sldMk cId="2019257066" sldId="688"/>
            <ac:picMk id="11" creationId="{9DDF0688-87BB-4FB5-BE7C-CE80004153E6}"/>
          </ac:picMkLst>
        </pc:picChg>
        <pc:picChg chg="add">
          <ac:chgData name="Sam Mesel" userId="1ee7badb-5d1f-4872-89ae-dcf7b71f276a" providerId="ADAL" clId="{53886FC4-CEC3-49C2-A16F-E052A3E85A45}" dt="2020-03-12T02:08:01.910" v="4871"/>
          <ac:picMkLst>
            <pc:docMk/>
            <pc:sldMk cId="2019257066" sldId="688"/>
            <ac:picMk id="12" creationId="{10167A29-FCFF-4A15-BAD5-20C08AD6E2CB}"/>
          </ac:picMkLst>
        </pc:picChg>
        <pc:picChg chg="add">
          <ac:chgData name="Sam Mesel" userId="1ee7badb-5d1f-4872-89ae-dcf7b71f276a" providerId="ADAL" clId="{53886FC4-CEC3-49C2-A16F-E052A3E85A45}" dt="2020-03-12T02:08:18.711" v="4874"/>
          <ac:picMkLst>
            <pc:docMk/>
            <pc:sldMk cId="2019257066" sldId="688"/>
            <ac:picMk id="13" creationId="{FB75B2A4-8637-4E7E-94AF-5E3D2374F550}"/>
          </ac:picMkLst>
        </pc:picChg>
      </pc:sldChg>
      <pc:sldChg chg="add del">
        <pc:chgData name="Sam Mesel" userId="1ee7badb-5d1f-4872-89ae-dcf7b71f276a" providerId="ADAL" clId="{53886FC4-CEC3-49C2-A16F-E052A3E85A45}" dt="2020-03-12T01:55:16.467" v="4723" actId="47"/>
        <pc:sldMkLst>
          <pc:docMk/>
          <pc:sldMk cId="1726538708" sldId="689"/>
        </pc:sldMkLst>
      </pc:sldChg>
      <pc:sldChg chg="addSp modSp add del mod modAnim">
        <pc:chgData name="Sam Mesel" userId="1ee7badb-5d1f-4872-89ae-dcf7b71f276a" providerId="ADAL" clId="{53886FC4-CEC3-49C2-A16F-E052A3E85A45}" dt="2020-03-20T00:35:56.735" v="13047" actId="47"/>
        <pc:sldMkLst>
          <pc:docMk/>
          <pc:sldMk cId="2097593397" sldId="689"/>
        </pc:sldMkLst>
        <pc:spChg chg="mod">
          <ac:chgData name="Sam Mesel" userId="1ee7badb-5d1f-4872-89ae-dcf7b71f276a" providerId="ADAL" clId="{53886FC4-CEC3-49C2-A16F-E052A3E85A45}" dt="2020-03-12T02:08:47.832" v="4892" actId="20577"/>
          <ac:spMkLst>
            <pc:docMk/>
            <pc:sldMk cId="2097593397" sldId="689"/>
            <ac:spMk id="5" creationId="{C94CA7AA-65F4-4524-A2AB-C62022A716BA}"/>
          </ac:spMkLst>
        </pc:spChg>
        <pc:picChg chg="add">
          <ac:chgData name="Sam Mesel" userId="1ee7badb-5d1f-4872-89ae-dcf7b71f276a" providerId="ADAL" clId="{53886FC4-CEC3-49C2-A16F-E052A3E85A45}" dt="2020-03-12T02:08:57.930" v="4893"/>
          <ac:picMkLst>
            <pc:docMk/>
            <pc:sldMk cId="2097593397" sldId="689"/>
            <ac:picMk id="2" creationId="{13659490-9F9D-4EE3-8D1E-4BDF2A0DE4BA}"/>
          </ac:picMkLst>
        </pc:picChg>
        <pc:picChg chg="add">
          <ac:chgData name="Sam Mesel" userId="1ee7badb-5d1f-4872-89ae-dcf7b71f276a" providerId="ADAL" clId="{53886FC4-CEC3-49C2-A16F-E052A3E85A45}" dt="2020-03-12T02:09:14.268" v="4895"/>
          <ac:picMkLst>
            <pc:docMk/>
            <pc:sldMk cId="2097593397" sldId="689"/>
            <ac:picMk id="3" creationId="{B8904E6E-446A-4D6B-8499-650C62D97E04}"/>
          </ac:picMkLst>
        </pc:picChg>
        <pc:picChg chg="add">
          <ac:chgData name="Sam Mesel" userId="1ee7badb-5d1f-4872-89ae-dcf7b71f276a" providerId="ADAL" clId="{53886FC4-CEC3-49C2-A16F-E052A3E85A45}" dt="2020-03-12T02:09:31.646" v="4898"/>
          <ac:picMkLst>
            <pc:docMk/>
            <pc:sldMk cId="2097593397" sldId="689"/>
            <ac:picMk id="4" creationId="{F6FB0228-CB68-4701-8B2B-4FADE2FE1D7A}"/>
          </ac:picMkLst>
        </pc:picChg>
      </pc:sldChg>
      <pc:sldChg chg="add del">
        <pc:chgData name="Sam Mesel" userId="1ee7badb-5d1f-4872-89ae-dcf7b71f276a" providerId="ADAL" clId="{53886FC4-CEC3-49C2-A16F-E052A3E85A45}" dt="2020-03-12T01:55:17.159" v="4724" actId="47"/>
        <pc:sldMkLst>
          <pc:docMk/>
          <pc:sldMk cId="2992124910" sldId="690"/>
        </pc:sldMkLst>
      </pc:sldChg>
      <pc:sldChg chg="addSp delSp modSp add del mod modAnim">
        <pc:chgData name="Sam Mesel" userId="1ee7badb-5d1f-4872-89ae-dcf7b71f276a" providerId="ADAL" clId="{53886FC4-CEC3-49C2-A16F-E052A3E85A45}" dt="2020-03-20T00:35:57.655" v="13048" actId="47"/>
        <pc:sldMkLst>
          <pc:docMk/>
          <pc:sldMk cId="4198188068" sldId="690"/>
        </pc:sldMkLst>
        <pc:spChg chg="mod">
          <ac:chgData name="Sam Mesel" userId="1ee7badb-5d1f-4872-89ae-dcf7b71f276a" providerId="ADAL" clId="{53886FC4-CEC3-49C2-A16F-E052A3E85A45}" dt="2020-03-12T02:10:05.981" v="4949" actId="20577"/>
          <ac:spMkLst>
            <pc:docMk/>
            <pc:sldMk cId="4198188068" sldId="690"/>
            <ac:spMk id="5" creationId="{C94CA7AA-65F4-4524-A2AB-C62022A716BA}"/>
          </ac:spMkLst>
        </pc:spChg>
        <pc:picChg chg="add del">
          <ac:chgData name="Sam Mesel" userId="1ee7badb-5d1f-4872-89ae-dcf7b71f276a" providerId="ADAL" clId="{53886FC4-CEC3-49C2-A16F-E052A3E85A45}" dt="2020-03-12T02:10:43.694" v="4951" actId="478"/>
          <ac:picMkLst>
            <pc:docMk/>
            <pc:sldMk cId="4198188068" sldId="690"/>
            <ac:picMk id="2" creationId="{4D2AA1CD-2335-4279-A73C-E7AEDCDBCACB}"/>
          </ac:picMkLst>
        </pc:picChg>
        <pc:picChg chg="add mod">
          <ac:chgData name="Sam Mesel" userId="1ee7badb-5d1f-4872-89ae-dcf7b71f276a" providerId="ADAL" clId="{53886FC4-CEC3-49C2-A16F-E052A3E85A45}" dt="2020-03-12T02:11:00.868" v="4953" actId="1076"/>
          <ac:picMkLst>
            <pc:docMk/>
            <pc:sldMk cId="4198188068" sldId="690"/>
            <ac:picMk id="3" creationId="{AD3DDFC8-15C7-4ECB-9761-9B35B03BFF09}"/>
          </ac:picMkLst>
        </pc:picChg>
        <pc:picChg chg="add">
          <ac:chgData name="Sam Mesel" userId="1ee7badb-5d1f-4872-89ae-dcf7b71f276a" providerId="ADAL" clId="{53886FC4-CEC3-49C2-A16F-E052A3E85A45}" dt="2020-03-12T02:11:05.542" v="4955"/>
          <ac:picMkLst>
            <pc:docMk/>
            <pc:sldMk cId="4198188068" sldId="690"/>
            <ac:picMk id="4" creationId="{C475A4F6-5CBC-444F-BC31-062C80F119B0}"/>
          </ac:picMkLst>
        </pc:picChg>
        <pc:picChg chg="add">
          <ac:chgData name="Sam Mesel" userId="1ee7badb-5d1f-4872-89ae-dcf7b71f276a" providerId="ADAL" clId="{53886FC4-CEC3-49C2-A16F-E052A3E85A45}" dt="2020-03-12T02:11:19.084" v="4958"/>
          <ac:picMkLst>
            <pc:docMk/>
            <pc:sldMk cId="4198188068" sldId="690"/>
            <ac:picMk id="8" creationId="{2AF9DE40-58CB-4B29-BF80-5A55ABF4C282}"/>
          </ac:picMkLst>
        </pc:picChg>
      </pc:sldChg>
      <pc:sldChg chg="addSp delSp modSp add del mod modAnim">
        <pc:chgData name="Sam Mesel" userId="1ee7badb-5d1f-4872-89ae-dcf7b71f276a" providerId="ADAL" clId="{53886FC4-CEC3-49C2-A16F-E052A3E85A45}" dt="2020-03-20T00:35:59.108" v="13049" actId="47"/>
        <pc:sldMkLst>
          <pc:docMk/>
          <pc:sldMk cId="2275465758" sldId="691"/>
        </pc:sldMkLst>
        <pc:spChg chg="mod">
          <ac:chgData name="Sam Mesel" userId="1ee7badb-5d1f-4872-89ae-dcf7b71f276a" providerId="ADAL" clId="{53886FC4-CEC3-49C2-A16F-E052A3E85A45}" dt="2020-03-12T02:12:02.428" v="4990" actId="20577"/>
          <ac:spMkLst>
            <pc:docMk/>
            <pc:sldMk cId="2275465758" sldId="691"/>
            <ac:spMk id="5" creationId="{C94CA7AA-65F4-4524-A2AB-C62022A716BA}"/>
          </ac:spMkLst>
        </pc:spChg>
        <pc:spChg chg="del">
          <ac:chgData name="Sam Mesel" userId="1ee7badb-5d1f-4872-89ae-dcf7b71f276a" providerId="ADAL" clId="{53886FC4-CEC3-49C2-A16F-E052A3E85A45}" dt="2020-03-12T02:12:17.632" v="4992" actId="478"/>
          <ac:spMkLst>
            <pc:docMk/>
            <pc:sldMk cId="2275465758" sldId="691"/>
            <ac:spMk id="7" creationId="{91E9D200-2E0E-4449-9BE8-4B60C0C6B152}"/>
          </ac:spMkLst>
        </pc:spChg>
        <pc:picChg chg="add mod">
          <ac:chgData name="Sam Mesel" userId="1ee7badb-5d1f-4872-89ae-dcf7b71f276a" providerId="ADAL" clId="{53886FC4-CEC3-49C2-A16F-E052A3E85A45}" dt="2020-03-12T02:12:21.509" v="4993" actId="1076"/>
          <ac:picMkLst>
            <pc:docMk/>
            <pc:sldMk cId="2275465758" sldId="691"/>
            <ac:picMk id="2" creationId="{881E356C-ECCA-4FAC-87F7-3FDE0EC6CF9C}"/>
          </ac:picMkLst>
        </pc:picChg>
        <pc:picChg chg="add">
          <ac:chgData name="Sam Mesel" userId="1ee7badb-5d1f-4872-89ae-dcf7b71f276a" providerId="ADAL" clId="{53886FC4-CEC3-49C2-A16F-E052A3E85A45}" dt="2020-03-12T02:12:35.907" v="4995"/>
          <ac:picMkLst>
            <pc:docMk/>
            <pc:sldMk cId="2275465758" sldId="691"/>
            <ac:picMk id="3" creationId="{CB8BD4E6-18F5-4F13-9668-A69541494EEA}"/>
          </ac:picMkLst>
        </pc:picChg>
        <pc:picChg chg="add">
          <ac:chgData name="Sam Mesel" userId="1ee7badb-5d1f-4872-89ae-dcf7b71f276a" providerId="ADAL" clId="{53886FC4-CEC3-49C2-A16F-E052A3E85A45}" dt="2020-03-12T02:12:48.374" v="4998"/>
          <ac:picMkLst>
            <pc:docMk/>
            <pc:sldMk cId="2275465758" sldId="691"/>
            <ac:picMk id="4" creationId="{D4BF82C0-37C3-49BF-8083-D86C76447216}"/>
          </ac:picMkLst>
        </pc:picChg>
      </pc:sldChg>
      <pc:sldChg chg="addSp delSp modSp add del mod ord delAnim modAnim">
        <pc:chgData name="Sam Mesel" userId="1ee7badb-5d1f-4872-89ae-dcf7b71f276a" providerId="ADAL" clId="{53886FC4-CEC3-49C2-A16F-E052A3E85A45}" dt="2020-03-20T00:37:07.357" v="13071" actId="47"/>
        <pc:sldMkLst>
          <pc:docMk/>
          <pc:sldMk cId="3098893957" sldId="692"/>
        </pc:sldMkLst>
        <pc:spChg chg="mod">
          <ac:chgData name="Sam Mesel" userId="1ee7badb-5d1f-4872-89ae-dcf7b71f276a" providerId="ADAL" clId="{53886FC4-CEC3-49C2-A16F-E052A3E85A45}" dt="2020-03-12T02:14:07.591" v="5053" actId="20577"/>
          <ac:spMkLst>
            <pc:docMk/>
            <pc:sldMk cId="3098893957" sldId="692"/>
            <ac:spMk id="5" creationId="{C94CA7AA-65F4-4524-A2AB-C62022A716BA}"/>
          </ac:spMkLst>
        </pc:spChg>
        <pc:picChg chg="del">
          <ac:chgData name="Sam Mesel" userId="1ee7badb-5d1f-4872-89ae-dcf7b71f276a" providerId="ADAL" clId="{53886FC4-CEC3-49C2-A16F-E052A3E85A45}" dt="2020-03-12T02:13:54.246" v="5010" actId="478"/>
          <ac:picMkLst>
            <pc:docMk/>
            <pc:sldMk cId="3098893957" sldId="692"/>
            <ac:picMk id="2" creationId="{881E356C-ECCA-4FAC-87F7-3FDE0EC6CF9C}"/>
          </ac:picMkLst>
        </pc:picChg>
        <pc:picChg chg="del">
          <ac:chgData name="Sam Mesel" userId="1ee7badb-5d1f-4872-89ae-dcf7b71f276a" providerId="ADAL" clId="{53886FC4-CEC3-49C2-A16F-E052A3E85A45}" dt="2020-03-12T02:13:53.582" v="5009" actId="478"/>
          <ac:picMkLst>
            <pc:docMk/>
            <pc:sldMk cId="3098893957" sldId="692"/>
            <ac:picMk id="3" creationId="{CB8BD4E6-18F5-4F13-9668-A69541494EEA}"/>
          </ac:picMkLst>
        </pc:picChg>
        <pc:picChg chg="del">
          <ac:chgData name="Sam Mesel" userId="1ee7badb-5d1f-4872-89ae-dcf7b71f276a" providerId="ADAL" clId="{53886FC4-CEC3-49C2-A16F-E052A3E85A45}" dt="2020-03-12T02:13:52.848" v="5008" actId="478"/>
          <ac:picMkLst>
            <pc:docMk/>
            <pc:sldMk cId="3098893957" sldId="692"/>
            <ac:picMk id="4" creationId="{D4BF82C0-37C3-49BF-8083-D86C76447216}"/>
          </ac:picMkLst>
        </pc:picChg>
        <pc:picChg chg="add del mod">
          <ac:chgData name="Sam Mesel" userId="1ee7badb-5d1f-4872-89ae-dcf7b71f276a" providerId="ADAL" clId="{53886FC4-CEC3-49C2-A16F-E052A3E85A45}" dt="2020-03-12T02:14:38.563" v="5056" actId="478"/>
          <ac:picMkLst>
            <pc:docMk/>
            <pc:sldMk cId="3098893957" sldId="692"/>
            <ac:picMk id="7" creationId="{49ABA1FD-AC70-44A2-BB32-4539EEB130A9}"/>
          </ac:picMkLst>
        </pc:picChg>
        <pc:picChg chg="add mod">
          <ac:chgData name="Sam Mesel" userId="1ee7badb-5d1f-4872-89ae-dcf7b71f276a" providerId="ADAL" clId="{53886FC4-CEC3-49C2-A16F-E052A3E85A45}" dt="2020-03-12T02:14:50.909" v="5058" actId="1076"/>
          <ac:picMkLst>
            <pc:docMk/>
            <pc:sldMk cId="3098893957" sldId="692"/>
            <ac:picMk id="8" creationId="{EE15E4CE-EFAC-432D-97AA-7FA059E2F813}"/>
          </ac:picMkLst>
        </pc:picChg>
        <pc:picChg chg="add mod">
          <ac:chgData name="Sam Mesel" userId="1ee7badb-5d1f-4872-89ae-dcf7b71f276a" providerId="ADAL" clId="{53886FC4-CEC3-49C2-A16F-E052A3E85A45}" dt="2020-03-12T02:15:31.588" v="5063" actId="14100"/>
          <ac:picMkLst>
            <pc:docMk/>
            <pc:sldMk cId="3098893957" sldId="692"/>
            <ac:picMk id="9" creationId="{F31E9EBE-DF72-4D49-9228-9425348C6FF0}"/>
          </ac:picMkLst>
        </pc:picChg>
        <pc:picChg chg="add mod">
          <ac:chgData name="Sam Mesel" userId="1ee7badb-5d1f-4872-89ae-dcf7b71f276a" providerId="ADAL" clId="{53886FC4-CEC3-49C2-A16F-E052A3E85A45}" dt="2020-03-12T02:16:13.141" v="5071" actId="14100"/>
          <ac:picMkLst>
            <pc:docMk/>
            <pc:sldMk cId="3098893957" sldId="692"/>
            <ac:picMk id="10" creationId="{4606E070-7C50-4B8C-B02C-A4193909350B}"/>
          </ac:picMkLst>
        </pc:picChg>
      </pc:sldChg>
      <pc:sldChg chg="add del">
        <pc:chgData name="Sam Mesel" userId="1ee7badb-5d1f-4872-89ae-dcf7b71f276a" providerId="ADAL" clId="{53886FC4-CEC3-49C2-A16F-E052A3E85A45}" dt="2020-03-12T02:13:31.282" v="5000" actId="47"/>
        <pc:sldMkLst>
          <pc:docMk/>
          <pc:sldMk cId="4024085809" sldId="692"/>
        </pc:sldMkLst>
      </pc:sldChg>
      <pc:sldChg chg="delSp modSp add del mod delAnim">
        <pc:chgData name="Sam Mesel" userId="1ee7badb-5d1f-4872-89ae-dcf7b71f276a" providerId="ADAL" clId="{53886FC4-CEC3-49C2-A16F-E052A3E85A45}" dt="2020-03-12T02:21:38.990" v="5110" actId="47"/>
        <pc:sldMkLst>
          <pc:docMk/>
          <pc:sldMk cId="269402414" sldId="693"/>
        </pc:sldMkLst>
        <pc:spChg chg="mod">
          <ac:chgData name="Sam Mesel" userId="1ee7badb-5d1f-4872-89ae-dcf7b71f276a" providerId="ADAL" clId="{53886FC4-CEC3-49C2-A16F-E052A3E85A45}" dt="2020-03-12T02:16:33.739" v="5102" actId="20577"/>
          <ac:spMkLst>
            <pc:docMk/>
            <pc:sldMk cId="269402414" sldId="693"/>
            <ac:spMk id="5" creationId="{C94CA7AA-65F4-4524-A2AB-C62022A716BA}"/>
          </ac:spMkLst>
        </pc:spChg>
        <pc:picChg chg="del">
          <ac:chgData name="Sam Mesel" userId="1ee7badb-5d1f-4872-89ae-dcf7b71f276a" providerId="ADAL" clId="{53886FC4-CEC3-49C2-A16F-E052A3E85A45}" dt="2020-03-12T02:16:20.982" v="5075" actId="478"/>
          <ac:picMkLst>
            <pc:docMk/>
            <pc:sldMk cId="269402414" sldId="693"/>
            <ac:picMk id="8" creationId="{EE15E4CE-EFAC-432D-97AA-7FA059E2F813}"/>
          </ac:picMkLst>
        </pc:picChg>
        <pc:picChg chg="del">
          <ac:chgData name="Sam Mesel" userId="1ee7badb-5d1f-4872-89ae-dcf7b71f276a" providerId="ADAL" clId="{53886FC4-CEC3-49C2-A16F-E052A3E85A45}" dt="2020-03-12T02:16:19.811" v="5074" actId="478"/>
          <ac:picMkLst>
            <pc:docMk/>
            <pc:sldMk cId="269402414" sldId="693"/>
            <ac:picMk id="9" creationId="{F31E9EBE-DF72-4D49-9228-9425348C6FF0}"/>
          </ac:picMkLst>
        </pc:picChg>
        <pc:picChg chg="del">
          <ac:chgData name="Sam Mesel" userId="1ee7badb-5d1f-4872-89ae-dcf7b71f276a" providerId="ADAL" clId="{53886FC4-CEC3-49C2-A16F-E052A3E85A45}" dt="2020-03-12T02:16:19.016" v="5073" actId="478"/>
          <ac:picMkLst>
            <pc:docMk/>
            <pc:sldMk cId="269402414" sldId="693"/>
            <ac:picMk id="10" creationId="{4606E070-7C50-4B8C-B02C-A4193909350B}"/>
          </ac:picMkLst>
        </pc:picChg>
      </pc:sldChg>
      <pc:sldChg chg="add del">
        <pc:chgData name="Sam Mesel" userId="1ee7badb-5d1f-4872-89ae-dcf7b71f276a" providerId="ADAL" clId="{53886FC4-CEC3-49C2-A16F-E052A3E85A45}" dt="2020-03-12T02:13:32.434" v="5001" actId="47"/>
        <pc:sldMkLst>
          <pc:docMk/>
          <pc:sldMk cId="2573509326" sldId="693"/>
        </pc:sldMkLst>
      </pc:sldChg>
      <pc:sldChg chg="addSp delSp modSp add mod delAnim">
        <pc:chgData name="Sam Mesel" userId="1ee7badb-5d1f-4872-89ae-dcf7b71f276a" providerId="ADAL" clId="{53886FC4-CEC3-49C2-A16F-E052A3E85A45}" dt="2020-03-12T02:21:17.237" v="5109"/>
        <pc:sldMkLst>
          <pc:docMk/>
          <pc:sldMk cId="138592811" sldId="694"/>
        </pc:sldMkLst>
        <pc:spChg chg="del">
          <ac:chgData name="Sam Mesel" userId="1ee7badb-5d1f-4872-89ae-dcf7b71f276a" providerId="ADAL" clId="{53886FC4-CEC3-49C2-A16F-E052A3E85A45}" dt="2020-03-12T02:20:06.553" v="5107" actId="478"/>
          <ac:spMkLst>
            <pc:docMk/>
            <pc:sldMk cId="138592811" sldId="694"/>
            <ac:spMk id="4" creationId="{F3616A99-090F-45E1-9334-58D58B148205}"/>
          </ac:spMkLst>
        </pc:spChg>
        <pc:spChg chg="add del mod">
          <ac:chgData name="Sam Mesel" userId="1ee7badb-5d1f-4872-89ae-dcf7b71f276a" providerId="ADAL" clId="{53886FC4-CEC3-49C2-A16F-E052A3E85A45}" dt="2020-03-12T02:21:17.237" v="5109"/>
          <ac:spMkLst>
            <pc:docMk/>
            <pc:sldMk cId="138592811" sldId="694"/>
            <ac:spMk id="6" creationId="{540FF495-DEE3-4DE0-9E18-E8F0A92DB186}"/>
          </ac:spMkLst>
        </pc:spChg>
        <pc:picChg chg="add mod">
          <ac:chgData name="Sam Mesel" userId="1ee7badb-5d1f-4872-89ae-dcf7b71f276a" providerId="ADAL" clId="{53886FC4-CEC3-49C2-A16F-E052A3E85A45}" dt="2020-03-12T02:21:17.237" v="5109"/>
          <ac:picMkLst>
            <pc:docMk/>
            <pc:sldMk cId="138592811" sldId="694"/>
            <ac:picMk id="7" creationId="{DEC1E129-1CB3-4969-AB1C-066D1E0F1B53}"/>
          </ac:picMkLst>
        </pc:picChg>
        <pc:picChg chg="del">
          <ac:chgData name="Sam Mesel" userId="1ee7badb-5d1f-4872-89ae-dcf7b71f276a" providerId="ADAL" clId="{53886FC4-CEC3-49C2-A16F-E052A3E85A45}" dt="2020-03-12T02:20:18.504" v="5108" actId="478"/>
          <ac:picMkLst>
            <pc:docMk/>
            <pc:sldMk cId="138592811" sldId="694"/>
            <ac:picMk id="8" creationId="{CA17CF02-C4D1-4F45-A971-6277FA5FAAEA}"/>
          </ac:picMkLst>
        </pc:picChg>
        <pc:picChg chg="del">
          <ac:chgData name="Sam Mesel" userId="1ee7badb-5d1f-4872-89ae-dcf7b71f276a" providerId="ADAL" clId="{53886FC4-CEC3-49C2-A16F-E052A3E85A45}" dt="2020-03-12T02:20:05.477" v="5106" actId="478"/>
          <ac:picMkLst>
            <pc:docMk/>
            <pc:sldMk cId="138592811" sldId="694"/>
            <ac:picMk id="9" creationId="{18683C53-2448-4694-9CAD-BC92FAD0FCB2}"/>
          </ac:picMkLst>
        </pc:picChg>
        <pc:picChg chg="del">
          <ac:chgData name="Sam Mesel" userId="1ee7badb-5d1f-4872-89ae-dcf7b71f276a" providerId="ADAL" clId="{53886FC4-CEC3-49C2-A16F-E052A3E85A45}" dt="2020-03-12T02:20:04.784" v="5105" actId="478"/>
          <ac:picMkLst>
            <pc:docMk/>
            <pc:sldMk cId="138592811" sldId="694"/>
            <ac:picMk id="10" creationId="{15E1F92C-8A4F-4EFF-BA0F-AF20ECDF9FE5}"/>
          </ac:picMkLst>
        </pc:picChg>
        <pc:picChg chg="del">
          <ac:chgData name="Sam Mesel" userId="1ee7badb-5d1f-4872-89ae-dcf7b71f276a" providerId="ADAL" clId="{53886FC4-CEC3-49C2-A16F-E052A3E85A45}" dt="2020-03-12T02:20:04.090" v="5104" actId="478"/>
          <ac:picMkLst>
            <pc:docMk/>
            <pc:sldMk cId="138592811" sldId="694"/>
            <ac:picMk id="11" creationId="{04C12883-2F02-40DD-BBB4-21E766C8DC9B}"/>
          </ac:picMkLst>
        </pc:picChg>
      </pc:sldChg>
      <pc:sldChg chg="add del">
        <pc:chgData name="Sam Mesel" userId="1ee7badb-5d1f-4872-89ae-dcf7b71f276a" providerId="ADAL" clId="{53886FC4-CEC3-49C2-A16F-E052A3E85A45}" dt="2020-03-12T02:13:33.401" v="5002" actId="47"/>
        <pc:sldMkLst>
          <pc:docMk/>
          <pc:sldMk cId="894302844" sldId="694"/>
        </pc:sldMkLst>
      </pc:sldChg>
      <pc:sldChg chg="add del">
        <pc:chgData name="Sam Mesel" userId="1ee7badb-5d1f-4872-89ae-dcf7b71f276a" providerId="ADAL" clId="{53886FC4-CEC3-49C2-A16F-E052A3E85A45}" dt="2020-03-12T02:13:34.145" v="5003" actId="47"/>
        <pc:sldMkLst>
          <pc:docMk/>
          <pc:sldMk cId="1368482571" sldId="695"/>
        </pc:sldMkLst>
      </pc:sldChg>
      <pc:sldChg chg="addSp delSp modSp add mod ord delAnim modAnim modNotesTx">
        <pc:chgData name="Sam Mesel" userId="1ee7badb-5d1f-4872-89ae-dcf7b71f276a" providerId="ADAL" clId="{53886FC4-CEC3-49C2-A16F-E052A3E85A45}" dt="2020-03-20T00:37:17.767" v="13072" actId="6549"/>
        <pc:sldMkLst>
          <pc:docMk/>
          <pc:sldMk cId="2873864563" sldId="695"/>
        </pc:sldMkLst>
        <pc:spChg chg="mod">
          <ac:chgData name="Sam Mesel" userId="1ee7badb-5d1f-4872-89ae-dcf7b71f276a" providerId="ADAL" clId="{53886FC4-CEC3-49C2-A16F-E052A3E85A45}" dt="2020-03-12T02:22:04.810" v="5133" actId="20577"/>
          <ac:spMkLst>
            <pc:docMk/>
            <pc:sldMk cId="2873864563" sldId="695"/>
            <ac:spMk id="2" creationId="{EB67312A-9819-43C6-8D84-D9136E6CFFCC}"/>
          </ac:spMkLst>
        </pc:spChg>
        <pc:spChg chg="mod">
          <ac:chgData name="Sam Mesel" userId="1ee7badb-5d1f-4872-89ae-dcf7b71f276a" providerId="ADAL" clId="{53886FC4-CEC3-49C2-A16F-E052A3E85A45}" dt="2020-03-12T02:22:08.409" v="5134" actId="6549"/>
          <ac:spMkLst>
            <pc:docMk/>
            <pc:sldMk cId="2873864563" sldId="695"/>
            <ac:spMk id="3" creationId="{F35E8CBB-5A7D-4DEF-BAF7-8DD5D042F9E0}"/>
          </ac:spMkLst>
        </pc:spChg>
        <pc:spChg chg="mod">
          <ac:chgData name="Sam Mesel" userId="1ee7badb-5d1f-4872-89ae-dcf7b71f276a" providerId="ADAL" clId="{53886FC4-CEC3-49C2-A16F-E052A3E85A45}" dt="2020-03-12T02:23:33.145" v="5188" actId="6549"/>
          <ac:spMkLst>
            <pc:docMk/>
            <pc:sldMk cId="2873864563" sldId="695"/>
            <ac:spMk id="4" creationId="{F3616A99-090F-45E1-9334-58D58B148205}"/>
          </ac:spMkLst>
        </pc:spChg>
        <pc:picChg chg="add mod">
          <ac:chgData name="Sam Mesel" userId="1ee7badb-5d1f-4872-89ae-dcf7b71f276a" providerId="ADAL" clId="{53886FC4-CEC3-49C2-A16F-E052A3E85A45}" dt="2020-03-12T02:24:04.453" v="5191" actId="1076"/>
          <ac:picMkLst>
            <pc:docMk/>
            <pc:sldMk cId="2873864563" sldId="695"/>
            <ac:picMk id="5" creationId="{64D61B61-D458-4C33-8529-090FE2D6B7DD}"/>
          </ac:picMkLst>
        </pc:picChg>
        <pc:picChg chg="add mod">
          <ac:chgData name="Sam Mesel" userId="1ee7badb-5d1f-4872-89ae-dcf7b71f276a" providerId="ADAL" clId="{53886FC4-CEC3-49C2-A16F-E052A3E85A45}" dt="2020-03-12T02:24:22.187" v="5194" actId="1076"/>
          <ac:picMkLst>
            <pc:docMk/>
            <pc:sldMk cId="2873864563" sldId="695"/>
            <ac:picMk id="6" creationId="{9B8A4429-8881-4142-A9CE-708C4C7BCA6C}"/>
          </ac:picMkLst>
        </pc:picChg>
        <pc:picChg chg="del">
          <ac:chgData name="Sam Mesel" userId="1ee7badb-5d1f-4872-89ae-dcf7b71f276a" providerId="ADAL" clId="{53886FC4-CEC3-49C2-A16F-E052A3E85A45}" dt="2020-03-12T02:22:13.315" v="5138" actId="478"/>
          <ac:picMkLst>
            <pc:docMk/>
            <pc:sldMk cId="2873864563" sldId="695"/>
            <ac:picMk id="8" creationId="{CA17CF02-C4D1-4F45-A971-6277FA5FAAEA}"/>
          </ac:picMkLst>
        </pc:picChg>
        <pc:picChg chg="del">
          <ac:chgData name="Sam Mesel" userId="1ee7badb-5d1f-4872-89ae-dcf7b71f276a" providerId="ADAL" clId="{53886FC4-CEC3-49C2-A16F-E052A3E85A45}" dt="2020-03-12T02:22:12.508" v="5137" actId="478"/>
          <ac:picMkLst>
            <pc:docMk/>
            <pc:sldMk cId="2873864563" sldId="695"/>
            <ac:picMk id="9" creationId="{18683C53-2448-4694-9CAD-BC92FAD0FCB2}"/>
          </ac:picMkLst>
        </pc:picChg>
        <pc:picChg chg="del">
          <ac:chgData name="Sam Mesel" userId="1ee7badb-5d1f-4872-89ae-dcf7b71f276a" providerId="ADAL" clId="{53886FC4-CEC3-49C2-A16F-E052A3E85A45}" dt="2020-03-12T02:22:11.857" v="5136" actId="478"/>
          <ac:picMkLst>
            <pc:docMk/>
            <pc:sldMk cId="2873864563" sldId="695"/>
            <ac:picMk id="10" creationId="{15E1F92C-8A4F-4EFF-BA0F-AF20ECDF9FE5}"/>
          </ac:picMkLst>
        </pc:picChg>
        <pc:picChg chg="del">
          <ac:chgData name="Sam Mesel" userId="1ee7badb-5d1f-4872-89ae-dcf7b71f276a" providerId="ADAL" clId="{53886FC4-CEC3-49C2-A16F-E052A3E85A45}" dt="2020-03-12T02:22:11.053" v="5135" actId="478"/>
          <ac:picMkLst>
            <pc:docMk/>
            <pc:sldMk cId="2873864563" sldId="695"/>
            <ac:picMk id="11" creationId="{04C12883-2F02-40DD-BBB4-21E766C8DC9B}"/>
          </ac:picMkLst>
        </pc:picChg>
      </pc:sldChg>
      <pc:sldChg chg="addSp delSp modSp add mod delAnim modAnim">
        <pc:chgData name="Sam Mesel" userId="1ee7badb-5d1f-4872-89ae-dcf7b71f276a" providerId="ADAL" clId="{53886FC4-CEC3-49C2-A16F-E052A3E85A45}" dt="2020-03-19T19:31:50.424" v="8007"/>
        <pc:sldMkLst>
          <pc:docMk/>
          <pc:sldMk cId="94860651" sldId="696"/>
        </pc:sldMkLst>
        <pc:spChg chg="mod">
          <ac:chgData name="Sam Mesel" userId="1ee7badb-5d1f-4872-89ae-dcf7b71f276a" providerId="ADAL" clId="{53886FC4-CEC3-49C2-A16F-E052A3E85A45}" dt="2020-03-19T19:27:57.058" v="7973" actId="20577"/>
          <ac:spMkLst>
            <pc:docMk/>
            <pc:sldMk cId="94860651" sldId="696"/>
            <ac:spMk id="4" creationId="{F3616A99-090F-45E1-9334-58D58B148205}"/>
          </ac:spMkLst>
        </pc:spChg>
        <pc:spChg chg="add mod">
          <ac:chgData name="Sam Mesel" userId="1ee7badb-5d1f-4872-89ae-dcf7b71f276a" providerId="ADAL" clId="{53886FC4-CEC3-49C2-A16F-E052A3E85A45}" dt="2020-03-19T19:22:39.682" v="7847" actId="255"/>
          <ac:spMkLst>
            <pc:docMk/>
            <pc:sldMk cId="94860651" sldId="696"/>
            <ac:spMk id="5" creationId="{BB76AEF3-1138-4507-A25C-96F2CB874EBD}"/>
          </ac:spMkLst>
        </pc:spChg>
        <pc:spChg chg="add mod">
          <ac:chgData name="Sam Mesel" userId="1ee7badb-5d1f-4872-89ae-dcf7b71f276a" providerId="ADAL" clId="{53886FC4-CEC3-49C2-A16F-E052A3E85A45}" dt="2020-03-19T19:23:11.143" v="7853" actId="14100"/>
          <ac:spMkLst>
            <pc:docMk/>
            <pc:sldMk cId="94860651" sldId="696"/>
            <ac:spMk id="6" creationId="{607D6BD3-65C9-4CE1-935A-93F92604BF44}"/>
          </ac:spMkLst>
        </pc:spChg>
        <pc:spChg chg="add mod">
          <ac:chgData name="Sam Mesel" userId="1ee7badb-5d1f-4872-89ae-dcf7b71f276a" providerId="ADAL" clId="{53886FC4-CEC3-49C2-A16F-E052A3E85A45}" dt="2020-03-19T19:29:36.502" v="7997" actId="6549"/>
          <ac:spMkLst>
            <pc:docMk/>
            <pc:sldMk cId="94860651" sldId="696"/>
            <ac:spMk id="7" creationId="{F2415CB4-AE42-435C-8447-26D6B5ED14D3}"/>
          </ac:spMkLst>
        </pc:spChg>
        <pc:spChg chg="add mod">
          <ac:chgData name="Sam Mesel" userId="1ee7badb-5d1f-4872-89ae-dcf7b71f276a" providerId="ADAL" clId="{53886FC4-CEC3-49C2-A16F-E052A3E85A45}" dt="2020-03-19T19:31:32.489" v="8005" actId="339"/>
          <ac:spMkLst>
            <pc:docMk/>
            <pc:sldMk cId="94860651" sldId="696"/>
            <ac:spMk id="8" creationId="{0AC41649-80A3-4A32-932F-1A1683D68A20}"/>
          </ac:spMkLst>
        </pc:spChg>
        <pc:spChg chg="add mod">
          <ac:chgData name="Sam Mesel" userId="1ee7badb-5d1f-4872-89ae-dcf7b71f276a" providerId="ADAL" clId="{53886FC4-CEC3-49C2-A16F-E052A3E85A45}" dt="2020-03-12T02:47:15.398" v="5242" actId="1582"/>
          <ac:spMkLst>
            <pc:docMk/>
            <pc:sldMk cId="94860651" sldId="696"/>
            <ac:spMk id="14" creationId="{64A9A037-B4E5-4313-82CD-49B0E07B6021}"/>
          </ac:spMkLst>
        </pc:spChg>
        <pc:picChg chg="del">
          <ac:chgData name="Sam Mesel" userId="1ee7badb-5d1f-4872-89ae-dcf7b71f276a" providerId="ADAL" clId="{53886FC4-CEC3-49C2-A16F-E052A3E85A45}" dt="2020-03-12T02:24:31.865" v="5198" actId="478"/>
          <ac:picMkLst>
            <pc:docMk/>
            <pc:sldMk cId="94860651" sldId="696"/>
            <ac:picMk id="5" creationId="{64D61B61-D458-4C33-8529-090FE2D6B7DD}"/>
          </ac:picMkLst>
        </pc:picChg>
        <pc:picChg chg="del">
          <ac:chgData name="Sam Mesel" userId="1ee7badb-5d1f-4872-89ae-dcf7b71f276a" providerId="ADAL" clId="{53886FC4-CEC3-49C2-A16F-E052A3E85A45}" dt="2020-03-12T02:24:30.741" v="5197" actId="478"/>
          <ac:picMkLst>
            <pc:docMk/>
            <pc:sldMk cId="94860651" sldId="696"/>
            <ac:picMk id="6" creationId="{9B8A4429-8881-4142-A9CE-708C4C7BCA6C}"/>
          </ac:picMkLst>
        </pc:picChg>
        <pc:picChg chg="add del mod modCrop">
          <ac:chgData name="Sam Mesel" userId="1ee7badb-5d1f-4872-89ae-dcf7b71f276a" providerId="ADAL" clId="{53886FC4-CEC3-49C2-A16F-E052A3E85A45}" dt="2020-03-12T02:42:24.414" v="5218" actId="478"/>
          <ac:picMkLst>
            <pc:docMk/>
            <pc:sldMk cId="94860651" sldId="696"/>
            <ac:picMk id="7" creationId="{6EAD0DA8-3C9F-43BB-A7F3-F06DFB73B75C}"/>
          </ac:picMkLst>
        </pc:picChg>
        <pc:picChg chg="add del mod">
          <ac:chgData name="Sam Mesel" userId="1ee7badb-5d1f-4872-89ae-dcf7b71f276a" providerId="ADAL" clId="{53886FC4-CEC3-49C2-A16F-E052A3E85A45}" dt="2020-03-12T02:42:25.266" v="5219" actId="478"/>
          <ac:picMkLst>
            <pc:docMk/>
            <pc:sldMk cId="94860651" sldId="696"/>
            <ac:picMk id="8" creationId="{C9F23906-3EFE-4C24-9654-8D6A6AB2CD7D}"/>
          </ac:picMkLst>
        </pc:picChg>
        <pc:picChg chg="add del mod">
          <ac:chgData name="Sam Mesel" userId="1ee7badb-5d1f-4872-89ae-dcf7b71f276a" providerId="ADAL" clId="{53886FC4-CEC3-49C2-A16F-E052A3E85A45}" dt="2020-03-12T02:42:23.214" v="5217" actId="478"/>
          <ac:picMkLst>
            <pc:docMk/>
            <pc:sldMk cId="94860651" sldId="696"/>
            <ac:picMk id="10" creationId="{B02B8F76-C473-4665-9C62-4A1537912DE4}"/>
          </ac:picMkLst>
        </pc:picChg>
        <pc:picChg chg="add mod">
          <ac:chgData name="Sam Mesel" userId="1ee7badb-5d1f-4872-89ae-dcf7b71f276a" providerId="ADAL" clId="{53886FC4-CEC3-49C2-A16F-E052A3E85A45}" dt="2020-03-19T19:24:40.091" v="7864" actId="1076"/>
          <ac:picMkLst>
            <pc:docMk/>
            <pc:sldMk cId="94860651" sldId="696"/>
            <ac:picMk id="11" creationId="{119D7917-A61B-4432-89FD-A92F8C8A966C}"/>
          </ac:picMkLst>
        </pc:picChg>
        <pc:picChg chg="add mod ord modCrop">
          <ac:chgData name="Sam Mesel" userId="1ee7badb-5d1f-4872-89ae-dcf7b71f276a" providerId="ADAL" clId="{53886FC4-CEC3-49C2-A16F-E052A3E85A45}" dt="2020-03-19T19:29:28.731" v="7987" actId="167"/>
          <ac:picMkLst>
            <pc:docMk/>
            <pc:sldMk cId="94860651" sldId="696"/>
            <ac:picMk id="12" creationId="{CE83F876-A9B7-4123-9779-E6C9980EAA29}"/>
          </ac:picMkLst>
        </pc:picChg>
        <pc:picChg chg="add mod ord modCrop">
          <ac:chgData name="Sam Mesel" userId="1ee7badb-5d1f-4872-89ae-dcf7b71f276a" providerId="ADAL" clId="{53886FC4-CEC3-49C2-A16F-E052A3E85A45}" dt="2020-03-19T19:25:07.647" v="7866" actId="732"/>
          <ac:picMkLst>
            <pc:docMk/>
            <pc:sldMk cId="94860651" sldId="696"/>
            <ac:picMk id="13" creationId="{87877E67-A133-41E4-86AE-F32BFBBC7B15}"/>
          </ac:picMkLst>
        </pc:picChg>
      </pc:sldChg>
      <pc:sldChg chg="add del">
        <pc:chgData name="Sam Mesel" userId="1ee7badb-5d1f-4872-89ae-dcf7b71f276a" providerId="ADAL" clId="{53886FC4-CEC3-49C2-A16F-E052A3E85A45}" dt="2020-03-12T02:13:34.848" v="5004" actId="47"/>
        <pc:sldMkLst>
          <pc:docMk/>
          <pc:sldMk cId="3756249908" sldId="696"/>
        </pc:sldMkLst>
      </pc:sldChg>
      <pc:sldChg chg="addSp delSp modSp add mod delAnim modAnim modNotesTx">
        <pc:chgData name="Sam Mesel" userId="1ee7badb-5d1f-4872-89ae-dcf7b71f276a" providerId="ADAL" clId="{53886FC4-CEC3-49C2-A16F-E052A3E85A45}" dt="2020-03-19T20:00:12.275" v="9283" actId="122"/>
        <pc:sldMkLst>
          <pc:docMk/>
          <pc:sldMk cId="837806591" sldId="697"/>
        </pc:sldMkLst>
        <pc:spChg chg="mod">
          <ac:chgData name="Sam Mesel" userId="1ee7badb-5d1f-4872-89ae-dcf7b71f276a" providerId="ADAL" clId="{53886FC4-CEC3-49C2-A16F-E052A3E85A45}" dt="2020-03-19T19:37:57.677" v="8311" actId="21"/>
          <ac:spMkLst>
            <pc:docMk/>
            <pc:sldMk cId="837806591" sldId="697"/>
            <ac:spMk id="2" creationId="{EB67312A-9819-43C6-8D84-D9136E6CFFCC}"/>
          </ac:spMkLst>
        </pc:spChg>
        <pc:spChg chg="mod">
          <ac:chgData name="Sam Mesel" userId="1ee7badb-5d1f-4872-89ae-dcf7b71f276a" providerId="ADAL" clId="{53886FC4-CEC3-49C2-A16F-E052A3E85A45}" dt="2020-03-19T19:38:04.006" v="8312"/>
          <ac:spMkLst>
            <pc:docMk/>
            <pc:sldMk cId="837806591" sldId="697"/>
            <ac:spMk id="3" creationId="{F35E8CBB-5A7D-4DEF-BAF7-8DD5D042F9E0}"/>
          </ac:spMkLst>
        </pc:spChg>
        <pc:spChg chg="mod">
          <ac:chgData name="Sam Mesel" userId="1ee7badb-5d1f-4872-89ae-dcf7b71f276a" providerId="ADAL" clId="{53886FC4-CEC3-49C2-A16F-E052A3E85A45}" dt="2020-03-19T19:56:56.538" v="9252" actId="20577"/>
          <ac:spMkLst>
            <pc:docMk/>
            <pc:sldMk cId="837806591" sldId="697"/>
            <ac:spMk id="4" creationId="{F3616A99-090F-45E1-9334-58D58B148205}"/>
          </ac:spMkLst>
        </pc:spChg>
        <pc:spChg chg="add del mod">
          <ac:chgData name="Sam Mesel" userId="1ee7badb-5d1f-4872-89ae-dcf7b71f276a" providerId="ADAL" clId="{53886FC4-CEC3-49C2-A16F-E052A3E85A45}" dt="2020-03-19T19:42:51.392" v="8697" actId="12084"/>
          <ac:spMkLst>
            <pc:docMk/>
            <pc:sldMk cId="837806591" sldId="697"/>
            <ac:spMk id="6" creationId="{F7263244-A30D-4A8B-AB13-EC9474CCA1E3}"/>
          </ac:spMkLst>
        </pc:spChg>
        <pc:spChg chg="add mod">
          <ac:chgData name="Sam Mesel" userId="1ee7badb-5d1f-4872-89ae-dcf7b71f276a" providerId="ADAL" clId="{53886FC4-CEC3-49C2-A16F-E052A3E85A45}" dt="2020-03-19T20:00:12.275" v="9283" actId="122"/>
          <ac:spMkLst>
            <pc:docMk/>
            <pc:sldMk cId="837806591" sldId="697"/>
            <ac:spMk id="8" creationId="{B7F42196-B19A-45D5-8701-DDEEE8A0CAFC}"/>
          </ac:spMkLst>
        </pc:spChg>
        <pc:spChg chg="add mod ord">
          <ac:chgData name="Sam Mesel" userId="1ee7badb-5d1f-4872-89ae-dcf7b71f276a" providerId="ADAL" clId="{53886FC4-CEC3-49C2-A16F-E052A3E85A45}" dt="2020-03-19T19:59:46.531" v="9277" actId="122"/>
          <ac:spMkLst>
            <pc:docMk/>
            <pc:sldMk cId="837806591" sldId="697"/>
            <ac:spMk id="9" creationId="{333692B9-A6C7-4345-B524-524D730239FB}"/>
          </ac:spMkLst>
        </pc:spChg>
        <pc:spChg chg="add mod ord">
          <ac:chgData name="Sam Mesel" userId="1ee7badb-5d1f-4872-89ae-dcf7b71f276a" providerId="ADAL" clId="{53886FC4-CEC3-49C2-A16F-E052A3E85A45}" dt="2020-03-19T19:58:59.986" v="9269" actId="122"/>
          <ac:spMkLst>
            <pc:docMk/>
            <pc:sldMk cId="837806591" sldId="697"/>
            <ac:spMk id="10" creationId="{01E93ACD-DF4D-496D-A8A8-246AC021620C}"/>
          </ac:spMkLst>
        </pc:spChg>
        <pc:spChg chg="add mod">
          <ac:chgData name="Sam Mesel" userId="1ee7badb-5d1f-4872-89ae-dcf7b71f276a" providerId="ADAL" clId="{53886FC4-CEC3-49C2-A16F-E052A3E85A45}" dt="2020-03-19T19:57:53.254" v="9256" actId="14100"/>
          <ac:spMkLst>
            <pc:docMk/>
            <pc:sldMk cId="837806591" sldId="697"/>
            <ac:spMk id="11" creationId="{E6CF9367-AD31-496C-AB69-9762DAFE0BAE}"/>
          </ac:spMkLst>
        </pc:spChg>
        <pc:spChg chg="del">
          <ac:chgData name="Sam Mesel" userId="1ee7badb-5d1f-4872-89ae-dcf7b71f276a" providerId="ADAL" clId="{53886FC4-CEC3-49C2-A16F-E052A3E85A45}" dt="2020-03-12T02:48:09.096" v="5276" actId="478"/>
          <ac:spMkLst>
            <pc:docMk/>
            <pc:sldMk cId="837806591" sldId="697"/>
            <ac:spMk id="14" creationId="{64A9A037-B4E5-4313-82CD-49B0E07B6021}"/>
          </ac:spMkLst>
        </pc:spChg>
        <pc:graphicFrameChg chg="add mod">
          <ac:chgData name="Sam Mesel" userId="1ee7badb-5d1f-4872-89ae-dcf7b71f276a" providerId="ADAL" clId="{53886FC4-CEC3-49C2-A16F-E052A3E85A45}" dt="2020-03-19T19:53:16.967" v="9207" actId="1076"/>
          <ac:graphicFrameMkLst>
            <pc:docMk/>
            <pc:sldMk cId="837806591" sldId="697"/>
            <ac:graphicFrameMk id="5" creationId="{FA1968C2-B16A-474E-93B5-3D1165E85003}"/>
          </ac:graphicFrameMkLst>
        </pc:graphicFrameChg>
        <pc:picChg chg="add del mod">
          <ac:chgData name="Sam Mesel" userId="1ee7badb-5d1f-4872-89ae-dcf7b71f276a" providerId="ADAL" clId="{53886FC4-CEC3-49C2-A16F-E052A3E85A45}" dt="2020-03-12T02:49:34.582" v="5281" actId="478"/>
          <ac:picMkLst>
            <pc:docMk/>
            <pc:sldMk cId="837806591" sldId="697"/>
            <ac:picMk id="5" creationId="{A7EA63E4-1441-49FA-87BE-1B190677ABCF}"/>
          </ac:picMkLst>
        </pc:picChg>
        <pc:picChg chg="add del">
          <ac:chgData name="Sam Mesel" userId="1ee7badb-5d1f-4872-89ae-dcf7b71f276a" providerId="ADAL" clId="{53886FC4-CEC3-49C2-A16F-E052A3E85A45}" dt="2020-03-12T02:49:33.354" v="5280" actId="478"/>
          <ac:picMkLst>
            <pc:docMk/>
            <pc:sldMk cId="837806591" sldId="697"/>
            <ac:picMk id="6" creationId="{01427F92-E3AD-43E9-8762-CA26AC2235AF}"/>
          </ac:picMkLst>
        </pc:picChg>
        <pc:picChg chg="add del mod">
          <ac:chgData name="Sam Mesel" userId="1ee7badb-5d1f-4872-89ae-dcf7b71f276a" providerId="ADAL" clId="{53886FC4-CEC3-49C2-A16F-E052A3E85A45}" dt="2020-03-19T19:34:59.439" v="8009" actId="478"/>
          <ac:picMkLst>
            <pc:docMk/>
            <pc:sldMk cId="837806591" sldId="697"/>
            <ac:picMk id="7" creationId="{EEBE0237-40B2-4CDC-8D42-00FD97A57AEB}"/>
          </ac:picMkLst>
        </pc:picChg>
        <pc:picChg chg="del">
          <ac:chgData name="Sam Mesel" userId="1ee7badb-5d1f-4872-89ae-dcf7b71f276a" providerId="ADAL" clId="{53886FC4-CEC3-49C2-A16F-E052A3E85A45}" dt="2020-03-12T02:47:50.634" v="5245" actId="478"/>
          <ac:picMkLst>
            <pc:docMk/>
            <pc:sldMk cId="837806591" sldId="697"/>
            <ac:picMk id="11" creationId="{119D7917-A61B-4432-89FD-A92F8C8A966C}"/>
          </ac:picMkLst>
        </pc:picChg>
        <pc:picChg chg="del">
          <ac:chgData name="Sam Mesel" userId="1ee7badb-5d1f-4872-89ae-dcf7b71f276a" providerId="ADAL" clId="{53886FC4-CEC3-49C2-A16F-E052A3E85A45}" dt="2020-03-12T02:47:51.928" v="5246" actId="478"/>
          <ac:picMkLst>
            <pc:docMk/>
            <pc:sldMk cId="837806591" sldId="697"/>
            <ac:picMk id="12" creationId="{CE83F876-A9B7-4123-9779-E6C9980EAA29}"/>
          </ac:picMkLst>
        </pc:picChg>
        <pc:picChg chg="del">
          <ac:chgData name="Sam Mesel" userId="1ee7badb-5d1f-4872-89ae-dcf7b71f276a" providerId="ADAL" clId="{53886FC4-CEC3-49C2-A16F-E052A3E85A45}" dt="2020-03-12T02:47:49.414" v="5244" actId="478"/>
          <ac:picMkLst>
            <pc:docMk/>
            <pc:sldMk cId="837806591" sldId="697"/>
            <ac:picMk id="13" creationId="{87877E67-A133-41E4-86AE-F32BFBBC7B15}"/>
          </ac:picMkLst>
        </pc:picChg>
      </pc:sldChg>
      <pc:sldChg chg="modSp mod">
        <pc:chgData name="Sam Mesel" userId="1ee7badb-5d1f-4872-89ae-dcf7b71f276a" providerId="ADAL" clId="{53886FC4-CEC3-49C2-A16F-E052A3E85A45}" dt="2020-03-18T02:36:06.690" v="5307" actId="20577"/>
        <pc:sldMkLst>
          <pc:docMk/>
          <pc:sldMk cId="1667766974" sldId="1397"/>
        </pc:sldMkLst>
        <pc:spChg chg="mod">
          <ac:chgData name="Sam Mesel" userId="1ee7badb-5d1f-4872-89ae-dcf7b71f276a" providerId="ADAL" clId="{53886FC4-CEC3-49C2-A16F-E052A3E85A45}" dt="2020-03-18T02:36:06.690" v="5307" actId="20577"/>
          <ac:spMkLst>
            <pc:docMk/>
            <pc:sldMk cId="1667766974" sldId="1397"/>
            <ac:spMk id="2" creationId="{00000000-0000-0000-0000-000000000000}"/>
          </ac:spMkLst>
        </pc:spChg>
      </pc:sldChg>
      <pc:sldChg chg="modSp mod">
        <pc:chgData name="Sam Mesel" userId="1ee7badb-5d1f-4872-89ae-dcf7b71f276a" providerId="ADAL" clId="{53886FC4-CEC3-49C2-A16F-E052A3E85A45}" dt="2020-03-18T02:36:51.350" v="5311" actId="20577"/>
        <pc:sldMkLst>
          <pc:docMk/>
          <pc:sldMk cId="4030353435" sldId="1424"/>
        </pc:sldMkLst>
        <pc:spChg chg="mod">
          <ac:chgData name="Sam Mesel" userId="1ee7badb-5d1f-4872-89ae-dcf7b71f276a" providerId="ADAL" clId="{53886FC4-CEC3-49C2-A16F-E052A3E85A45}" dt="2020-03-18T02:36:51.350" v="5311" actId="20577"/>
          <ac:spMkLst>
            <pc:docMk/>
            <pc:sldMk cId="4030353435" sldId="1424"/>
            <ac:spMk id="2" creationId="{00000000-0000-0000-0000-000000000000}"/>
          </ac:spMkLst>
        </pc:spChg>
      </pc:sldChg>
      <pc:sldChg chg="modSp del mod">
        <pc:chgData name="Sam Mesel" userId="1ee7badb-5d1f-4872-89ae-dcf7b71f276a" providerId="ADAL" clId="{53886FC4-CEC3-49C2-A16F-E052A3E85A45}" dt="2020-03-18T14:20:08.319" v="5328" actId="47"/>
        <pc:sldMkLst>
          <pc:docMk/>
          <pc:sldMk cId="3723203944" sldId="1468"/>
        </pc:sldMkLst>
        <pc:spChg chg="mod">
          <ac:chgData name="Sam Mesel" userId="1ee7badb-5d1f-4872-89ae-dcf7b71f276a" providerId="ADAL" clId="{53886FC4-CEC3-49C2-A16F-E052A3E85A45}" dt="2020-03-18T02:37:31.957" v="5312" actId="14100"/>
          <ac:spMkLst>
            <pc:docMk/>
            <pc:sldMk cId="3723203944" sldId="1468"/>
            <ac:spMk id="76" creationId="{00000000-0000-0000-0000-000000000000}"/>
          </ac:spMkLst>
        </pc:spChg>
      </pc:sldChg>
      <pc:sldChg chg="modSp">
        <pc:chgData name="Sam Mesel" userId="1ee7badb-5d1f-4872-89ae-dcf7b71f276a" providerId="ADAL" clId="{53886FC4-CEC3-49C2-A16F-E052A3E85A45}" dt="2020-03-18T02:38:09.396" v="5313" actId="6549"/>
        <pc:sldMkLst>
          <pc:docMk/>
          <pc:sldMk cId="572847463" sldId="1469"/>
        </pc:sldMkLst>
        <pc:spChg chg="mod">
          <ac:chgData name="Sam Mesel" userId="1ee7badb-5d1f-4872-89ae-dcf7b71f276a" providerId="ADAL" clId="{53886FC4-CEC3-49C2-A16F-E052A3E85A45}" dt="2020-03-18T02:38:09.396" v="5313" actId="6549"/>
          <ac:spMkLst>
            <pc:docMk/>
            <pc:sldMk cId="572847463" sldId="1469"/>
            <ac:spMk id="215" creationId="{00000000-0000-0000-0000-000000000000}"/>
          </ac:spMkLst>
        </pc:spChg>
      </pc:sldChg>
      <pc:sldChg chg="del">
        <pc:chgData name="Sam Mesel" userId="1ee7badb-5d1f-4872-89ae-dcf7b71f276a" providerId="ADAL" clId="{53886FC4-CEC3-49C2-A16F-E052A3E85A45}" dt="2020-03-18T14:20:44.807" v="5329" actId="47"/>
        <pc:sldMkLst>
          <pc:docMk/>
          <pc:sldMk cId="2189172121" sldId="1474"/>
        </pc:sldMkLst>
      </pc:sldChg>
      <pc:sldChg chg="modSp del mod">
        <pc:chgData name="Sam Mesel" userId="1ee7badb-5d1f-4872-89ae-dcf7b71f276a" providerId="ADAL" clId="{53886FC4-CEC3-49C2-A16F-E052A3E85A45}" dt="2020-03-18T14:19:34.355" v="5327" actId="47"/>
        <pc:sldMkLst>
          <pc:docMk/>
          <pc:sldMk cId="4194733795" sldId="1475"/>
        </pc:sldMkLst>
        <pc:spChg chg="mod">
          <ac:chgData name="Sam Mesel" userId="1ee7badb-5d1f-4872-89ae-dcf7b71f276a" providerId="ADAL" clId="{53886FC4-CEC3-49C2-A16F-E052A3E85A45}" dt="2020-03-18T02:34:47.792" v="5298" actId="20577"/>
          <ac:spMkLst>
            <pc:docMk/>
            <pc:sldMk cId="4194733795" sldId="1475"/>
            <ac:spMk id="4" creationId="{D0A85AF3-31C4-498A-B822-6989BB131ACB}"/>
          </ac:spMkLst>
        </pc:spChg>
      </pc:sldChg>
      <pc:sldChg chg="modSp mod">
        <pc:chgData name="Sam Mesel" userId="1ee7badb-5d1f-4872-89ae-dcf7b71f276a" providerId="ADAL" clId="{53886FC4-CEC3-49C2-A16F-E052A3E85A45}" dt="2020-03-18T02:34:42.812" v="5296" actId="20577"/>
        <pc:sldMkLst>
          <pc:docMk/>
          <pc:sldMk cId="1951336761" sldId="1476"/>
        </pc:sldMkLst>
        <pc:spChg chg="mod">
          <ac:chgData name="Sam Mesel" userId="1ee7badb-5d1f-4872-89ae-dcf7b71f276a" providerId="ADAL" clId="{53886FC4-CEC3-49C2-A16F-E052A3E85A45}" dt="2020-03-18T02:34:42.812" v="5296" actId="20577"/>
          <ac:spMkLst>
            <pc:docMk/>
            <pc:sldMk cId="1951336761" sldId="1476"/>
            <ac:spMk id="2" creationId="{DB8CADE1-709D-4D38-B42A-B8361B4F37FA}"/>
          </ac:spMkLst>
        </pc:spChg>
      </pc:sldChg>
      <pc:sldChg chg="addSp delSp modSp add mod modAnim modNotesTx">
        <pc:chgData name="Sam Mesel" userId="1ee7badb-5d1f-4872-89ae-dcf7b71f276a" providerId="ADAL" clId="{53886FC4-CEC3-49C2-A16F-E052A3E85A45}" dt="2020-03-20T00:34:26.998" v="13040" actId="6549"/>
        <pc:sldMkLst>
          <pc:docMk/>
          <pc:sldMk cId="1716151462" sldId="1480"/>
        </pc:sldMkLst>
        <pc:picChg chg="add mod">
          <ac:chgData name="Sam Mesel" userId="1ee7badb-5d1f-4872-89ae-dcf7b71f276a" providerId="ADAL" clId="{53886FC4-CEC3-49C2-A16F-E052A3E85A45}" dt="2020-03-20T00:32:36.829" v="13038" actId="1076"/>
          <ac:picMkLst>
            <pc:docMk/>
            <pc:sldMk cId="1716151462" sldId="1480"/>
            <ac:picMk id="5" creationId="{C6ACE942-AA91-460D-B485-C74DF847A8EF}"/>
          </ac:picMkLst>
        </pc:picChg>
        <pc:picChg chg="add mod">
          <ac:chgData name="Sam Mesel" userId="1ee7badb-5d1f-4872-89ae-dcf7b71f276a" providerId="ADAL" clId="{53886FC4-CEC3-49C2-A16F-E052A3E85A45}" dt="2020-03-20T00:32:37.312" v="13039" actId="1076"/>
          <ac:picMkLst>
            <pc:docMk/>
            <pc:sldMk cId="1716151462" sldId="1480"/>
            <ac:picMk id="6" creationId="{2B21036A-6A87-46A8-B52B-6DE3841CAC38}"/>
          </ac:picMkLst>
        </pc:picChg>
        <pc:picChg chg="mod">
          <ac:chgData name="Sam Mesel" userId="1ee7badb-5d1f-4872-89ae-dcf7b71f276a" providerId="ADAL" clId="{53886FC4-CEC3-49C2-A16F-E052A3E85A45}" dt="2020-03-19T17:24:04.380" v="7562" actId="1076"/>
          <ac:picMkLst>
            <pc:docMk/>
            <pc:sldMk cId="1716151462" sldId="1480"/>
            <ac:picMk id="8" creationId="{CA17CF02-C4D1-4F45-A971-6277FA5FAAEA}"/>
          </ac:picMkLst>
        </pc:picChg>
        <pc:picChg chg="mod">
          <ac:chgData name="Sam Mesel" userId="1ee7badb-5d1f-4872-89ae-dcf7b71f276a" providerId="ADAL" clId="{53886FC4-CEC3-49C2-A16F-E052A3E85A45}" dt="2020-03-20T00:32:36.404" v="13037" actId="1076"/>
          <ac:picMkLst>
            <pc:docMk/>
            <pc:sldMk cId="1716151462" sldId="1480"/>
            <ac:picMk id="9" creationId="{18683C53-2448-4694-9CAD-BC92FAD0FCB2}"/>
          </ac:picMkLst>
        </pc:picChg>
        <pc:picChg chg="del mod">
          <ac:chgData name="Sam Mesel" userId="1ee7badb-5d1f-4872-89ae-dcf7b71f276a" providerId="ADAL" clId="{53886FC4-CEC3-49C2-A16F-E052A3E85A45}" dt="2020-03-19T17:23:08.484" v="7553" actId="478"/>
          <ac:picMkLst>
            <pc:docMk/>
            <pc:sldMk cId="1716151462" sldId="1480"/>
            <ac:picMk id="10" creationId="{15E1F92C-8A4F-4EFF-BA0F-AF20ECDF9FE5}"/>
          </ac:picMkLst>
        </pc:picChg>
        <pc:picChg chg="del mod ord">
          <ac:chgData name="Sam Mesel" userId="1ee7badb-5d1f-4872-89ae-dcf7b71f276a" providerId="ADAL" clId="{53886FC4-CEC3-49C2-A16F-E052A3E85A45}" dt="2020-03-19T17:26:01.101" v="7575" actId="478"/>
          <ac:picMkLst>
            <pc:docMk/>
            <pc:sldMk cId="1716151462" sldId="1480"/>
            <ac:picMk id="11" creationId="{04C12883-2F02-40DD-BBB4-21E766C8DC9B}"/>
          </ac:picMkLst>
        </pc:picChg>
      </pc:sldChg>
      <pc:sldChg chg="addSp delSp modSp add mod modAnim modNotesTx">
        <pc:chgData name="Sam Mesel" userId="1ee7badb-5d1f-4872-89ae-dcf7b71f276a" providerId="ADAL" clId="{53886FC4-CEC3-49C2-A16F-E052A3E85A45}" dt="2020-03-19T16:32:07.237" v="6613" actId="20577"/>
        <pc:sldMkLst>
          <pc:docMk/>
          <pc:sldMk cId="565001887" sldId="1481"/>
        </pc:sldMkLst>
        <pc:spChg chg="mod">
          <ac:chgData name="Sam Mesel" userId="1ee7badb-5d1f-4872-89ae-dcf7b71f276a" providerId="ADAL" clId="{53886FC4-CEC3-49C2-A16F-E052A3E85A45}" dt="2020-03-19T16:08:15.641" v="6055" actId="20577"/>
          <ac:spMkLst>
            <pc:docMk/>
            <pc:sldMk cId="565001887" sldId="1481"/>
            <ac:spMk id="3" creationId="{AE17EE2F-ED73-4227-9486-2486245C512D}"/>
          </ac:spMkLst>
        </pc:spChg>
        <pc:grpChg chg="mod">
          <ac:chgData name="Sam Mesel" userId="1ee7badb-5d1f-4872-89ae-dcf7b71f276a" providerId="ADAL" clId="{53886FC4-CEC3-49C2-A16F-E052A3E85A45}" dt="2020-03-19T16:26:21.963" v="6529" actId="18245"/>
          <ac:grpSpMkLst>
            <pc:docMk/>
            <pc:sldMk cId="565001887" sldId="1481"/>
            <ac:grpSpMk id="4" creationId="{28DE9482-8963-4341-BC59-26C2EAB8CF73}"/>
          </ac:grpSpMkLst>
        </pc:grpChg>
        <pc:graphicFrameChg chg="add del mod">
          <ac:chgData name="Sam Mesel" userId="1ee7badb-5d1f-4872-89ae-dcf7b71f276a" providerId="ADAL" clId="{53886FC4-CEC3-49C2-A16F-E052A3E85A45}" dt="2020-03-19T16:32:07.237" v="6613" actId="20577"/>
          <ac:graphicFrameMkLst>
            <pc:docMk/>
            <pc:sldMk cId="565001887" sldId="1481"/>
            <ac:graphicFrameMk id="5" creationId="{7D108DBB-E906-4DC1-A452-84D184316AB6}"/>
          </ac:graphicFrameMkLst>
        </pc:graphicFrameChg>
      </pc:sldChg>
      <pc:sldChg chg="del">
        <pc:chgData name="Sam Mesel" userId="1ee7badb-5d1f-4872-89ae-dcf7b71f276a" providerId="ADAL" clId="{53886FC4-CEC3-49C2-A16F-E052A3E85A45}" dt="2020-03-19T16:38:48.752" v="6805" actId="47"/>
        <pc:sldMkLst>
          <pc:docMk/>
          <pc:sldMk cId="177601937" sldId="1482"/>
        </pc:sldMkLst>
      </pc:sldChg>
      <pc:sldChg chg="addSp delSp modSp add mod">
        <pc:chgData name="Sam Mesel" userId="1ee7badb-5d1f-4872-89ae-dcf7b71f276a" providerId="ADAL" clId="{53886FC4-CEC3-49C2-A16F-E052A3E85A45}" dt="2020-03-19T16:49:59.547" v="6989" actId="20577"/>
        <pc:sldMkLst>
          <pc:docMk/>
          <pc:sldMk cId="179543186" sldId="1482"/>
        </pc:sldMkLst>
        <pc:spChg chg="mod">
          <ac:chgData name="Sam Mesel" userId="1ee7badb-5d1f-4872-89ae-dcf7b71f276a" providerId="ADAL" clId="{53886FC4-CEC3-49C2-A16F-E052A3E85A45}" dt="2020-03-19T16:45:19.037" v="6941" actId="20577"/>
          <ac:spMkLst>
            <pc:docMk/>
            <pc:sldMk cId="179543186" sldId="1482"/>
            <ac:spMk id="3" creationId="{F35E8CBB-5A7D-4DEF-BAF7-8DD5D042F9E0}"/>
          </ac:spMkLst>
        </pc:spChg>
        <pc:spChg chg="add del mod">
          <ac:chgData name="Sam Mesel" userId="1ee7badb-5d1f-4872-89ae-dcf7b71f276a" providerId="ADAL" clId="{53886FC4-CEC3-49C2-A16F-E052A3E85A45}" dt="2020-03-19T16:48:37.813" v="6952" actId="478"/>
          <ac:spMkLst>
            <pc:docMk/>
            <pc:sldMk cId="179543186" sldId="1482"/>
            <ac:spMk id="5" creationId="{889A782C-FEF2-47E2-8C96-96BD5AF4D4A6}"/>
          </ac:spMkLst>
        </pc:spChg>
        <pc:spChg chg="add del mod">
          <ac:chgData name="Sam Mesel" userId="1ee7badb-5d1f-4872-89ae-dcf7b71f276a" providerId="ADAL" clId="{53886FC4-CEC3-49C2-A16F-E052A3E85A45}" dt="2020-03-19T16:49:59.547" v="6989" actId="20577"/>
          <ac:spMkLst>
            <pc:docMk/>
            <pc:sldMk cId="179543186" sldId="1482"/>
            <ac:spMk id="12" creationId="{937A596A-4DB9-41DC-A815-80CF009972D6}"/>
          </ac:spMkLst>
        </pc:spChg>
        <pc:spChg chg="del mod">
          <ac:chgData name="Sam Mesel" userId="1ee7badb-5d1f-4872-89ae-dcf7b71f276a" providerId="ADAL" clId="{53886FC4-CEC3-49C2-A16F-E052A3E85A45}" dt="2020-03-19T16:48:45.575" v="6954" actId="478"/>
          <ac:spMkLst>
            <pc:docMk/>
            <pc:sldMk cId="179543186" sldId="1482"/>
            <ac:spMk id="13" creationId="{8460F7CC-1C4E-4F5E-B06C-7BD4D7AB1400}"/>
          </ac:spMkLst>
        </pc:spChg>
      </pc:sldChg>
      <pc:sldChg chg="modSp add mod ord modNotesTx">
        <pc:chgData name="Sam Mesel" userId="1ee7badb-5d1f-4872-89ae-dcf7b71f276a" providerId="ADAL" clId="{53886FC4-CEC3-49C2-A16F-E052A3E85A45}" dt="2020-03-19T17:18:12.879" v="7528" actId="6549"/>
        <pc:sldMkLst>
          <pc:docMk/>
          <pc:sldMk cId="2597649565" sldId="1483"/>
        </pc:sldMkLst>
        <pc:spChg chg="mod">
          <ac:chgData name="Sam Mesel" userId="1ee7badb-5d1f-4872-89ae-dcf7b71f276a" providerId="ADAL" clId="{53886FC4-CEC3-49C2-A16F-E052A3E85A45}" dt="2020-03-19T16:52:08.188" v="7043" actId="20577"/>
          <ac:spMkLst>
            <pc:docMk/>
            <pc:sldMk cId="2597649565" sldId="1483"/>
            <ac:spMk id="6" creationId="{637E159C-9ACF-48AE-927A-D5FB13695C7F}"/>
          </ac:spMkLst>
        </pc:spChg>
      </pc:sldChg>
      <pc:sldChg chg="modSp add mod modNotesTx">
        <pc:chgData name="Sam Mesel" userId="1ee7badb-5d1f-4872-89ae-dcf7b71f276a" providerId="ADAL" clId="{53886FC4-CEC3-49C2-A16F-E052A3E85A45}" dt="2020-03-20T00:37:39.854" v="13075" actId="6549"/>
        <pc:sldMkLst>
          <pc:docMk/>
          <pc:sldMk cId="3385827956" sldId="1484"/>
        </pc:sldMkLst>
        <pc:spChg chg="mod">
          <ac:chgData name="Sam Mesel" userId="1ee7badb-5d1f-4872-89ae-dcf7b71f276a" providerId="ADAL" clId="{53886FC4-CEC3-49C2-A16F-E052A3E85A45}" dt="2020-03-19T20:34:52.394" v="9332" actId="20577"/>
          <ac:spMkLst>
            <pc:docMk/>
            <pc:sldMk cId="3385827956" sldId="1484"/>
            <ac:spMk id="2" creationId="{EB67312A-9819-43C6-8D84-D9136E6CFFCC}"/>
          </ac:spMkLst>
        </pc:spChg>
        <pc:spChg chg="mod">
          <ac:chgData name="Sam Mesel" userId="1ee7badb-5d1f-4872-89ae-dcf7b71f276a" providerId="ADAL" clId="{53886FC4-CEC3-49C2-A16F-E052A3E85A45}" dt="2020-03-19T20:35:17.309" v="9369" actId="20577"/>
          <ac:spMkLst>
            <pc:docMk/>
            <pc:sldMk cId="3385827956" sldId="1484"/>
            <ac:spMk id="3" creationId="{F35E8CBB-5A7D-4DEF-BAF7-8DD5D042F9E0}"/>
          </ac:spMkLst>
        </pc:spChg>
      </pc:sldChg>
      <pc:sldChg chg="delSp modSp add del mod">
        <pc:chgData name="Sam Mesel" userId="1ee7badb-5d1f-4872-89ae-dcf7b71f276a" providerId="ADAL" clId="{53886FC4-CEC3-49C2-A16F-E052A3E85A45}" dt="2020-03-19T20:35:22.181" v="9370" actId="47"/>
        <pc:sldMkLst>
          <pc:docMk/>
          <pc:sldMk cId="2641531372" sldId="1485"/>
        </pc:sldMkLst>
        <pc:spChg chg="mod">
          <ac:chgData name="Sam Mesel" userId="1ee7badb-5d1f-4872-89ae-dcf7b71f276a" providerId="ADAL" clId="{53886FC4-CEC3-49C2-A16F-E052A3E85A45}" dt="2020-03-19T20:34:25.660" v="9292" actId="20577"/>
          <ac:spMkLst>
            <pc:docMk/>
            <pc:sldMk cId="2641531372" sldId="1485"/>
            <ac:spMk id="4" creationId="{F3616A99-090F-45E1-9334-58D58B148205}"/>
          </ac:spMkLst>
        </pc:spChg>
        <pc:picChg chg="del">
          <ac:chgData name="Sam Mesel" userId="1ee7badb-5d1f-4872-89ae-dcf7b71f276a" providerId="ADAL" clId="{53886FC4-CEC3-49C2-A16F-E052A3E85A45}" dt="2020-03-19T20:34:17.340" v="9285" actId="478"/>
          <ac:picMkLst>
            <pc:docMk/>
            <pc:sldMk cId="2641531372" sldId="1485"/>
            <ac:picMk id="7" creationId="{EEBE0237-40B2-4CDC-8D42-00FD97A57AEB}"/>
          </ac:picMkLst>
        </pc:picChg>
      </pc:sldChg>
      <pc:sldChg chg="addSp delSp modSp add mod delAnim modAnim modNotesTx">
        <pc:chgData name="Sam Mesel" userId="1ee7badb-5d1f-4872-89ae-dcf7b71f276a" providerId="ADAL" clId="{53886FC4-CEC3-49C2-A16F-E052A3E85A45}" dt="2020-03-20T00:37:48.198" v="13076" actId="6549"/>
        <pc:sldMkLst>
          <pc:docMk/>
          <pc:sldMk cId="3951487755" sldId="1485"/>
        </pc:sldMkLst>
        <pc:spChg chg="mod">
          <ac:chgData name="Sam Mesel" userId="1ee7badb-5d1f-4872-89ae-dcf7b71f276a" providerId="ADAL" clId="{53886FC4-CEC3-49C2-A16F-E052A3E85A45}" dt="2020-03-19T20:35:31.323" v="9375" actId="113"/>
          <ac:spMkLst>
            <pc:docMk/>
            <pc:sldMk cId="3951487755" sldId="1485"/>
            <ac:spMk id="3" creationId="{F35E8CBB-5A7D-4DEF-BAF7-8DD5D042F9E0}"/>
          </ac:spMkLst>
        </pc:spChg>
        <pc:spChg chg="del">
          <ac:chgData name="Sam Mesel" userId="1ee7badb-5d1f-4872-89ae-dcf7b71f276a" providerId="ADAL" clId="{53886FC4-CEC3-49C2-A16F-E052A3E85A45}" dt="2020-03-19T20:35:41.463" v="9377" actId="478"/>
          <ac:spMkLst>
            <pc:docMk/>
            <pc:sldMk cId="3951487755" sldId="1485"/>
            <ac:spMk id="4" creationId="{F3616A99-090F-45E1-9334-58D58B148205}"/>
          </ac:spMkLst>
        </pc:spChg>
        <pc:spChg chg="add del mod">
          <ac:chgData name="Sam Mesel" userId="1ee7badb-5d1f-4872-89ae-dcf7b71f276a" providerId="ADAL" clId="{53886FC4-CEC3-49C2-A16F-E052A3E85A45}" dt="2020-03-19T20:35:43.614" v="9378" actId="478"/>
          <ac:spMkLst>
            <pc:docMk/>
            <pc:sldMk cId="3951487755" sldId="1485"/>
            <ac:spMk id="6" creationId="{D9F53E2D-F7F4-424E-ABAE-01750C4740BD}"/>
          </ac:spMkLst>
        </pc:spChg>
        <pc:picChg chg="del">
          <ac:chgData name="Sam Mesel" userId="1ee7badb-5d1f-4872-89ae-dcf7b71f276a" providerId="ADAL" clId="{53886FC4-CEC3-49C2-A16F-E052A3E85A45}" dt="2020-03-19T20:35:34.842" v="9376" actId="478"/>
          <ac:picMkLst>
            <pc:docMk/>
            <pc:sldMk cId="3951487755" sldId="1485"/>
            <ac:picMk id="7" creationId="{EEBE0237-40B2-4CDC-8D42-00FD97A57AEB}"/>
          </ac:picMkLst>
        </pc:picChg>
        <pc:picChg chg="add mod">
          <ac:chgData name="Sam Mesel" userId="1ee7badb-5d1f-4872-89ae-dcf7b71f276a" providerId="ADAL" clId="{53886FC4-CEC3-49C2-A16F-E052A3E85A45}" dt="2020-03-19T20:40:08.404" v="9382" actId="1076"/>
          <ac:picMkLst>
            <pc:docMk/>
            <pc:sldMk cId="3951487755" sldId="1485"/>
            <ac:picMk id="8" creationId="{3158FC52-D673-43CA-86CE-208CAC593995}"/>
          </ac:picMkLst>
        </pc:picChg>
        <pc:picChg chg="add mod">
          <ac:chgData name="Sam Mesel" userId="1ee7badb-5d1f-4872-89ae-dcf7b71f276a" providerId="ADAL" clId="{53886FC4-CEC3-49C2-A16F-E052A3E85A45}" dt="2020-03-19T20:41:52.725" v="9392" actId="14100"/>
          <ac:picMkLst>
            <pc:docMk/>
            <pc:sldMk cId="3951487755" sldId="1485"/>
            <ac:picMk id="9" creationId="{598D7AD3-CDD2-4AA1-B681-2AAF317180C3}"/>
          </ac:picMkLst>
        </pc:picChg>
        <pc:picChg chg="add mod">
          <ac:chgData name="Sam Mesel" userId="1ee7badb-5d1f-4872-89ae-dcf7b71f276a" providerId="ADAL" clId="{53886FC4-CEC3-49C2-A16F-E052A3E85A45}" dt="2020-03-19T20:42:10.863" v="9395" actId="14100"/>
          <ac:picMkLst>
            <pc:docMk/>
            <pc:sldMk cId="3951487755" sldId="1485"/>
            <ac:picMk id="10" creationId="{289DC0B7-019A-47E6-AE53-E0140F0ADAEA}"/>
          </ac:picMkLst>
        </pc:picChg>
        <pc:picChg chg="add mod">
          <ac:chgData name="Sam Mesel" userId="1ee7badb-5d1f-4872-89ae-dcf7b71f276a" providerId="ADAL" clId="{53886FC4-CEC3-49C2-A16F-E052A3E85A45}" dt="2020-03-19T20:43:05.508" v="9403" actId="1037"/>
          <ac:picMkLst>
            <pc:docMk/>
            <pc:sldMk cId="3951487755" sldId="1485"/>
            <ac:picMk id="11" creationId="{1ABC6BA9-BC8C-4795-9E1B-2FB021C16353}"/>
          </ac:picMkLst>
        </pc:picChg>
        <pc:picChg chg="add mod">
          <ac:chgData name="Sam Mesel" userId="1ee7badb-5d1f-4872-89ae-dcf7b71f276a" providerId="ADAL" clId="{53886FC4-CEC3-49C2-A16F-E052A3E85A45}" dt="2020-03-19T20:44:26.772" v="9416" actId="1582"/>
          <ac:picMkLst>
            <pc:docMk/>
            <pc:sldMk cId="3951487755" sldId="1485"/>
            <ac:picMk id="12" creationId="{3DBE03BE-0F65-440B-B99C-6A017775B24A}"/>
          </ac:picMkLst>
        </pc:picChg>
        <pc:picChg chg="add mod">
          <ac:chgData name="Sam Mesel" userId="1ee7badb-5d1f-4872-89ae-dcf7b71f276a" providerId="ADAL" clId="{53886FC4-CEC3-49C2-A16F-E052A3E85A45}" dt="2020-03-19T20:45:40.525" v="9423" actId="14100"/>
          <ac:picMkLst>
            <pc:docMk/>
            <pc:sldMk cId="3951487755" sldId="1485"/>
            <ac:picMk id="13" creationId="{EECFA39C-6655-4DA6-94A8-084FB1344A85}"/>
          </ac:picMkLst>
        </pc:picChg>
        <pc:picChg chg="add del mod">
          <ac:chgData name="Sam Mesel" userId="1ee7badb-5d1f-4872-89ae-dcf7b71f276a" providerId="ADAL" clId="{53886FC4-CEC3-49C2-A16F-E052A3E85A45}" dt="2020-03-19T20:48:09.086" v="9430" actId="478"/>
          <ac:picMkLst>
            <pc:docMk/>
            <pc:sldMk cId="3951487755" sldId="1485"/>
            <ac:picMk id="14" creationId="{C01287A0-3E0B-42E1-80B1-CDC624EF3876}"/>
          </ac:picMkLst>
        </pc:picChg>
        <pc:picChg chg="add mod">
          <ac:chgData name="Sam Mesel" userId="1ee7badb-5d1f-4872-89ae-dcf7b71f276a" providerId="ADAL" clId="{53886FC4-CEC3-49C2-A16F-E052A3E85A45}" dt="2020-03-19T20:48:19.339" v="9433" actId="1582"/>
          <ac:picMkLst>
            <pc:docMk/>
            <pc:sldMk cId="3951487755" sldId="1485"/>
            <ac:picMk id="15" creationId="{0D13DC96-43D3-4C75-857A-91CFE7095D46}"/>
          </ac:picMkLst>
        </pc:picChg>
        <pc:picChg chg="add mod">
          <ac:chgData name="Sam Mesel" userId="1ee7badb-5d1f-4872-89ae-dcf7b71f276a" providerId="ADAL" clId="{53886FC4-CEC3-49C2-A16F-E052A3E85A45}" dt="2020-03-19T20:49:14.646" v="9436" actId="1076"/>
          <ac:picMkLst>
            <pc:docMk/>
            <pc:sldMk cId="3951487755" sldId="1485"/>
            <ac:picMk id="16" creationId="{9246ED2F-3D04-4663-8CF5-D89A5532C0C2}"/>
          </ac:picMkLst>
        </pc:picChg>
      </pc:sldChg>
      <pc:sldChg chg="modSp add mod ord modNotesTx">
        <pc:chgData name="Sam Mesel" userId="1ee7badb-5d1f-4872-89ae-dcf7b71f276a" providerId="ADAL" clId="{53886FC4-CEC3-49C2-A16F-E052A3E85A45}" dt="2020-03-19T20:57:14.004" v="10341" actId="20577"/>
        <pc:sldMkLst>
          <pc:docMk/>
          <pc:sldMk cId="1619754780" sldId="1486"/>
        </pc:sldMkLst>
        <pc:spChg chg="mod">
          <ac:chgData name="Sam Mesel" userId="1ee7badb-5d1f-4872-89ae-dcf7b71f276a" providerId="ADAL" clId="{53886FC4-CEC3-49C2-A16F-E052A3E85A45}" dt="2020-03-19T20:50:39.947" v="9456" actId="20577"/>
          <ac:spMkLst>
            <pc:docMk/>
            <pc:sldMk cId="1619754780" sldId="1486"/>
            <ac:spMk id="3" creationId="{8F64A22E-2B43-4FC6-AF08-0CDB3F9E9269}"/>
          </ac:spMkLst>
        </pc:spChg>
        <pc:spChg chg="mod">
          <ac:chgData name="Sam Mesel" userId="1ee7badb-5d1f-4872-89ae-dcf7b71f276a" providerId="ADAL" clId="{53886FC4-CEC3-49C2-A16F-E052A3E85A45}" dt="2020-03-19T20:51:01.489" v="9507" actId="20577"/>
          <ac:spMkLst>
            <pc:docMk/>
            <pc:sldMk cId="1619754780" sldId="1486"/>
            <ac:spMk id="6" creationId="{637E159C-9ACF-48AE-927A-D5FB13695C7F}"/>
          </ac:spMkLst>
        </pc:spChg>
      </pc:sldChg>
      <pc:sldChg chg="addSp delSp modSp add mod ord delAnim modAnim modNotesTx">
        <pc:chgData name="Sam Mesel" userId="1ee7badb-5d1f-4872-89ae-dcf7b71f276a" providerId="ADAL" clId="{53886FC4-CEC3-49C2-A16F-E052A3E85A45}" dt="2020-03-20T17:03:55.150" v="15712" actId="14100"/>
        <pc:sldMkLst>
          <pc:docMk/>
          <pc:sldMk cId="2984945502" sldId="1487"/>
        </pc:sldMkLst>
        <pc:spChg chg="mod">
          <ac:chgData name="Sam Mesel" userId="1ee7badb-5d1f-4872-89ae-dcf7b71f276a" providerId="ADAL" clId="{53886FC4-CEC3-49C2-A16F-E052A3E85A45}" dt="2020-03-19T20:58:28.962" v="10383" actId="20577"/>
          <ac:spMkLst>
            <pc:docMk/>
            <pc:sldMk cId="2984945502" sldId="1487"/>
            <ac:spMk id="2" creationId="{EB67312A-9819-43C6-8D84-D9136E6CFFCC}"/>
          </ac:spMkLst>
        </pc:spChg>
        <pc:spChg chg="mod">
          <ac:chgData name="Sam Mesel" userId="1ee7badb-5d1f-4872-89ae-dcf7b71f276a" providerId="ADAL" clId="{53886FC4-CEC3-49C2-A16F-E052A3E85A45}" dt="2020-03-19T20:59:09.611" v="10393" actId="6549"/>
          <ac:spMkLst>
            <pc:docMk/>
            <pc:sldMk cId="2984945502" sldId="1487"/>
            <ac:spMk id="3" creationId="{F35E8CBB-5A7D-4DEF-BAF7-8DD5D042F9E0}"/>
          </ac:spMkLst>
        </pc:spChg>
        <pc:spChg chg="del mod">
          <ac:chgData name="Sam Mesel" userId="1ee7badb-5d1f-4872-89ae-dcf7b71f276a" providerId="ADAL" clId="{53886FC4-CEC3-49C2-A16F-E052A3E85A45}" dt="2020-03-19T21:17:29.226" v="10986" actId="12084"/>
          <ac:spMkLst>
            <pc:docMk/>
            <pc:sldMk cId="2984945502" sldId="1487"/>
            <ac:spMk id="4" creationId="{F3616A99-090F-45E1-9334-58D58B148205}"/>
          </ac:spMkLst>
        </pc:spChg>
        <pc:spChg chg="del">
          <ac:chgData name="Sam Mesel" userId="1ee7badb-5d1f-4872-89ae-dcf7b71f276a" providerId="ADAL" clId="{53886FC4-CEC3-49C2-A16F-E052A3E85A45}" dt="2020-03-19T20:58:38.289" v="10390" actId="478"/>
          <ac:spMkLst>
            <pc:docMk/>
            <pc:sldMk cId="2984945502" sldId="1487"/>
            <ac:spMk id="8" creationId="{B7F42196-B19A-45D5-8701-DDEEE8A0CAFC}"/>
          </ac:spMkLst>
        </pc:spChg>
        <pc:spChg chg="del">
          <ac:chgData name="Sam Mesel" userId="1ee7badb-5d1f-4872-89ae-dcf7b71f276a" providerId="ADAL" clId="{53886FC4-CEC3-49C2-A16F-E052A3E85A45}" dt="2020-03-19T20:58:35.024" v="10386" actId="478"/>
          <ac:spMkLst>
            <pc:docMk/>
            <pc:sldMk cId="2984945502" sldId="1487"/>
            <ac:spMk id="9" creationId="{333692B9-A6C7-4345-B524-524D730239FB}"/>
          </ac:spMkLst>
        </pc:spChg>
        <pc:spChg chg="del">
          <ac:chgData name="Sam Mesel" userId="1ee7badb-5d1f-4872-89ae-dcf7b71f276a" providerId="ADAL" clId="{53886FC4-CEC3-49C2-A16F-E052A3E85A45}" dt="2020-03-19T20:58:35.517" v="10387" actId="478"/>
          <ac:spMkLst>
            <pc:docMk/>
            <pc:sldMk cId="2984945502" sldId="1487"/>
            <ac:spMk id="10" creationId="{01E93ACD-DF4D-496D-A8A8-246AC021620C}"/>
          </ac:spMkLst>
        </pc:spChg>
        <pc:spChg chg="del mod">
          <ac:chgData name="Sam Mesel" userId="1ee7badb-5d1f-4872-89ae-dcf7b71f276a" providerId="ADAL" clId="{53886FC4-CEC3-49C2-A16F-E052A3E85A45}" dt="2020-03-19T20:58:37.275" v="10389" actId="478"/>
          <ac:spMkLst>
            <pc:docMk/>
            <pc:sldMk cId="2984945502" sldId="1487"/>
            <ac:spMk id="11" creationId="{E6CF9367-AD31-496C-AB69-9762DAFE0BAE}"/>
          </ac:spMkLst>
        </pc:spChg>
        <pc:graphicFrameChg chg="del mod">
          <ac:chgData name="Sam Mesel" userId="1ee7badb-5d1f-4872-89ae-dcf7b71f276a" providerId="ADAL" clId="{53886FC4-CEC3-49C2-A16F-E052A3E85A45}" dt="2020-03-19T20:58:33.740" v="10385" actId="478"/>
          <ac:graphicFrameMkLst>
            <pc:docMk/>
            <pc:sldMk cId="2984945502" sldId="1487"/>
            <ac:graphicFrameMk id="5" creationId="{FA1968C2-B16A-474E-93B5-3D1165E85003}"/>
          </ac:graphicFrameMkLst>
        </pc:graphicFrameChg>
        <pc:graphicFrameChg chg="add mod">
          <ac:chgData name="Sam Mesel" userId="1ee7badb-5d1f-4872-89ae-dcf7b71f276a" providerId="ADAL" clId="{53886FC4-CEC3-49C2-A16F-E052A3E85A45}" dt="2020-03-20T17:03:55.150" v="15712" actId="14100"/>
          <ac:graphicFrameMkLst>
            <pc:docMk/>
            <pc:sldMk cId="2984945502" sldId="1487"/>
            <ac:graphicFrameMk id="6" creationId="{8E394C2A-1356-4FF1-B4AC-C37B3D8D3A89}"/>
          </ac:graphicFrameMkLst>
        </pc:graphicFrameChg>
      </pc:sldChg>
      <pc:sldChg chg="addSp delSp modSp add mod modNotesTx">
        <pc:chgData name="Sam Mesel" userId="1ee7badb-5d1f-4872-89ae-dcf7b71f276a" providerId="ADAL" clId="{53886FC4-CEC3-49C2-A16F-E052A3E85A45}" dt="2020-03-20T17:04:09.124" v="15717" actId="20577"/>
        <pc:sldMkLst>
          <pc:docMk/>
          <pc:sldMk cId="1346224666" sldId="1488"/>
        </pc:sldMkLst>
        <pc:spChg chg="mod">
          <ac:chgData name="Sam Mesel" userId="1ee7badb-5d1f-4872-89ae-dcf7b71f276a" providerId="ADAL" clId="{53886FC4-CEC3-49C2-A16F-E052A3E85A45}" dt="2020-03-19T21:22:59.349" v="11165" actId="20577"/>
          <ac:spMkLst>
            <pc:docMk/>
            <pc:sldMk cId="1346224666" sldId="1488"/>
            <ac:spMk id="3" creationId="{F35E8CBB-5A7D-4DEF-BAF7-8DD5D042F9E0}"/>
          </ac:spMkLst>
        </pc:spChg>
        <pc:spChg chg="del mod">
          <ac:chgData name="Sam Mesel" userId="1ee7badb-5d1f-4872-89ae-dcf7b71f276a" providerId="ADAL" clId="{53886FC4-CEC3-49C2-A16F-E052A3E85A45}" dt="2020-03-19T21:23:05.431" v="11167" actId="478"/>
          <ac:spMkLst>
            <pc:docMk/>
            <pc:sldMk cId="1346224666" sldId="1488"/>
            <ac:spMk id="4" creationId="{F3616A99-090F-45E1-9334-58D58B148205}"/>
          </ac:spMkLst>
        </pc:spChg>
        <pc:spChg chg="add del mod">
          <ac:chgData name="Sam Mesel" userId="1ee7badb-5d1f-4872-89ae-dcf7b71f276a" providerId="ADAL" clId="{53886FC4-CEC3-49C2-A16F-E052A3E85A45}" dt="2020-03-19T21:23:07.107" v="11168" actId="478"/>
          <ac:spMkLst>
            <pc:docMk/>
            <pc:sldMk cId="1346224666" sldId="1488"/>
            <ac:spMk id="6" creationId="{456305D4-4FDF-4132-A5A2-82B04D688266}"/>
          </ac:spMkLst>
        </pc:spChg>
        <pc:graphicFrameChg chg="add mod modGraphic">
          <ac:chgData name="Sam Mesel" userId="1ee7badb-5d1f-4872-89ae-dcf7b71f276a" providerId="ADAL" clId="{53886FC4-CEC3-49C2-A16F-E052A3E85A45}" dt="2020-03-19T21:27:33.833" v="11657" actId="12385"/>
          <ac:graphicFrameMkLst>
            <pc:docMk/>
            <pc:sldMk cId="1346224666" sldId="1488"/>
            <ac:graphicFrameMk id="7" creationId="{0209C660-8EB9-40EC-A494-C81B64DB7263}"/>
          </ac:graphicFrameMkLst>
        </pc:graphicFrameChg>
      </pc:sldChg>
      <pc:sldChg chg="addSp delSp modSp add mod modNotesTx">
        <pc:chgData name="Sam Mesel" userId="1ee7badb-5d1f-4872-89ae-dcf7b71f276a" providerId="ADAL" clId="{53886FC4-CEC3-49C2-A16F-E052A3E85A45}" dt="2020-03-19T21:38:04.642" v="11755" actId="1076"/>
        <pc:sldMkLst>
          <pc:docMk/>
          <pc:sldMk cId="2854760315" sldId="1489"/>
        </pc:sldMkLst>
        <pc:spChg chg="mod">
          <ac:chgData name="Sam Mesel" userId="1ee7badb-5d1f-4872-89ae-dcf7b71f276a" providerId="ADAL" clId="{53886FC4-CEC3-49C2-A16F-E052A3E85A45}" dt="2020-03-19T21:29:03.088" v="11699" actId="20577"/>
          <ac:spMkLst>
            <pc:docMk/>
            <pc:sldMk cId="2854760315" sldId="1489"/>
            <ac:spMk id="3" creationId="{F35E8CBB-5A7D-4DEF-BAF7-8DD5D042F9E0}"/>
          </ac:spMkLst>
        </pc:spChg>
        <pc:spChg chg="add del mod">
          <ac:chgData name="Sam Mesel" userId="1ee7badb-5d1f-4872-89ae-dcf7b71f276a" providerId="ADAL" clId="{53886FC4-CEC3-49C2-A16F-E052A3E85A45}" dt="2020-03-19T21:32:44.394" v="11707" actId="12084"/>
          <ac:spMkLst>
            <pc:docMk/>
            <pc:sldMk cId="2854760315" sldId="1489"/>
            <ac:spMk id="5" creationId="{D7284A06-D2D7-48B4-911C-B16DB25AC091}"/>
          </ac:spMkLst>
        </pc:spChg>
        <pc:graphicFrameChg chg="add mod">
          <ac:chgData name="Sam Mesel" userId="1ee7badb-5d1f-4872-89ae-dcf7b71f276a" providerId="ADAL" clId="{53886FC4-CEC3-49C2-A16F-E052A3E85A45}" dt="2020-03-19T21:35:21.794" v="11749" actId="20577"/>
          <ac:graphicFrameMkLst>
            <pc:docMk/>
            <pc:sldMk cId="2854760315" sldId="1489"/>
            <ac:graphicFrameMk id="4" creationId="{8E6A15FB-C436-4785-ACB8-B812481A9D36}"/>
          </ac:graphicFrameMkLst>
        </pc:graphicFrameChg>
        <pc:graphicFrameChg chg="del">
          <ac:chgData name="Sam Mesel" userId="1ee7badb-5d1f-4872-89ae-dcf7b71f276a" providerId="ADAL" clId="{53886FC4-CEC3-49C2-A16F-E052A3E85A45}" dt="2020-03-19T21:29:08.063" v="11700" actId="478"/>
          <ac:graphicFrameMkLst>
            <pc:docMk/>
            <pc:sldMk cId="2854760315" sldId="1489"/>
            <ac:graphicFrameMk id="7" creationId="{0209C660-8EB9-40EC-A494-C81B64DB7263}"/>
          </ac:graphicFrameMkLst>
        </pc:graphicFrameChg>
        <pc:picChg chg="add mod">
          <ac:chgData name="Sam Mesel" userId="1ee7badb-5d1f-4872-89ae-dcf7b71f276a" providerId="ADAL" clId="{53886FC4-CEC3-49C2-A16F-E052A3E85A45}" dt="2020-03-19T21:38:04.642" v="11755" actId="1076"/>
          <ac:picMkLst>
            <pc:docMk/>
            <pc:sldMk cId="2854760315" sldId="1489"/>
            <ac:picMk id="6" creationId="{3C33C3A5-8431-4009-8766-CEB49CCBADEC}"/>
          </ac:picMkLst>
        </pc:picChg>
      </pc:sldChg>
      <pc:sldChg chg="modSp add mod ord modNotesTx">
        <pc:chgData name="Sam Mesel" userId="1ee7badb-5d1f-4872-89ae-dcf7b71f276a" providerId="ADAL" clId="{53886FC4-CEC3-49C2-A16F-E052A3E85A45}" dt="2020-03-19T21:43:43.390" v="11927" actId="20577"/>
        <pc:sldMkLst>
          <pc:docMk/>
          <pc:sldMk cId="1932756397" sldId="1490"/>
        </pc:sldMkLst>
        <pc:spChg chg="mod">
          <ac:chgData name="Sam Mesel" userId="1ee7badb-5d1f-4872-89ae-dcf7b71f276a" providerId="ADAL" clId="{53886FC4-CEC3-49C2-A16F-E052A3E85A45}" dt="2020-03-19T21:39:02.231" v="11795" actId="20577"/>
          <ac:spMkLst>
            <pc:docMk/>
            <pc:sldMk cId="1932756397" sldId="1490"/>
            <ac:spMk id="6" creationId="{637E159C-9ACF-48AE-927A-D5FB13695C7F}"/>
          </ac:spMkLst>
        </pc:spChg>
      </pc:sldChg>
      <pc:sldChg chg="addSp delSp modSp add mod ord">
        <pc:chgData name="Sam Mesel" userId="1ee7badb-5d1f-4872-89ae-dcf7b71f276a" providerId="ADAL" clId="{53886FC4-CEC3-49C2-A16F-E052A3E85A45}" dt="2020-03-20T17:41:50.887" v="15786" actId="20577"/>
        <pc:sldMkLst>
          <pc:docMk/>
          <pc:sldMk cId="2378945749" sldId="1491"/>
        </pc:sldMkLst>
        <pc:spChg chg="mod">
          <ac:chgData name="Sam Mesel" userId="1ee7badb-5d1f-4872-89ae-dcf7b71f276a" providerId="ADAL" clId="{53886FC4-CEC3-49C2-A16F-E052A3E85A45}" dt="2020-03-20T00:40:31.659" v="13101" actId="20577"/>
          <ac:spMkLst>
            <pc:docMk/>
            <pc:sldMk cId="2378945749" sldId="1491"/>
            <ac:spMk id="2" creationId="{EB67312A-9819-43C6-8D84-D9136E6CFFCC}"/>
          </ac:spMkLst>
        </pc:spChg>
        <pc:spChg chg="mod">
          <ac:chgData name="Sam Mesel" userId="1ee7badb-5d1f-4872-89ae-dcf7b71f276a" providerId="ADAL" clId="{53886FC4-CEC3-49C2-A16F-E052A3E85A45}" dt="2020-03-20T00:40:47.168" v="13132" actId="20577"/>
          <ac:spMkLst>
            <pc:docMk/>
            <pc:sldMk cId="2378945749" sldId="1491"/>
            <ac:spMk id="3" creationId="{F35E8CBB-5A7D-4DEF-BAF7-8DD5D042F9E0}"/>
          </ac:spMkLst>
        </pc:spChg>
        <pc:spChg chg="add mod">
          <ac:chgData name="Sam Mesel" userId="1ee7badb-5d1f-4872-89ae-dcf7b71f276a" providerId="ADAL" clId="{53886FC4-CEC3-49C2-A16F-E052A3E85A45}" dt="2020-03-20T14:57:53.732" v="13280" actId="20577"/>
          <ac:spMkLst>
            <pc:docMk/>
            <pc:sldMk cId="2378945749" sldId="1491"/>
            <ac:spMk id="5" creationId="{14A2538D-0515-4508-B6B4-89744A2416D4}"/>
          </ac:spMkLst>
        </pc:spChg>
        <pc:graphicFrameChg chg="mod">
          <ac:chgData name="Sam Mesel" userId="1ee7badb-5d1f-4872-89ae-dcf7b71f276a" providerId="ADAL" clId="{53886FC4-CEC3-49C2-A16F-E052A3E85A45}" dt="2020-03-20T17:41:50.887" v="15786" actId="20577"/>
          <ac:graphicFrameMkLst>
            <pc:docMk/>
            <pc:sldMk cId="2378945749" sldId="1491"/>
            <ac:graphicFrameMk id="4" creationId="{8E6A15FB-C436-4785-ACB8-B812481A9D36}"/>
          </ac:graphicFrameMkLst>
        </pc:graphicFrameChg>
        <pc:picChg chg="del">
          <ac:chgData name="Sam Mesel" userId="1ee7badb-5d1f-4872-89ae-dcf7b71f276a" providerId="ADAL" clId="{53886FC4-CEC3-49C2-A16F-E052A3E85A45}" dt="2020-03-20T00:40:51.049" v="13133" actId="478"/>
          <ac:picMkLst>
            <pc:docMk/>
            <pc:sldMk cId="2378945749" sldId="1491"/>
            <ac:picMk id="6" creationId="{3C33C3A5-8431-4009-8766-CEB49CCBADEC}"/>
          </ac:picMkLst>
        </pc:picChg>
      </pc:sldChg>
      <pc:sldChg chg="addSp delSp modSp add mod modAnim modNotesTx">
        <pc:chgData name="Sam Mesel" userId="1ee7badb-5d1f-4872-89ae-dcf7b71f276a" providerId="ADAL" clId="{53886FC4-CEC3-49C2-A16F-E052A3E85A45}" dt="2020-03-20T16:15:27.782" v="13562"/>
        <pc:sldMkLst>
          <pc:docMk/>
          <pc:sldMk cId="116317705" sldId="1492"/>
        </pc:sldMkLst>
        <pc:spChg chg="mod">
          <ac:chgData name="Sam Mesel" userId="1ee7badb-5d1f-4872-89ae-dcf7b71f276a" providerId="ADAL" clId="{53886FC4-CEC3-49C2-A16F-E052A3E85A45}" dt="2020-03-20T14:58:37.041" v="13296" actId="20577"/>
          <ac:spMkLst>
            <pc:docMk/>
            <pc:sldMk cId="116317705" sldId="1492"/>
            <ac:spMk id="3" creationId="{F35E8CBB-5A7D-4DEF-BAF7-8DD5D042F9E0}"/>
          </ac:spMkLst>
        </pc:spChg>
        <pc:spChg chg="mod">
          <ac:chgData name="Sam Mesel" userId="1ee7badb-5d1f-4872-89ae-dcf7b71f276a" providerId="ADAL" clId="{53886FC4-CEC3-49C2-A16F-E052A3E85A45}" dt="2020-03-20T14:58:43.005" v="13298" actId="20577"/>
          <ac:spMkLst>
            <pc:docMk/>
            <pc:sldMk cId="116317705" sldId="1492"/>
            <ac:spMk id="5" creationId="{14A2538D-0515-4508-B6B4-89744A2416D4}"/>
          </ac:spMkLst>
        </pc:spChg>
        <pc:spChg chg="add del mod">
          <ac:chgData name="Sam Mesel" userId="1ee7badb-5d1f-4872-89ae-dcf7b71f276a" providerId="ADAL" clId="{53886FC4-CEC3-49C2-A16F-E052A3E85A45}" dt="2020-03-20T14:58:53.794" v="13301" actId="478"/>
          <ac:spMkLst>
            <pc:docMk/>
            <pc:sldMk cId="116317705" sldId="1492"/>
            <ac:spMk id="7" creationId="{FCCD7D99-3D86-4736-AA6D-59E48B11B3A5}"/>
          </ac:spMkLst>
        </pc:spChg>
        <pc:graphicFrameChg chg="del mod">
          <ac:chgData name="Sam Mesel" userId="1ee7badb-5d1f-4872-89ae-dcf7b71f276a" providerId="ADAL" clId="{53886FC4-CEC3-49C2-A16F-E052A3E85A45}" dt="2020-03-20T14:58:50.845" v="13300" actId="478"/>
          <ac:graphicFrameMkLst>
            <pc:docMk/>
            <pc:sldMk cId="116317705" sldId="1492"/>
            <ac:graphicFrameMk id="4" creationId="{8E6A15FB-C436-4785-ACB8-B812481A9D36}"/>
          </ac:graphicFrameMkLst>
        </pc:graphicFrameChg>
        <pc:graphicFrameChg chg="add mod">
          <ac:chgData name="Sam Mesel" userId="1ee7badb-5d1f-4872-89ae-dcf7b71f276a" providerId="ADAL" clId="{53886FC4-CEC3-49C2-A16F-E052A3E85A45}" dt="2020-03-20T16:11:11.917" v="13536" actId="20577"/>
          <ac:graphicFrameMkLst>
            <pc:docMk/>
            <pc:sldMk cId="116317705" sldId="1492"/>
            <ac:graphicFrameMk id="9" creationId="{F7CC1D9E-88F5-456E-993A-578CEA5E3534}"/>
          </ac:graphicFrameMkLst>
        </pc:graphicFrameChg>
        <pc:picChg chg="add del mod">
          <ac:chgData name="Sam Mesel" userId="1ee7badb-5d1f-4872-89ae-dcf7b71f276a" providerId="ADAL" clId="{53886FC4-CEC3-49C2-A16F-E052A3E85A45}" dt="2020-03-20T16:11:24.916" v="13537" actId="478"/>
          <ac:picMkLst>
            <pc:docMk/>
            <pc:sldMk cId="116317705" sldId="1492"/>
            <ac:picMk id="8" creationId="{37ACC84D-8648-40B4-8313-C53665B66CD7}"/>
          </ac:picMkLst>
        </pc:picChg>
        <pc:picChg chg="add mod">
          <ac:chgData name="Sam Mesel" userId="1ee7badb-5d1f-4872-89ae-dcf7b71f276a" providerId="ADAL" clId="{53886FC4-CEC3-49C2-A16F-E052A3E85A45}" dt="2020-03-20T16:11:50.563" v="13541" actId="1076"/>
          <ac:picMkLst>
            <pc:docMk/>
            <pc:sldMk cId="116317705" sldId="1492"/>
            <ac:picMk id="10" creationId="{E5A948F9-B172-4676-BDC8-E281FFBBF462}"/>
          </ac:picMkLst>
        </pc:picChg>
        <pc:picChg chg="add mod">
          <ac:chgData name="Sam Mesel" userId="1ee7badb-5d1f-4872-89ae-dcf7b71f276a" providerId="ADAL" clId="{53886FC4-CEC3-49C2-A16F-E052A3E85A45}" dt="2020-03-20T16:13:00.574" v="13548" actId="14100"/>
          <ac:picMkLst>
            <pc:docMk/>
            <pc:sldMk cId="116317705" sldId="1492"/>
            <ac:picMk id="11" creationId="{6F33B460-00DC-40C3-BB96-387B47A576D4}"/>
          </ac:picMkLst>
        </pc:picChg>
        <pc:picChg chg="add mod">
          <ac:chgData name="Sam Mesel" userId="1ee7badb-5d1f-4872-89ae-dcf7b71f276a" providerId="ADAL" clId="{53886FC4-CEC3-49C2-A16F-E052A3E85A45}" dt="2020-03-20T16:14:04.803" v="13557" actId="14100"/>
          <ac:picMkLst>
            <pc:docMk/>
            <pc:sldMk cId="116317705" sldId="1492"/>
            <ac:picMk id="12" creationId="{1706F4B2-09D1-4326-B10B-8907142EF541}"/>
          </ac:picMkLst>
        </pc:picChg>
      </pc:sldChg>
      <pc:sldChg chg="add">
        <pc:chgData name="Sam Mesel" userId="1ee7badb-5d1f-4872-89ae-dcf7b71f276a" providerId="ADAL" clId="{53886FC4-CEC3-49C2-A16F-E052A3E85A45}" dt="2020-03-20T16:32:39.724" v="14977"/>
        <pc:sldMkLst>
          <pc:docMk/>
          <pc:sldMk cId="161408009" sldId="1493"/>
        </pc:sldMkLst>
      </pc:sldChg>
      <pc:sldChg chg="delSp modSp add mod ord modNotesTx">
        <pc:chgData name="Sam Mesel" userId="1ee7badb-5d1f-4872-89ae-dcf7b71f276a" providerId="ADAL" clId="{53886FC4-CEC3-49C2-A16F-E052A3E85A45}" dt="2020-03-20T17:42:43.200" v="15788"/>
        <pc:sldMkLst>
          <pc:docMk/>
          <pc:sldMk cId="594598944" sldId="1494"/>
        </pc:sldMkLst>
        <pc:spChg chg="mod">
          <ac:chgData name="Sam Mesel" userId="1ee7badb-5d1f-4872-89ae-dcf7b71f276a" providerId="ADAL" clId="{53886FC4-CEC3-49C2-A16F-E052A3E85A45}" dt="2020-03-20T16:49:14.205" v="15606" actId="20577"/>
          <ac:spMkLst>
            <pc:docMk/>
            <pc:sldMk cId="594598944" sldId="1494"/>
            <ac:spMk id="3" creationId="{F35E8CBB-5A7D-4DEF-BAF7-8DD5D042F9E0}"/>
          </ac:spMkLst>
        </pc:spChg>
        <pc:spChg chg="del mod">
          <ac:chgData name="Sam Mesel" userId="1ee7badb-5d1f-4872-89ae-dcf7b71f276a" providerId="ADAL" clId="{53886FC4-CEC3-49C2-A16F-E052A3E85A45}" dt="2020-03-20T16:53:54.202" v="15676" actId="478"/>
          <ac:spMkLst>
            <pc:docMk/>
            <pc:sldMk cId="594598944" sldId="1494"/>
            <ac:spMk id="4" creationId="{F3616A99-090F-45E1-9334-58D58B148205}"/>
          </ac:spMkLst>
        </pc:spChg>
        <pc:graphicFrameChg chg="mod">
          <ac:chgData name="Sam Mesel" userId="1ee7badb-5d1f-4872-89ae-dcf7b71f276a" providerId="ADAL" clId="{53886FC4-CEC3-49C2-A16F-E052A3E85A45}" dt="2020-03-20T16:56:13.166" v="15694" actId="20577"/>
          <ac:graphicFrameMkLst>
            <pc:docMk/>
            <pc:sldMk cId="594598944" sldId="1494"/>
            <ac:graphicFrameMk id="6" creationId="{ECD4F830-3F57-4416-97C9-3E857291381E}"/>
          </ac:graphicFrameMkLst>
        </pc:graphicFrameChg>
      </pc:sldChg>
      <pc:sldChg chg="addSp delSp modSp add mod delAnim modAnim modNotesTx">
        <pc:chgData name="Sam Mesel" userId="1ee7badb-5d1f-4872-89ae-dcf7b71f276a" providerId="ADAL" clId="{53886FC4-CEC3-49C2-A16F-E052A3E85A45}" dt="2020-03-20T17:51:14.533" v="15917" actId="20577"/>
        <pc:sldMkLst>
          <pc:docMk/>
          <pc:sldMk cId="2244982301" sldId="1495"/>
        </pc:sldMkLst>
        <pc:spChg chg="mod">
          <ac:chgData name="Sam Mesel" userId="1ee7badb-5d1f-4872-89ae-dcf7b71f276a" providerId="ADAL" clId="{53886FC4-CEC3-49C2-A16F-E052A3E85A45}" dt="2020-03-20T17:45:54.186" v="15814" actId="20577"/>
          <ac:spMkLst>
            <pc:docMk/>
            <pc:sldMk cId="2244982301" sldId="1495"/>
            <ac:spMk id="2" creationId="{23F20CDD-4226-4ADB-949D-67D9A9B704BA}"/>
          </ac:spMkLst>
        </pc:spChg>
        <pc:spChg chg="mod">
          <ac:chgData name="Sam Mesel" userId="1ee7badb-5d1f-4872-89ae-dcf7b71f276a" providerId="ADAL" clId="{53886FC4-CEC3-49C2-A16F-E052A3E85A45}" dt="2020-03-20T17:45:50.698" v="15813" actId="20577"/>
          <ac:spMkLst>
            <pc:docMk/>
            <pc:sldMk cId="2244982301" sldId="1495"/>
            <ac:spMk id="3" creationId="{9CAAEC61-74EA-4B3E-B3DB-D6B83A64237B}"/>
          </ac:spMkLst>
        </pc:spChg>
        <pc:spChg chg="add del mod">
          <ac:chgData name="Sam Mesel" userId="1ee7badb-5d1f-4872-89ae-dcf7b71f276a" providerId="ADAL" clId="{53886FC4-CEC3-49C2-A16F-E052A3E85A45}" dt="2020-03-20T17:47:30.424" v="15826" actId="478"/>
          <ac:spMkLst>
            <pc:docMk/>
            <pc:sldMk cId="2244982301" sldId="1495"/>
            <ac:spMk id="4" creationId="{BD9463E7-E791-48BE-A52E-B4857A9B7FBF}"/>
          </ac:spMkLst>
        </pc:spChg>
        <pc:spChg chg="add del mod">
          <ac:chgData name="Sam Mesel" userId="1ee7badb-5d1f-4872-89ae-dcf7b71f276a" providerId="ADAL" clId="{53886FC4-CEC3-49C2-A16F-E052A3E85A45}" dt="2020-03-20T17:47:30.424" v="15826" actId="478"/>
          <ac:spMkLst>
            <pc:docMk/>
            <pc:sldMk cId="2244982301" sldId="1495"/>
            <ac:spMk id="7" creationId="{25B9E181-D3E3-4639-B5A8-4323687C801F}"/>
          </ac:spMkLst>
        </pc:spChg>
        <pc:spChg chg="add del mod">
          <ac:chgData name="Sam Mesel" userId="1ee7badb-5d1f-4872-89ae-dcf7b71f276a" providerId="ADAL" clId="{53886FC4-CEC3-49C2-A16F-E052A3E85A45}" dt="2020-03-20T17:47:30.424" v="15826" actId="478"/>
          <ac:spMkLst>
            <pc:docMk/>
            <pc:sldMk cId="2244982301" sldId="1495"/>
            <ac:spMk id="8" creationId="{60FC86EA-99FB-402C-8166-9A476D5A9D90}"/>
          </ac:spMkLst>
        </pc:spChg>
        <pc:spChg chg="add del mod">
          <ac:chgData name="Sam Mesel" userId="1ee7badb-5d1f-4872-89ae-dcf7b71f276a" providerId="ADAL" clId="{53886FC4-CEC3-49C2-A16F-E052A3E85A45}" dt="2020-03-20T17:47:35.697" v="15827" actId="478"/>
          <ac:spMkLst>
            <pc:docMk/>
            <pc:sldMk cId="2244982301" sldId="1495"/>
            <ac:spMk id="10" creationId="{83D61E40-BC33-436B-93F8-1AF262F1B4BD}"/>
          </ac:spMkLst>
        </pc:spChg>
        <pc:spChg chg="add">
          <ac:chgData name="Sam Mesel" userId="1ee7badb-5d1f-4872-89ae-dcf7b71f276a" providerId="ADAL" clId="{53886FC4-CEC3-49C2-A16F-E052A3E85A45}" dt="2020-03-20T17:47:52.329" v="15829"/>
          <ac:spMkLst>
            <pc:docMk/>
            <pc:sldMk cId="2244982301" sldId="1495"/>
            <ac:spMk id="11" creationId="{71738D4B-0C1A-4024-AD61-6CE4F80871CA}"/>
          </ac:spMkLst>
        </pc:spChg>
        <pc:spChg chg="add mod">
          <ac:chgData name="Sam Mesel" userId="1ee7badb-5d1f-4872-89ae-dcf7b71f276a" providerId="ADAL" clId="{53886FC4-CEC3-49C2-A16F-E052A3E85A45}" dt="2020-03-20T17:48:48.376" v="15854" actId="1037"/>
          <ac:spMkLst>
            <pc:docMk/>
            <pc:sldMk cId="2244982301" sldId="1495"/>
            <ac:spMk id="12" creationId="{548D8D29-123C-425B-AFEA-93D6A0F3F9DB}"/>
          </ac:spMkLst>
        </pc:spChg>
        <pc:spChg chg="add mod">
          <ac:chgData name="Sam Mesel" userId="1ee7badb-5d1f-4872-89ae-dcf7b71f276a" providerId="ADAL" clId="{53886FC4-CEC3-49C2-A16F-E052A3E85A45}" dt="2020-03-20T17:48:48.376" v="15854" actId="1037"/>
          <ac:spMkLst>
            <pc:docMk/>
            <pc:sldMk cId="2244982301" sldId="1495"/>
            <ac:spMk id="13" creationId="{BB98DF72-5340-4154-9BA3-9D4723BA7AD3}"/>
          </ac:spMkLst>
        </pc:spChg>
        <pc:spChg chg="add mod">
          <ac:chgData name="Sam Mesel" userId="1ee7badb-5d1f-4872-89ae-dcf7b71f276a" providerId="ADAL" clId="{53886FC4-CEC3-49C2-A16F-E052A3E85A45}" dt="2020-03-20T17:49:41.389" v="15857" actId="14100"/>
          <ac:spMkLst>
            <pc:docMk/>
            <pc:sldMk cId="2244982301" sldId="1495"/>
            <ac:spMk id="14" creationId="{94375CDB-4D25-4791-B0E9-47734DA6E76C}"/>
          </ac:spMkLst>
        </pc:spChg>
        <pc:spChg chg="add mod">
          <ac:chgData name="Sam Mesel" userId="1ee7badb-5d1f-4872-89ae-dcf7b71f276a" providerId="ADAL" clId="{53886FC4-CEC3-49C2-A16F-E052A3E85A45}" dt="2020-03-20T17:50:25.246" v="15912" actId="20577"/>
          <ac:spMkLst>
            <pc:docMk/>
            <pc:sldMk cId="2244982301" sldId="1495"/>
            <ac:spMk id="15" creationId="{73D3CAC2-28CD-4BE9-879F-A554617DC5BB}"/>
          </ac:spMkLst>
        </pc:spChg>
        <pc:spChg chg="add mod">
          <ac:chgData name="Sam Mesel" userId="1ee7badb-5d1f-4872-89ae-dcf7b71f276a" providerId="ADAL" clId="{53886FC4-CEC3-49C2-A16F-E052A3E85A45}" dt="2020-03-20T17:48:48.376" v="15854" actId="1037"/>
          <ac:spMkLst>
            <pc:docMk/>
            <pc:sldMk cId="2244982301" sldId="1495"/>
            <ac:spMk id="16" creationId="{4477E1B5-BC29-448E-9927-EC1E3D7880AC}"/>
          </ac:spMkLst>
        </pc:spChg>
        <pc:spChg chg="add mod">
          <ac:chgData name="Sam Mesel" userId="1ee7badb-5d1f-4872-89ae-dcf7b71f276a" providerId="ADAL" clId="{53886FC4-CEC3-49C2-A16F-E052A3E85A45}" dt="2020-03-20T17:48:48.376" v="15854" actId="1037"/>
          <ac:spMkLst>
            <pc:docMk/>
            <pc:sldMk cId="2244982301" sldId="1495"/>
            <ac:spMk id="17" creationId="{F452DC59-3C48-498C-9462-F82B4048DE45}"/>
          </ac:spMkLst>
        </pc:spChg>
        <pc:spChg chg="add mod">
          <ac:chgData name="Sam Mesel" userId="1ee7badb-5d1f-4872-89ae-dcf7b71f276a" providerId="ADAL" clId="{53886FC4-CEC3-49C2-A16F-E052A3E85A45}" dt="2020-03-20T17:48:15.319" v="15833" actId="1037"/>
          <ac:spMkLst>
            <pc:docMk/>
            <pc:sldMk cId="2244982301" sldId="1495"/>
            <ac:spMk id="18" creationId="{2FBACE00-682D-4A91-BF45-6B72C89EFADF}"/>
          </ac:spMkLst>
        </pc:spChg>
        <pc:spChg chg="add mod">
          <ac:chgData name="Sam Mesel" userId="1ee7badb-5d1f-4872-89ae-dcf7b71f276a" providerId="ADAL" clId="{53886FC4-CEC3-49C2-A16F-E052A3E85A45}" dt="2020-03-20T17:48:28.167" v="15835" actId="1036"/>
          <ac:spMkLst>
            <pc:docMk/>
            <pc:sldMk cId="2244982301" sldId="1495"/>
            <ac:spMk id="19" creationId="{60DE5650-A2C4-4721-BBA8-A539CAC4165D}"/>
          </ac:spMkLst>
        </pc:spChg>
        <pc:spChg chg="add del">
          <ac:chgData name="Sam Mesel" userId="1ee7badb-5d1f-4872-89ae-dcf7b71f276a" providerId="ADAL" clId="{53886FC4-CEC3-49C2-A16F-E052A3E85A45}" dt="2020-03-20T17:47:59.411" v="15830" actId="478"/>
          <ac:spMkLst>
            <pc:docMk/>
            <pc:sldMk cId="2244982301" sldId="1495"/>
            <ac:spMk id="20" creationId="{F2F19D60-16B2-4857-BB8B-BADAC5D93D31}"/>
          </ac:spMkLst>
        </pc:spChg>
        <pc:spChg chg="add mod">
          <ac:chgData name="Sam Mesel" userId="1ee7badb-5d1f-4872-89ae-dcf7b71f276a" providerId="ADAL" clId="{53886FC4-CEC3-49C2-A16F-E052A3E85A45}" dt="2020-03-20T17:51:14.533" v="15917" actId="20577"/>
          <ac:spMkLst>
            <pc:docMk/>
            <pc:sldMk cId="2244982301" sldId="1495"/>
            <ac:spMk id="22" creationId="{AFE113AE-2D33-49AC-AC5F-6C8AD8A7D88D}"/>
          </ac:spMkLst>
        </pc:spChg>
        <pc:graphicFrameChg chg="del mod">
          <ac:chgData name="Sam Mesel" userId="1ee7badb-5d1f-4872-89ae-dcf7b71f276a" providerId="ADAL" clId="{53886FC4-CEC3-49C2-A16F-E052A3E85A45}" dt="2020-03-20T17:47:30.424" v="15826" actId="478"/>
          <ac:graphicFrameMkLst>
            <pc:docMk/>
            <pc:sldMk cId="2244982301" sldId="1495"/>
            <ac:graphicFrameMk id="5" creationId="{A0F8EEBB-1F60-49BA-B82D-D4F2B222B4C1}"/>
          </ac:graphicFrameMkLst>
        </pc:graphicFrameChg>
      </pc:sldChg>
      <pc:sldChg chg="addSp delSp modSp add mod delAnim modAnim">
        <pc:chgData name="Sam Mesel" userId="1ee7badb-5d1f-4872-89ae-dcf7b71f276a" providerId="ADAL" clId="{53886FC4-CEC3-49C2-A16F-E052A3E85A45}" dt="2020-03-20T17:55:28.032" v="15979" actId="14100"/>
        <pc:sldMkLst>
          <pc:docMk/>
          <pc:sldMk cId="2660728281" sldId="1496"/>
        </pc:sldMkLst>
        <pc:spChg chg="mod">
          <ac:chgData name="Sam Mesel" userId="1ee7badb-5d1f-4872-89ae-dcf7b71f276a" providerId="ADAL" clId="{53886FC4-CEC3-49C2-A16F-E052A3E85A45}" dt="2020-03-20T17:52:45.060" v="15938" actId="20577"/>
          <ac:spMkLst>
            <pc:docMk/>
            <pc:sldMk cId="2660728281" sldId="1496"/>
            <ac:spMk id="3" creationId="{9CAAEC61-74EA-4B3E-B3DB-D6B83A64237B}"/>
          </ac:spMkLst>
        </pc:spChg>
        <pc:spChg chg="del">
          <ac:chgData name="Sam Mesel" userId="1ee7badb-5d1f-4872-89ae-dcf7b71f276a" providerId="ADAL" clId="{53886FC4-CEC3-49C2-A16F-E052A3E85A45}" dt="2020-03-20T17:53:13.736" v="15943" actId="478"/>
          <ac:spMkLst>
            <pc:docMk/>
            <pc:sldMk cId="2660728281" sldId="1496"/>
            <ac:spMk id="11" creationId="{71738D4B-0C1A-4024-AD61-6CE4F80871CA}"/>
          </ac:spMkLst>
        </pc:spChg>
        <pc:spChg chg="del">
          <ac:chgData name="Sam Mesel" userId="1ee7badb-5d1f-4872-89ae-dcf7b71f276a" providerId="ADAL" clId="{53886FC4-CEC3-49C2-A16F-E052A3E85A45}" dt="2020-03-20T17:53:02.473" v="15941" actId="478"/>
          <ac:spMkLst>
            <pc:docMk/>
            <pc:sldMk cId="2660728281" sldId="1496"/>
            <ac:spMk id="12" creationId="{548D8D29-123C-425B-AFEA-93D6A0F3F9DB}"/>
          </ac:spMkLst>
        </pc:spChg>
        <pc:spChg chg="del">
          <ac:chgData name="Sam Mesel" userId="1ee7badb-5d1f-4872-89ae-dcf7b71f276a" providerId="ADAL" clId="{53886FC4-CEC3-49C2-A16F-E052A3E85A45}" dt="2020-03-20T17:53:02.473" v="15941" actId="478"/>
          <ac:spMkLst>
            <pc:docMk/>
            <pc:sldMk cId="2660728281" sldId="1496"/>
            <ac:spMk id="13" creationId="{BB98DF72-5340-4154-9BA3-9D4723BA7AD3}"/>
          </ac:spMkLst>
        </pc:spChg>
        <pc:spChg chg="del">
          <ac:chgData name="Sam Mesel" userId="1ee7badb-5d1f-4872-89ae-dcf7b71f276a" providerId="ADAL" clId="{53886FC4-CEC3-49C2-A16F-E052A3E85A45}" dt="2020-03-20T17:53:08.984" v="15942" actId="478"/>
          <ac:spMkLst>
            <pc:docMk/>
            <pc:sldMk cId="2660728281" sldId="1496"/>
            <ac:spMk id="14" creationId="{94375CDB-4D25-4791-B0E9-47734DA6E76C}"/>
          </ac:spMkLst>
        </pc:spChg>
        <pc:spChg chg="del">
          <ac:chgData name="Sam Mesel" userId="1ee7badb-5d1f-4872-89ae-dcf7b71f276a" providerId="ADAL" clId="{53886FC4-CEC3-49C2-A16F-E052A3E85A45}" dt="2020-03-20T17:53:15.673" v="15944" actId="478"/>
          <ac:spMkLst>
            <pc:docMk/>
            <pc:sldMk cId="2660728281" sldId="1496"/>
            <ac:spMk id="15" creationId="{73D3CAC2-28CD-4BE9-879F-A554617DC5BB}"/>
          </ac:spMkLst>
        </pc:spChg>
        <pc:spChg chg="del">
          <ac:chgData name="Sam Mesel" userId="1ee7badb-5d1f-4872-89ae-dcf7b71f276a" providerId="ADAL" clId="{53886FC4-CEC3-49C2-A16F-E052A3E85A45}" dt="2020-03-20T17:53:02.473" v="15941" actId="478"/>
          <ac:spMkLst>
            <pc:docMk/>
            <pc:sldMk cId="2660728281" sldId="1496"/>
            <ac:spMk id="16" creationId="{4477E1B5-BC29-448E-9927-EC1E3D7880AC}"/>
          </ac:spMkLst>
        </pc:spChg>
        <pc:spChg chg="del">
          <ac:chgData name="Sam Mesel" userId="1ee7badb-5d1f-4872-89ae-dcf7b71f276a" providerId="ADAL" clId="{53886FC4-CEC3-49C2-A16F-E052A3E85A45}" dt="2020-03-20T17:53:02.473" v="15941" actId="478"/>
          <ac:spMkLst>
            <pc:docMk/>
            <pc:sldMk cId="2660728281" sldId="1496"/>
            <ac:spMk id="17" creationId="{F452DC59-3C48-498C-9462-F82B4048DE45}"/>
          </ac:spMkLst>
        </pc:spChg>
        <pc:spChg chg="del">
          <ac:chgData name="Sam Mesel" userId="1ee7badb-5d1f-4872-89ae-dcf7b71f276a" providerId="ADAL" clId="{53886FC4-CEC3-49C2-A16F-E052A3E85A45}" dt="2020-03-20T17:53:02.473" v="15941" actId="478"/>
          <ac:spMkLst>
            <pc:docMk/>
            <pc:sldMk cId="2660728281" sldId="1496"/>
            <ac:spMk id="18" creationId="{2FBACE00-682D-4A91-BF45-6B72C89EFADF}"/>
          </ac:spMkLst>
        </pc:spChg>
        <pc:spChg chg="del">
          <ac:chgData name="Sam Mesel" userId="1ee7badb-5d1f-4872-89ae-dcf7b71f276a" providerId="ADAL" clId="{53886FC4-CEC3-49C2-A16F-E052A3E85A45}" dt="2020-03-20T17:53:02.473" v="15941" actId="478"/>
          <ac:spMkLst>
            <pc:docMk/>
            <pc:sldMk cId="2660728281" sldId="1496"/>
            <ac:spMk id="19" creationId="{60DE5650-A2C4-4721-BBA8-A539CAC4165D}"/>
          </ac:spMkLst>
        </pc:spChg>
        <pc:spChg chg="add mod">
          <ac:chgData name="Sam Mesel" userId="1ee7badb-5d1f-4872-89ae-dcf7b71f276a" providerId="ADAL" clId="{53886FC4-CEC3-49C2-A16F-E052A3E85A45}" dt="2020-03-20T17:55:28.032" v="15979" actId="14100"/>
          <ac:spMkLst>
            <pc:docMk/>
            <pc:sldMk cId="2660728281" sldId="1496"/>
            <ac:spMk id="20" creationId="{47FAF5BB-7AC3-4E99-80DB-B1D7FA61730A}"/>
          </ac:spMkLst>
        </pc:spChg>
        <pc:spChg chg="add">
          <ac:chgData name="Sam Mesel" userId="1ee7badb-5d1f-4872-89ae-dcf7b71f276a" providerId="ADAL" clId="{53886FC4-CEC3-49C2-A16F-E052A3E85A45}" dt="2020-03-20T17:53:25.530" v="15945"/>
          <ac:spMkLst>
            <pc:docMk/>
            <pc:sldMk cId="2660728281" sldId="1496"/>
            <ac:spMk id="21" creationId="{FC60D860-2C09-4EE8-843F-50FD4CC213A2}"/>
          </ac:spMkLst>
        </pc:spChg>
        <pc:spChg chg="mod">
          <ac:chgData name="Sam Mesel" userId="1ee7badb-5d1f-4872-89ae-dcf7b71f276a" providerId="ADAL" clId="{53886FC4-CEC3-49C2-A16F-E052A3E85A45}" dt="2020-03-20T17:52:55.225" v="15940" actId="20577"/>
          <ac:spMkLst>
            <pc:docMk/>
            <pc:sldMk cId="2660728281" sldId="1496"/>
            <ac:spMk id="22" creationId="{AFE113AE-2D33-49AC-AC5F-6C8AD8A7D88D}"/>
          </ac:spMkLst>
        </pc:spChg>
        <pc:spChg chg="add">
          <ac:chgData name="Sam Mesel" userId="1ee7badb-5d1f-4872-89ae-dcf7b71f276a" providerId="ADAL" clId="{53886FC4-CEC3-49C2-A16F-E052A3E85A45}" dt="2020-03-20T17:53:25.530" v="15945"/>
          <ac:spMkLst>
            <pc:docMk/>
            <pc:sldMk cId="2660728281" sldId="1496"/>
            <ac:spMk id="23" creationId="{CE35D496-28E6-41C7-8A62-20A4167AAFA6}"/>
          </ac:spMkLst>
        </pc:spChg>
        <pc:spChg chg="add">
          <ac:chgData name="Sam Mesel" userId="1ee7badb-5d1f-4872-89ae-dcf7b71f276a" providerId="ADAL" clId="{53886FC4-CEC3-49C2-A16F-E052A3E85A45}" dt="2020-03-20T17:53:25.530" v="15945"/>
          <ac:spMkLst>
            <pc:docMk/>
            <pc:sldMk cId="2660728281" sldId="1496"/>
            <ac:spMk id="24" creationId="{E3A1952C-6BC1-4632-A61F-E20C70EE7593}"/>
          </ac:spMkLst>
        </pc:spChg>
        <pc:spChg chg="add">
          <ac:chgData name="Sam Mesel" userId="1ee7badb-5d1f-4872-89ae-dcf7b71f276a" providerId="ADAL" clId="{53886FC4-CEC3-49C2-A16F-E052A3E85A45}" dt="2020-03-20T17:53:25.530" v="15945"/>
          <ac:spMkLst>
            <pc:docMk/>
            <pc:sldMk cId="2660728281" sldId="1496"/>
            <ac:spMk id="25" creationId="{F17240AB-8716-4930-B86F-CC5998D4FB27}"/>
          </ac:spMkLst>
        </pc:spChg>
        <pc:spChg chg="add mod">
          <ac:chgData name="Sam Mesel" userId="1ee7badb-5d1f-4872-89ae-dcf7b71f276a" providerId="ADAL" clId="{53886FC4-CEC3-49C2-A16F-E052A3E85A45}" dt="2020-03-20T17:55:19.311" v="15978" actId="1037"/>
          <ac:spMkLst>
            <pc:docMk/>
            <pc:sldMk cId="2660728281" sldId="1496"/>
            <ac:spMk id="26" creationId="{B01FCAC5-2FB8-4F7D-8BD5-2D18A08A6F2B}"/>
          </ac:spMkLst>
        </pc:spChg>
        <pc:spChg chg="add mod">
          <ac:chgData name="Sam Mesel" userId="1ee7badb-5d1f-4872-89ae-dcf7b71f276a" providerId="ADAL" clId="{53886FC4-CEC3-49C2-A16F-E052A3E85A45}" dt="2020-03-20T17:55:19.311" v="15978" actId="1037"/>
          <ac:spMkLst>
            <pc:docMk/>
            <pc:sldMk cId="2660728281" sldId="1496"/>
            <ac:spMk id="27" creationId="{D1C427F4-9E28-4FF6-A93A-E21EFBB1826E}"/>
          </ac:spMkLst>
        </pc:spChg>
        <pc:spChg chg="add mod">
          <ac:chgData name="Sam Mesel" userId="1ee7badb-5d1f-4872-89ae-dcf7b71f276a" providerId="ADAL" clId="{53886FC4-CEC3-49C2-A16F-E052A3E85A45}" dt="2020-03-20T17:55:19.311" v="15978" actId="1037"/>
          <ac:spMkLst>
            <pc:docMk/>
            <pc:sldMk cId="2660728281" sldId="1496"/>
            <ac:spMk id="28" creationId="{4D390A33-5E69-444A-A60D-E6452535296E}"/>
          </ac:spMkLst>
        </pc:spChg>
        <pc:spChg chg="add mod">
          <ac:chgData name="Sam Mesel" userId="1ee7badb-5d1f-4872-89ae-dcf7b71f276a" providerId="ADAL" clId="{53886FC4-CEC3-49C2-A16F-E052A3E85A45}" dt="2020-03-20T17:55:19.311" v="15978" actId="1037"/>
          <ac:spMkLst>
            <pc:docMk/>
            <pc:sldMk cId="2660728281" sldId="1496"/>
            <ac:spMk id="29" creationId="{0C3A8C6D-0A41-4CFD-A28A-AC6D1618B26D}"/>
          </ac:spMkLst>
        </pc:spChg>
        <pc:spChg chg="add">
          <ac:chgData name="Sam Mesel" userId="1ee7badb-5d1f-4872-89ae-dcf7b71f276a" providerId="ADAL" clId="{53886FC4-CEC3-49C2-A16F-E052A3E85A45}" dt="2020-03-20T17:53:25.530" v="15945"/>
          <ac:spMkLst>
            <pc:docMk/>
            <pc:sldMk cId="2660728281" sldId="1496"/>
            <ac:spMk id="30" creationId="{19C30440-8201-48BA-8AC6-D269C45A73B6}"/>
          </ac:spMkLst>
        </pc:spChg>
        <pc:spChg chg="add mod">
          <ac:chgData name="Sam Mesel" userId="1ee7badb-5d1f-4872-89ae-dcf7b71f276a" providerId="ADAL" clId="{53886FC4-CEC3-49C2-A16F-E052A3E85A45}" dt="2020-03-20T17:55:19.311" v="15978" actId="1037"/>
          <ac:spMkLst>
            <pc:docMk/>
            <pc:sldMk cId="2660728281" sldId="1496"/>
            <ac:spMk id="31" creationId="{039913EF-FFF1-47D9-9024-27E93F05485B}"/>
          </ac:spMkLst>
        </pc:spChg>
        <pc:spChg chg="add del">
          <ac:chgData name="Sam Mesel" userId="1ee7badb-5d1f-4872-89ae-dcf7b71f276a" providerId="ADAL" clId="{53886FC4-CEC3-49C2-A16F-E052A3E85A45}" dt="2020-03-20T17:54:48.147" v="15966" actId="478"/>
          <ac:spMkLst>
            <pc:docMk/>
            <pc:sldMk cId="2660728281" sldId="1496"/>
            <ac:spMk id="32" creationId="{A49AAC9F-843F-473D-803C-42587C3775DC}"/>
          </ac:spMkLst>
        </pc:spChg>
      </pc:sldChg>
      <pc:sldChg chg="addSp delSp modSp add mod delAnim modAnim modNotesTx">
        <pc:chgData name="Sam Mesel" userId="1ee7badb-5d1f-4872-89ae-dcf7b71f276a" providerId="ADAL" clId="{53886FC4-CEC3-49C2-A16F-E052A3E85A45}" dt="2020-03-20T17:57:26.459" v="16001" actId="14100"/>
        <pc:sldMkLst>
          <pc:docMk/>
          <pc:sldMk cId="764427157" sldId="1497"/>
        </pc:sldMkLst>
        <pc:spChg chg="mod">
          <ac:chgData name="Sam Mesel" userId="1ee7badb-5d1f-4872-89ae-dcf7b71f276a" providerId="ADAL" clId="{53886FC4-CEC3-49C2-A16F-E052A3E85A45}" dt="2020-03-20T17:56:13.829" v="15989" actId="6549"/>
          <ac:spMkLst>
            <pc:docMk/>
            <pc:sldMk cId="764427157" sldId="1497"/>
            <ac:spMk id="3" creationId="{9CAAEC61-74EA-4B3E-B3DB-D6B83A64237B}"/>
          </ac:spMkLst>
        </pc:spChg>
        <pc:spChg chg="add del">
          <ac:chgData name="Sam Mesel" userId="1ee7badb-5d1f-4872-89ae-dcf7b71f276a" providerId="ADAL" clId="{53886FC4-CEC3-49C2-A16F-E052A3E85A45}" dt="2020-03-20T17:56:43.934" v="15995"/>
          <ac:spMkLst>
            <pc:docMk/>
            <pc:sldMk cId="764427157" sldId="1497"/>
            <ac:spMk id="16" creationId="{A9447395-7DE6-4345-9AF0-1A4C6EE702AD}"/>
          </ac:spMkLst>
        </pc:spChg>
        <pc:spChg chg="add del">
          <ac:chgData name="Sam Mesel" userId="1ee7badb-5d1f-4872-89ae-dcf7b71f276a" providerId="ADAL" clId="{53886FC4-CEC3-49C2-A16F-E052A3E85A45}" dt="2020-03-20T17:57:04.790" v="15997"/>
          <ac:spMkLst>
            <pc:docMk/>
            <pc:sldMk cId="764427157" sldId="1497"/>
            <ac:spMk id="17" creationId="{32172AAE-A73A-432E-BCA1-186629067B5A}"/>
          </ac:spMkLst>
        </pc:spChg>
        <pc:spChg chg="add del">
          <ac:chgData name="Sam Mesel" userId="1ee7badb-5d1f-4872-89ae-dcf7b71f276a" providerId="ADAL" clId="{53886FC4-CEC3-49C2-A16F-E052A3E85A45}" dt="2020-03-20T17:57:04.790" v="15997"/>
          <ac:spMkLst>
            <pc:docMk/>
            <pc:sldMk cId="764427157" sldId="1497"/>
            <ac:spMk id="18" creationId="{45287FDC-0804-4BE8-8B98-1660CD7A9005}"/>
          </ac:spMkLst>
        </pc:spChg>
        <pc:spChg chg="add">
          <ac:chgData name="Sam Mesel" userId="1ee7badb-5d1f-4872-89ae-dcf7b71f276a" providerId="ADAL" clId="{53886FC4-CEC3-49C2-A16F-E052A3E85A45}" dt="2020-03-20T17:57:10.512" v="15998"/>
          <ac:spMkLst>
            <pc:docMk/>
            <pc:sldMk cId="764427157" sldId="1497"/>
            <ac:spMk id="19" creationId="{7CF084F0-001A-4CCA-899B-4D8B63A2CACB}"/>
          </ac:spMkLst>
        </pc:spChg>
        <pc:spChg chg="del">
          <ac:chgData name="Sam Mesel" userId="1ee7badb-5d1f-4872-89ae-dcf7b71f276a" providerId="ADAL" clId="{53886FC4-CEC3-49C2-A16F-E052A3E85A45}" dt="2020-03-20T17:56:27.582" v="15992" actId="478"/>
          <ac:spMkLst>
            <pc:docMk/>
            <pc:sldMk cId="764427157" sldId="1497"/>
            <ac:spMk id="20" creationId="{47FAF5BB-7AC3-4E99-80DB-B1D7FA61730A}"/>
          </ac:spMkLst>
        </pc:spChg>
        <pc:spChg chg="del">
          <ac:chgData name="Sam Mesel" userId="1ee7badb-5d1f-4872-89ae-dcf7b71f276a" providerId="ADAL" clId="{53886FC4-CEC3-49C2-A16F-E052A3E85A45}" dt="2020-03-20T17:56:27.582" v="15992" actId="478"/>
          <ac:spMkLst>
            <pc:docMk/>
            <pc:sldMk cId="764427157" sldId="1497"/>
            <ac:spMk id="21" creationId="{FC60D860-2C09-4EE8-843F-50FD4CC213A2}"/>
          </ac:spMkLst>
        </pc:spChg>
        <pc:spChg chg="mod">
          <ac:chgData name="Sam Mesel" userId="1ee7badb-5d1f-4872-89ae-dcf7b71f276a" providerId="ADAL" clId="{53886FC4-CEC3-49C2-A16F-E052A3E85A45}" dt="2020-03-20T17:56:20.957" v="15991" actId="20577"/>
          <ac:spMkLst>
            <pc:docMk/>
            <pc:sldMk cId="764427157" sldId="1497"/>
            <ac:spMk id="22" creationId="{AFE113AE-2D33-49AC-AC5F-6C8AD8A7D88D}"/>
          </ac:spMkLst>
        </pc:spChg>
        <pc:spChg chg="del">
          <ac:chgData name="Sam Mesel" userId="1ee7badb-5d1f-4872-89ae-dcf7b71f276a" providerId="ADAL" clId="{53886FC4-CEC3-49C2-A16F-E052A3E85A45}" dt="2020-03-20T17:56:27.582" v="15992" actId="478"/>
          <ac:spMkLst>
            <pc:docMk/>
            <pc:sldMk cId="764427157" sldId="1497"/>
            <ac:spMk id="23" creationId="{CE35D496-28E6-41C7-8A62-20A4167AAFA6}"/>
          </ac:spMkLst>
        </pc:spChg>
        <pc:spChg chg="del">
          <ac:chgData name="Sam Mesel" userId="1ee7badb-5d1f-4872-89ae-dcf7b71f276a" providerId="ADAL" clId="{53886FC4-CEC3-49C2-A16F-E052A3E85A45}" dt="2020-03-20T17:56:27.582" v="15992" actId="478"/>
          <ac:spMkLst>
            <pc:docMk/>
            <pc:sldMk cId="764427157" sldId="1497"/>
            <ac:spMk id="24" creationId="{E3A1952C-6BC1-4632-A61F-E20C70EE7593}"/>
          </ac:spMkLst>
        </pc:spChg>
        <pc:spChg chg="del">
          <ac:chgData name="Sam Mesel" userId="1ee7badb-5d1f-4872-89ae-dcf7b71f276a" providerId="ADAL" clId="{53886FC4-CEC3-49C2-A16F-E052A3E85A45}" dt="2020-03-20T17:56:27.582" v="15992" actId="478"/>
          <ac:spMkLst>
            <pc:docMk/>
            <pc:sldMk cId="764427157" sldId="1497"/>
            <ac:spMk id="25" creationId="{F17240AB-8716-4930-B86F-CC5998D4FB27}"/>
          </ac:spMkLst>
        </pc:spChg>
        <pc:spChg chg="del">
          <ac:chgData name="Sam Mesel" userId="1ee7badb-5d1f-4872-89ae-dcf7b71f276a" providerId="ADAL" clId="{53886FC4-CEC3-49C2-A16F-E052A3E85A45}" dt="2020-03-20T17:56:27.582" v="15992" actId="478"/>
          <ac:spMkLst>
            <pc:docMk/>
            <pc:sldMk cId="764427157" sldId="1497"/>
            <ac:spMk id="26" creationId="{B01FCAC5-2FB8-4F7D-8BD5-2D18A08A6F2B}"/>
          </ac:spMkLst>
        </pc:spChg>
        <pc:spChg chg="del">
          <ac:chgData name="Sam Mesel" userId="1ee7badb-5d1f-4872-89ae-dcf7b71f276a" providerId="ADAL" clId="{53886FC4-CEC3-49C2-A16F-E052A3E85A45}" dt="2020-03-20T17:56:27.582" v="15992" actId="478"/>
          <ac:spMkLst>
            <pc:docMk/>
            <pc:sldMk cId="764427157" sldId="1497"/>
            <ac:spMk id="27" creationId="{D1C427F4-9E28-4FF6-A93A-E21EFBB1826E}"/>
          </ac:spMkLst>
        </pc:spChg>
        <pc:spChg chg="del">
          <ac:chgData name="Sam Mesel" userId="1ee7badb-5d1f-4872-89ae-dcf7b71f276a" providerId="ADAL" clId="{53886FC4-CEC3-49C2-A16F-E052A3E85A45}" dt="2020-03-20T17:56:27.582" v="15992" actId="478"/>
          <ac:spMkLst>
            <pc:docMk/>
            <pc:sldMk cId="764427157" sldId="1497"/>
            <ac:spMk id="28" creationId="{4D390A33-5E69-444A-A60D-E6452535296E}"/>
          </ac:spMkLst>
        </pc:spChg>
        <pc:spChg chg="del">
          <ac:chgData name="Sam Mesel" userId="1ee7badb-5d1f-4872-89ae-dcf7b71f276a" providerId="ADAL" clId="{53886FC4-CEC3-49C2-A16F-E052A3E85A45}" dt="2020-03-20T17:56:27.582" v="15992" actId="478"/>
          <ac:spMkLst>
            <pc:docMk/>
            <pc:sldMk cId="764427157" sldId="1497"/>
            <ac:spMk id="29" creationId="{0C3A8C6D-0A41-4CFD-A28A-AC6D1618B26D}"/>
          </ac:spMkLst>
        </pc:spChg>
        <pc:spChg chg="del">
          <ac:chgData name="Sam Mesel" userId="1ee7badb-5d1f-4872-89ae-dcf7b71f276a" providerId="ADAL" clId="{53886FC4-CEC3-49C2-A16F-E052A3E85A45}" dt="2020-03-20T17:56:27.582" v="15992" actId="478"/>
          <ac:spMkLst>
            <pc:docMk/>
            <pc:sldMk cId="764427157" sldId="1497"/>
            <ac:spMk id="30" creationId="{19C30440-8201-48BA-8AC6-D269C45A73B6}"/>
          </ac:spMkLst>
        </pc:spChg>
        <pc:spChg chg="del">
          <ac:chgData name="Sam Mesel" userId="1ee7badb-5d1f-4872-89ae-dcf7b71f276a" providerId="ADAL" clId="{53886FC4-CEC3-49C2-A16F-E052A3E85A45}" dt="2020-03-20T17:56:27.582" v="15992" actId="478"/>
          <ac:spMkLst>
            <pc:docMk/>
            <pc:sldMk cId="764427157" sldId="1497"/>
            <ac:spMk id="31" creationId="{039913EF-FFF1-47D9-9024-27E93F05485B}"/>
          </ac:spMkLst>
        </pc:spChg>
        <pc:spChg chg="add mod">
          <ac:chgData name="Sam Mesel" userId="1ee7badb-5d1f-4872-89ae-dcf7b71f276a" providerId="ADAL" clId="{53886FC4-CEC3-49C2-A16F-E052A3E85A45}" dt="2020-03-20T17:57:26.459" v="16001" actId="14100"/>
          <ac:spMkLst>
            <pc:docMk/>
            <pc:sldMk cId="764427157" sldId="1497"/>
            <ac:spMk id="32" creationId="{CF86C0B4-8D6B-4523-9195-3F52AD6348CC}"/>
          </ac:spMkLst>
        </pc:spChg>
      </pc:sldChg>
    </pc:docChg>
  </pc:docChgLst>
  <pc:docChgLst>
    <pc:chgData name="Sam Mesel" userId="1ee7badb-5d1f-4872-89ae-dcf7b71f276a" providerId="ADAL" clId="{162A7B6D-C56C-4542-8F7F-1ED0419C18AF}"/>
    <pc:docChg chg="custSel modSld">
      <pc:chgData name="Sam Mesel" userId="1ee7badb-5d1f-4872-89ae-dcf7b71f276a" providerId="ADAL" clId="{162A7B6D-C56C-4542-8F7F-1ED0419C18AF}" dt="2020-05-22T17:19:59.474" v="7" actId="478"/>
      <pc:docMkLst>
        <pc:docMk/>
      </pc:docMkLst>
      <pc:sldChg chg="delSp mod">
        <pc:chgData name="Sam Mesel" userId="1ee7badb-5d1f-4872-89ae-dcf7b71f276a" providerId="ADAL" clId="{162A7B6D-C56C-4542-8F7F-1ED0419C18AF}" dt="2020-05-06T23:21:38.424" v="1" actId="478"/>
        <pc:sldMkLst>
          <pc:docMk/>
          <pc:sldMk cId="2390424317" sldId="606"/>
        </pc:sldMkLst>
        <pc:spChg chg="del">
          <ac:chgData name="Sam Mesel" userId="1ee7badb-5d1f-4872-89ae-dcf7b71f276a" providerId="ADAL" clId="{162A7B6D-C56C-4542-8F7F-1ED0419C18AF}" dt="2020-05-06T23:21:38.424" v="1" actId="478"/>
          <ac:spMkLst>
            <pc:docMk/>
            <pc:sldMk cId="2390424317" sldId="606"/>
            <ac:spMk id="14" creationId="{3F11F991-20F9-46E6-A86E-3B03B0932796}"/>
          </ac:spMkLst>
        </pc:spChg>
        <pc:spChg chg="del">
          <ac:chgData name="Sam Mesel" userId="1ee7badb-5d1f-4872-89ae-dcf7b71f276a" providerId="ADAL" clId="{162A7B6D-C56C-4542-8F7F-1ED0419C18AF}" dt="2020-05-06T23:21:38.424" v="1" actId="478"/>
          <ac:spMkLst>
            <pc:docMk/>
            <pc:sldMk cId="2390424317" sldId="606"/>
            <ac:spMk id="16" creationId="{29A126AC-59E6-46F1-B32C-E7A8AB5B9EAE}"/>
          </ac:spMkLst>
        </pc:spChg>
      </pc:sldChg>
      <pc:sldChg chg="delSp mod">
        <pc:chgData name="Sam Mesel" userId="1ee7badb-5d1f-4872-89ae-dcf7b71f276a" providerId="ADAL" clId="{162A7B6D-C56C-4542-8F7F-1ED0419C18AF}" dt="2020-05-06T23:20:25.758" v="0" actId="478"/>
        <pc:sldMkLst>
          <pc:docMk/>
          <pc:sldMk cId="3928707589" sldId="609"/>
        </pc:sldMkLst>
        <pc:spChg chg="del">
          <ac:chgData name="Sam Mesel" userId="1ee7badb-5d1f-4872-89ae-dcf7b71f276a" providerId="ADAL" clId="{162A7B6D-C56C-4542-8F7F-1ED0419C18AF}" dt="2020-05-06T23:20:25.758" v="0" actId="478"/>
          <ac:spMkLst>
            <pc:docMk/>
            <pc:sldMk cId="3928707589" sldId="609"/>
            <ac:spMk id="3" creationId="{F35E8CBB-5A7D-4DEF-BAF7-8DD5D042F9E0}"/>
          </ac:spMkLst>
        </pc:spChg>
      </pc:sldChg>
      <pc:sldChg chg="delSp mod">
        <pc:chgData name="Sam Mesel" userId="1ee7badb-5d1f-4872-89ae-dcf7b71f276a" providerId="ADAL" clId="{162A7B6D-C56C-4542-8F7F-1ED0419C18AF}" dt="2020-05-22T17:18:58.658" v="2" actId="478"/>
        <pc:sldMkLst>
          <pc:docMk/>
          <pc:sldMk cId="1985242486" sldId="669"/>
        </pc:sldMkLst>
        <pc:spChg chg="del">
          <ac:chgData name="Sam Mesel" userId="1ee7badb-5d1f-4872-89ae-dcf7b71f276a" providerId="ADAL" clId="{162A7B6D-C56C-4542-8F7F-1ED0419C18AF}" dt="2020-05-22T17:18:58.658" v="2" actId="478"/>
          <ac:spMkLst>
            <pc:docMk/>
            <pc:sldMk cId="1985242486" sldId="669"/>
            <ac:spMk id="9" creationId="{610DD977-6571-4E75-91F5-C5F710C78F56}"/>
          </ac:spMkLst>
        </pc:spChg>
      </pc:sldChg>
      <pc:sldChg chg="delSp mod">
        <pc:chgData name="Sam Mesel" userId="1ee7badb-5d1f-4872-89ae-dcf7b71f276a" providerId="ADAL" clId="{162A7B6D-C56C-4542-8F7F-1ED0419C18AF}" dt="2020-05-22T17:19:18.983" v="3" actId="478"/>
        <pc:sldMkLst>
          <pc:docMk/>
          <pc:sldMk cId="2378945749" sldId="1491"/>
        </pc:sldMkLst>
        <pc:spChg chg="del">
          <ac:chgData name="Sam Mesel" userId="1ee7badb-5d1f-4872-89ae-dcf7b71f276a" providerId="ADAL" clId="{162A7B6D-C56C-4542-8F7F-1ED0419C18AF}" dt="2020-05-22T17:19:18.983" v="3" actId="478"/>
          <ac:spMkLst>
            <pc:docMk/>
            <pc:sldMk cId="2378945749" sldId="1491"/>
            <ac:spMk id="5" creationId="{14A2538D-0515-4508-B6B4-89744A2416D4}"/>
          </ac:spMkLst>
        </pc:spChg>
      </pc:sldChg>
      <pc:sldChg chg="delSp mod">
        <pc:chgData name="Sam Mesel" userId="1ee7badb-5d1f-4872-89ae-dcf7b71f276a" providerId="ADAL" clId="{162A7B6D-C56C-4542-8F7F-1ED0419C18AF}" dt="2020-05-22T17:19:59.474" v="7" actId="478"/>
        <pc:sldMkLst>
          <pc:docMk/>
          <pc:sldMk cId="116317705" sldId="1492"/>
        </pc:sldMkLst>
        <pc:spChg chg="del">
          <ac:chgData name="Sam Mesel" userId="1ee7badb-5d1f-4872-89ae-dcf7b71f276a" providerId="ADAL" clId="{162A7B6D-C56C-4542-8F7F-1ED0419C18AF}" dt="2020-05-22T17:19:59.474" v="7" actId="478"/>
          <ac:spMkLst>
            <pc:docMk/>
            <pc:sldMk cId="116317705" sldId="1492"/>
            <ac:spMk id="5" creationId="{14A2538D-0515-4508-B6B4-89744A2416D4}"/>
          </ac:spMkLst>
        </pc:spChg>
      </pc:sldChg>
      <pc:sldChg chg="delSp mod">
        <pc:chgData name="Sam Mesel" userId="1ee7badb-5d1f-4872-89ae-dcf7b71f276a" providerId="ADAL" clId="{162A7B6D-C56C-4542-8F7F-1ED0419C18AF}" dt="2020-05-22T17:19:28.733" v="4" actId="478"/>
        <pc:sldMkLst>
          <pc:docMk/>
          <pc:sldMk cId="2244982301" sldId="1495"/>
        </pc:sldMkLst>
        <pc:spChg chg="del">
          <ac:chgData name="Sam Mesel" userId="1ee7badb-5d1f-4872-89ae-dcf7b71f276a" providerId="ADAL" clId="{162A7B6D-C56C-4542-8F7F-1ED0419C18AF}" dt="2020-05-22T17:19:28.733" v="4" actId="478"/>
          <ac:spMkLst>
            <pc:docMk/>
            <pc:sldMk cId="2244982301" sldId="1495"/>
            <ac:spMk id="22" creationId="{AFE113AE-2D33-49AC-AC5F-6C8AD8A7D88D}"/>
          </ac:spMkLst>
        </pc:spChg>
      </pc:sldChg>
      <pc:sldChg chg="delSp mod">
        <pc:chgData name="Sam Mesel" userId="1ee7badb-5d1f-4872-89ae-dcf7b71f276a" providerId="ADAL" clId="{162A7B6D-C56C-4542-8F7F-1ED0419C18AF}" dt="2020-05-22T17:19:38.314" v="5" actId="478"/>
        <pc:sldMkLst>
          <pc:docMk/>
          <pc:sldMk cId="2660728281" sldId="1496"/>
        </pc:sldMkLst>
        <pc:spChg chg="del">
          <ac:chgData name="Sam Mesel" userId="1ee7badb-5d1f-4872-89ae-dcf7b71f276a" providerId="ADAL" clId="{162A7B6D-C56C-4542-8F7F-1ED0419C18AF}" dt="2020-05-22T17:19:38.314" v="5" actId="478"/>
          <ac:spMkLst>
            <pc:docMk/>
            <pc:sldMk cId="2660728281" sldId="1496"/>
            <ac:spMk id="22" creationId="{AFE113AE-2D33-49AC-AC5F-6C8AD8A7D88D}"/>
          </ac:spMkLst>
        </pc:spChg>
      </pc:sldChg>
      <pc:sldChg chg="delSp mod">
        <pc:chgData name="Sam Mesel" userId="1ee7badb-5d1f-4872-89ae-dcf7b71f276a" providerId="ADAL" clId="{162A7B6D-C56C-4542-8F7F-1ED0419C18AF}" dt="2020-05-22T17:19:45.173" v="6" actId="478"/>
        <pc:sldMkLst>
          <pc:docMk/>
          <pc:sldMk cId="764427157" sldId="1497"/>
        </pc:sldMkLst>
        <pc:spChg chg="del">
          <ac:chgData name="Sam Mesel" userId="1ee7badb-5d1f-4872-89ae-dcf7b71f276a" providerId="ADAL" clId="{162A7B6D-C56C-4542-8F7F-1ED0419C18AF}" dt="2020-05-22T17:19:45.173" v="6" actId="478"/>
          <ac:spMkLst>
            <pc:docMk/>
            <pc:sldMk cId="764427157" sldId="1497"/>
            <ac:spMk id="22" creationId="{AFE113AE-2D33-49AC-AC5F-6C8AD8A7D88D}"/>
          </ac:spMkLst>
        </pc:spChg>
      </pc:sldChg>
    </pc:docChg>
  </pc:docChgLst>
  <pc:docChgLst>
    <pc:chgData name="Varinder Singh" userId="e78eab9f-fa20-4bd5-9745-875ae6e7a1cb" providerId="ADAL" clId="{192B271A-DEBD-4239-BF90-85764F2CE191}"/>
    <pc:docChg chg="undo custSel modSld">
      <pc:chgData name="Varinder Singh" userId="e78eab9f-fa20-4bd5-9745-875ae6e7a1cb" providerId="ADAL" clId="{192B271A-DEBD-4239-BF90-85764F2CE191}" dt="2020-03-05T03:31:34.404" v="633" actId="20577"/>
      <pc:docMkLst>
        <pc:docMk/>
      </pc:docMkLst>
      <pc:sldChg chg="modNotesTx">
        <pc:chgData name="Varinder Singh" userId="e78eab9f-fa20-4bd5-9745-875ae6e7a1cb" providerId="ADAL" clId="{192B271A-DEBD-4239-BF90-85764F2CE191}" dt="2020-03-05T02:13:16.641" v="343" actId="20577"/>
        <pc:sldMkLst>
          <pc:docMk/>
          <pc:sldMk cId="3735096506" sldId="563"/>
        </pc:sldMkLst>
      </pc:sldChg>
      <pc:sldChg chg="modSp modNotesTx">
        <pc:chgData name="Varinder Singh" userId="e78eab9f-fa20-4bd5-9745-875ae6e7a1cb" providerId="ADAL" clId="{192B271A-DEBD-4239-BF90-85764F2CE191}" dt="2020-03-05T03:00:14.607" v="496" actId="20577"/>
        <pc:sldMkLst>
          <pc:docMk/>
          <pc:sldMk cId="1737290916" sldId="591"/>
        </pc:sldMkLst>
        <pc:graphicFrameChg chg="mod">
          <ac:chgData name="Varinder Singh" userId="e78eab9f-fa20-4bd5-9745-875ae6e7a1cb" providerId="ADAL" clId="{192B271A-DEBD-4239-BF90-85764F2CE191}" dt="2020-03-05T02:59:49.718" v="463" actId="20577"/>
          <ac:graphicFrameMkLst>
            <pc:docMk/>
            <pc:sldMk cId="1737290916" sldId="591"/>
            <ac:graphicFrameMk id="3" creationId="{9484E1FE-7534-495E-863C-657A46F5E628}"/>
          </ac:graphicFrameMkLst>
        </pc:graphicFrameChg>
      </pc:sldChg>
      <pc:sldChg chg="modSp modNotesTx">
        <pc:chgData name="Varinder Singh" userId="e78eab9f-fa20-4bd5-9745-875ae6e7a1cb" providerId="ADAL" clId="{192B271A-DEBD-4239-BF90-85764F2CE191}" dt="2020-03-05T02:11:04.082" v="335" actId="12"/>
        <pc:sldMkLst>
          <pc:docMk/>
          <pc:sldMk cId="1325009333" sldId="607"/>
        </pc:sldMkLst>
        <pc:graphicFrameChg chg="mod">
          <ac:chgData name="Varinder Singh" userId="e78eab9f-fa20-4bd5-9745-875ae6e7a1cb" providerId="ADAL" clId="{192B271A-DEBD-4239-BF90-85764F2CE191}" dt="2020-03-05T02:09:38.613" v="327"/>
          <ac:graphicFrameMkLst>
            <pc:docMk/>
            <pc:sldMk cId="1325009333" sldId="607"/>
            <ac:graphicFrameMk id="16" creationId="{93C23775-6963-43D2-A76C-D134C16F4E3C}"/>
          </ac:graphicFrameMkLst>
        </pc:graphicFrameChg>
      </pc:sldChg>
      <pc:sldChg chg="modSp">
        <pc:chgData name="Varinder Singh" userId="e78eab9f-fa20-4bd5-9745-875ae6e7a1cb" providerId="ADAL" clId="{192B271A-DEBD-4239-BF90-85764F2CE191}" dt="2020-03-05T01:54:50.175" v="273" actId="113"/>
        <pc:sldMkLst>
          <pc:docMk/>
          <pc:sldMk cId="442293443" sldId="608"/>
        </pc:sldMkLst>
        <pc:graphicFrameChg chg="mod">
          <ac:chgData name="Varinder Singh" userId="e78eab9f-fa20-4bd5-9745-875ae6e7a1cb" providerId="ADAL" clId="{192B271A-DEBD-4239-BF90-85764F2CE191}" dt="2020-03-05T01:54:50.175" v="273" actId="113"/>
          <ac:graphicFrameMkLst>
            <pc:docMk/>
            <pc:sldMk cId="442293443" sldId="608"/>
            <ac:graphicFrameMk id="7" creationId="{CF7C7A3B-A65D-40B2-92A1-6E44F518C1B2}"/>
          </ac:graphicFrameMkLst>
        </pc:graphicFrameChg>
      </pc:sldChg>
      <pc:sldChg chg="modSp mod modNotesTx">
        <pc:chgData name="Varinder Singh" userId="e78eab9f-fa20-4bd5-9745-875ae6e7a1cb" providerId="ADAL" clId="{192B271A-DEBD-4239-BF90-85764F2CE191}" dt="2020-03-05T02:08:07.626" v="326" actId="20577"/>
        <pc:sldMkLst>
          <pc:docMk/>
          <pc:sldMk cId="3301692604" sldId="616"/>
        </pc:sldMkLst>
        <pc:spChg chg="mod">
          <ac:chgData name="Varinder Singh" userId="e78eab9f-fa20-4bd5-9745-875ae6e7a1cb" providerId="ADAL" clId="{192B271A-DEBD-4239-BF90-85764F2CE191}" dt="2020-03-05T02:08:07.626" v="326" actId="20577"/>
          <ac:spMkLst>
            <pc:docMk/>
            <pc:sldMk cId="3301692604" sldId="616"/>
            <ac:spMk id="8" creationId="{A1A983F2-5871-48C1-95D4-E5D9ADD59778}"/>
          </ac:spMkLst>
        </pc:spChg>
      </pc:sldChg>
      <pc:sldChg chg="modNotesTx">
        <pc:chgData name="Varinder Singh" userId="e78eab9f-fa20-4bd5-9745-875ae6e7a1cb" providerId="ADAL" clId="{192B271A-DEBD-4239-BF90-85764F2CE191}" dt="2020-03-05T02:07:33.010" v="317" actId="113"/>
        <pc:sldMkLst>
          <pc:docMk/>
          <pc:sldMk cId="147614051" sldId="617"/>
        </pc:sldMkLst>
      </pc:sldChg>
      <pc:sldChg chg="modSp modNotesTx">
        <pc:chgData name="Varinder Singh" userId="e78eab9f-fa20-4bd5-9745-875ae6e7a1cb" providerId="ADAL" clId="{192B271A-DEBD-4239-BF90-85764F2CE191}" dt="2020-03-05T02:41:39.514" v="386" actId="20577"/>
        <pc:sldMkLst>
          <pc:docMk/>
          <pc:sldMk cId="1318002608" sldId="623"/>
        </pc:sldMkLst>
        <pc:graphicFrameChg chg="mod">
          <ac:chgData name="Varinder Singh" userId="e78eab9f-fa20-4bd5-9745-875ae6e7a1cb" providerId="ADAL" clId="{192B271A-DEBD-4239-BF90-85764F2CE191}" dt="2020-03-05T02:41:39.514" v="386" actId="20577"/>
          <ac:graphicFrameMkLst>
            <pc:docMk/>
            <pc:sldMk cId="1318002608" sldId="623"/>
            <ac:graphicFrameMk id="6" creationId="{FE39FBFC-2347-4F5C-9A5B-6BC4070C7FFE}"/>
          </ac:graphicFrameMkLst>
        </pc:graphicFrameChg>
      </pc:sldChg>
      <pc:sldChg chg="modSp">
        <pc:chgData name="Varinder Singh" userId="e78eab9f-fa20-4bd5-9745-875ae6e7a1cb" providerId="ADAL" clId="{192B271A-DEBD-4239-BF90-85764F2CE191}" dt="2020-03-05T02:46:00.797" v="392" actId="20577"/>
        <pc:sldMkLst>
          <pc:docMk/>
          <pc:sldMk cId="3250101842" sldId="625"/>
        </pc:sldMkLst>
        <pc:graphicFrameChg chg="mod">
          <ac:chgData name="Varinder Singh" userId="e78eab9f-fa20-4bd5-9745-875ae6e7a1cb" providerId="ADAL" clId="{192B271A-DEBD-4239-BF90-85764F2CE191}" dt="2020-03-05T02:46:00.797" v="392" actId="20577"/>
          <ac:graphicFrameMkLst>
            <pc:docMk/>
            <pc:sldMk cId="3250101842" sldId="625"/>
            <ac:graphicFrameMk id="5" creationId="{5D7438D8-5693-4DB1-95DC-55A0C8D2FCF2}"/>
          </ac:graphicFrameMkLst>
        </pc:graphicFrameChg>
      </pc:sldChg>
      <pc:sldChg chg="modNotesTx">
        <pc:chgData name="Varinder Singh" userId="e78eab9f-fa20-4bd5-9745-875ae6e7a1cb" providerId="ADAL" clId="{192B271A-DEBD-4239-BF90-85764F2CE191}" dt="2020-03-05T03:31:34.404" v="633" actId="20577"/>
        <pc:sldMkLst>
          <pc:docMk/>
          <pc:sldMk cId="3922378719" sldId="666"/>
        </pc:sldMkLst>
      </pc:sldChg>
    </pc:docChg>
  </pc:docChgLst>
  <pc:docChgLst>
    <pc:chgData name="John Deardurff" userId="a22eae058e899168" providerId="LiveId" clId="{87C0E672-B7B6-48CC-BF11-DDA6C671B1E9}"/>
    <pc:docChg chg="undo custSel addSld modSld modSection">
      <pc:chgData name="John Deardurff" userId="a22eae058e899168" providerId="LiveId" clId="{87C0E672-B7B6-48CC-BF11-DDA6C671B1E9}" dt="2023-04-05T16:09:42.827" v="483" actId="20577"/>
      <pc:docMkLst>
        <pc:docMk/>
      </pc:docMkLst>
      <pc:sldChg chg="modSp">
        <pc:chgData name="John Deardurff" userId="a22eae058e899168" providerId="LiveId" clId="{87C0E672-B7B6-48CC-BF11-DDA6C671B1E9}" dt="2023-04-05T16:09:42.827" v="483" actId="20577"/>
        <pc:sldMkLst>
          <pc:docMk/>
          <pc:sldMk cId="2221033715" sldId="626"/>
        </pc:sldMkLst>
        <pc:graphicFrameChg chg="mod">
          <ac:chgData name="John Deardurff" userId="a22eae058e899168" providerId="LiveId" clId="{87C0E672-B7B6-48CC-BF11-DDA6C671B1E9}" dt="2023-04-05T16:09:42.827" v="483" actId="20577"/>
          <ac:graphicFrameMkLst>
            <pc:docMk/>
            <pc:sldMk cId="2221033715" sldId="626"/>
            <ac:graphicFrameMk id="6" creationId="{C6DD82E5-4CD6-4965-867A-3C9E652E2635}"/>
          </ac:graphicFrameMkLst>
        </pc:graphicFrameChg>
      </pc:sldChg>
      <pc:sldChg chg="addSp delSp modSp mod">
        <pc:chgData name="John Deardurff" userId="a22eae058e899168" providerId="LiveId" clId="{87C0E672-B7B6-48CC-BF11-DDA6C671B1E9}" dt="2023-04-05T15:09:02.290" v="29" actId="1076"/>
        <pc:sldMkLst>
          <pc:docMk/>
          <pc:sldMk cId="1798669617" sldId="1596"/>
        </pc:sldMkLst>
        <pc:picChg chg="add mod ord">
          <ac:chgData name="John Deardurff" userId="a22eae058e899168" providerId="LiveId" clId="{87C0E672-B7B6-48CC-BF11-DDA6C671B1E9}" dt="2023-04-05T15:08:19.746" v="20" actId="1076"/>
          <ac:picMkLst>
            <pc:docMk/>
            <pc:sldMk cId="1798669617" sldId="1596"/>
            <ac:picMk id="4" creationId="{6161504A-FF00-9714-5B11-FC3861BFB7B9}"/>
          </ac:picMkLst>
        </pc:picChg>
        <pc:picChg chg="del">
          <ac:chgData name="John Deardurff" userId="a22eae058e899168" providerId="LiveId" clId="{87C0E672-B7B6-48CC-BF11-DDA6C671B1E9}" dt="2023-04-05T15:01:23.843" v="0" actId="478"/>
          <ac:picMkLst>
            <pc:docMk/>
            <pc:sldMk cId="1798669617" sldId="1596"/>
            <ac:picMk id="12" creationId="{693BC432-4F38-472F-8BBB-BE6083371555}"/>
          </ac:picMkLst>
        </pc:picChg>
        <pc:picChg chg="mod">
          <ac:chgData name="John Deardurff" userId="a22eae058e899168" providerId="LiveId" clId="{87C0E672-B7B6-48CC-BF11-DDA6C671B1E9}" dt="2023-04-05T15:09:02.290" v="29" actId="1076"/>
          <ac:picMkLst>
            <pc:docMk/>
            <pc:sldMk cId="1798669617" sldId="1596"/>
            <ac:picMk id="14" creationId="{4578A28C-83E9-4BDA-8959-D317CEC967F7}"/>
          </ac:picMkLst>
        </pc:picChg>
        <pc:picChg chg="mod">
          <ac:chgData name="John Deardurff" userId="a22eae058e899168" providerId="LiveId" clId="{87C0E672-B7B6-48CC-BF11-DDA6C671B1E9}" dt="2023-04-05T15:08:58.646" v="28" actId="1076"/>
          <ac:picMkLst>
            <pc:docMk/>
            <pc:sldMk cId="1798669617" sldId="1596"/>
            <ac:picMk id="16" creationId="{C1935265-B60C-47DD-ABDD-9FFBADDB8E6F}"/>
          </ac:picMkLst>
        </pc:picChg>
      </pc:sldChg>
      <pc:sldChg chg="addSp delSp modSp mod setBg modClrScheme chgLayout">
        <pc:chgData name="John Deardurff" userId="a22eae058e899168" providerId="LiveId" clId="{87C0E672-B7B6-48CC-BF11-DDA6C671B1E9}" dt="2023-04-05T15:08:09.287" v="17" actId="1076"/>
        <pc:sldMkLst>
          <pc:docMk/>
          <pc:sldMk cId="10198786" sldId="1597"/>
        </pc:sldMkLst>
        <pc:spChg chg="mod">
          <ac:chgData name="John Deardurff" userId="a22eae058e899168" providerId="LiveId" clId="{87C0E672-B7B6-48CC-BF11-DDA6C671B1E9}" dt="2023-04-05T15:03:56.237" v="11" actId="26606"/>
          <ac:spMkLst>
            <pc:docMk/>
            <pc:sldMk cId="10198786" sldId="1597"/>
            <ac:spMk id="2" creationId="{EB67312A-9819-43C6-8D84-D9136E6CFFCC}"/>
          </ac:spMkLst>
        </pc:spChg>
        <pc:spChg chg="add del mod">
          <ac:chgData name="John Deardurff" userId="a22eae058e899168" providerId="LiveId" clId="{87C0E672-B7B6-48CC-BF11-DDA6C671B1E9}" dt="2023-04-05T15:03:56.237" v="11" actId="26606"/>
          <ac:spMkLst>
            <pc:docMk/>
            <pc:sldMk cId="10198786" sldId="1597"/>
            <ac:spMk id="13" creationId="{0AB10A1C-0377-083A-30B0-E57D705FA308}"/>
          </ac:spMkLst>
        </pc:spChg>
        <pc:spChg chg="add del mod">
          <ac:chgData name="John Deardurff" userId="a22eae058e899168" providerId="LiveId" clId="{87C0E672-B7B6-48CC-BF11-DDA6C671B1E9}" dt="2023-04-05T15:03:56.237" v="11" actId="26606"/>
          <ac:spMkLst>
            <pc:docMk/>
            <pc:sldMk cId="10198786" sldId="1597"/>
            <ac:spMk id="15" creationId="{7BBA3A60-A4CD-82A1-BC5C-87B81A7699AE}"/>
          </ac:spMkLst>
        </pc:spChg>
        <pc:picChg chg="del mod ord">
          <ac:chgData name="John Deardurff" userId="a22eae058e899168" providerId="LiveId" clId="{87C0E672-B7B6-48CC-BF11-DDA6C671B1E9}" dt="2023-04-05T15:07:50.307" v="12" actId="478"/>
          <ac:picMkLst>
            <pc:docMk/>
            <pc:sldMk cId="10198786" sldId="1597"/>
            <ac:picMk id="4" creationId="{B7E6AB0D-006D-40C9-9D1A-75A5940C8BBC}"/>
          </ac:picMkLst>
        </pc:picChg>
        <pc:picChg chg="add mod ord">
          <ac:chgData name="John Deardurff" userId="a22eae058e899168" providerId="LiveId" clId="{87C0E672-B7B6-48CC-BF11-DDA6C671B1E9}" dt="2023-04-05T15:08:01.599" v="16" actId="171"/>
          <ac:picMkLst>
            <pc:docMk/>
            <pc:sldMk cId="10198786" sldId="1597"/>
            <ac:picMk id="5" creationId="{79AAAB00-C121-4460-B53A-44B7D9A425CA}"/>
          </ac:picMkLst>
        </pc:picChg>
        <pc:picChg chg="mod">
          <ac:chgData name="John Deardurff" userId="a22eae058e899168" providerId="LiveId" clId="{87C0E672-B7B6-48CC-BF11-DDA6C671B1E9}" dt="2023-04-05T15:08:09.287" v="17" actId="1076"/>
          <ac:picMkLst>
            <pc:docMk/>
            <pc:sldMk cId="10198786" sldId="1597"/>
            <ac:picMk id="8" creationId="{CEF9F534-B150-4709-A76C-9D9CACD44535}"/>
          </ac:picMkLst>
        </pc:picChg>
      </pc:sldChg>
      <pc:sldChg chg="addSp delSp modSp add mod">
        <pc:chgData name="John Deardurff" userId="a22eae058e899168" providerId="LiveId" clId="{87C0E672-B7B6-48CC-BF11-DDA6C671B1E9}" dt="2023-04-05T15:59:00.254" v="448" actId="1076"/>
        <pc:sldMkLst>
          <pc:docMk/>
          <pc:sldMk cId="152221436" sldId="10027"/>
        </pc:sldMkLst>
        <pc:spChg chg="mod">
          <ac:chgData name="John Deardurff" userId="a22eae058e899168" providerId="LiveId" clId="{87C0E672-B7B6-48CC-BF11-DDA6C671B1E9}" dt="2023-04-05T15:47:41.756" v="357" actId="20577"/>
          <ac:spMkLst>
            <pc:docMk/>
            <pc:sldMk cId="152221436" sldId="10027"/>
            <ac:spMk id="2" creationId="{EB67312A-9819-43C6-8D84-D9136E6CFFCC}"/>
          </ac:spMkLst>
        </pc:spChg>
        <pc:spChg chg="add del mod">
          <ac:chgData name="John Deardurff" userId="a22eae058e899168" providerId="LiveId" clId="{87C0E672-B7B6-48CC-BF11-DDA6C671B1E9}" dt="2023-04-05T15:39:38.150" v="250" actId="478"/>
          <ac:spMkLst>
            <pc:docMk/>
            <pc:sldMk cId="152221436" sldId="10027"/>
            <ac:spMk id="4" creationId="{8C0F2E3A-31C0-DF32-3A87-27FAF3B7BAAE}"/>
          </ac:spMkLst>
        </pc:spChg>
        <pc:spChg chg="add mod">
          <ac:chgData name="John Deardurff" userId="a22eae058e899168" providerId="LiveId" clId="{87C0E672-B7B6-48CC-BF11-DDA6C671B1E9}" dt="2023-04-05T15:58:55.715" v="447" actId="1076"/>
          <ac:spMkLst>
            <pc:docMk/>
            <pc:sldMk cId="152221436" sldId="10027"/>
            <ac:spMk id="8" creationId="{3D88253D-B09A-7FD9-F797-A2685B451CEC}"/>
          </ac:spMkLst>
        </pc:spChg>
        <pc:spChg chg="add mod">
          <ac:chgData name="John Deardurff" userId="a22eae058e899168" providerId="LiveId" clId="{87C0E672-B7B6-48CC-BF11-DDA6C671B1E9}" dt="2023-04-05T15:59:00.254" v="448" actId="1076"/>
          <ac:spMkLst>
            <pc:docMk/>
            <pc:sldMk cId="152221436" sldId="10027"/>
            <ac:spMk id="12" creationId="{F72DD28C-2E27-9637-93CF-1A2E8EEE3496}"/>
          </ac:spMkLst>
        </pc:spChg>
        <pc:spChg chg="add mod">
          <ac:chgData name="John Deardurff" userId="a22eae058e899168" providerId="LiveId" clId="{87C0E672-B7B6-48CC-BF11-DDA6C671B1E9}" dt="2023-04-05T15:51:39.079" v="413" actId="1582"/>
          <ac:spMkLst>
            <pc:docMk/>
            <pc:sldMk cId="152221436" sldId="10027"/>
            <ac:spMk id="13" creationId="{CBBD148D-3D60-70E2-4764-2B0A961D3428}"/>
          </ac:spMkLst>
        </pc:spChg>
        <pc:spChg chg="add mod">
          <ac:chgData name="John Deardurff" userId="a22eae058e899168" providerId="LiveId" clId="{87C0E672-B7B6-48CC-BF11-DDA6C671B1E9}" dt="2023-04-05T15:51:57.585" v="417" actId="14100"/>
          <ac:spMkLst>
            <pc:docMk/>
            <pc:sldMk cId="152221436" sldId="10027"/>
            <ac:spMk id="14" creationId="{A852449D-4ECE-CFAD-EB17-92E5BE9D936A}"/>
          </ac:spMkLst>
        </pc:spChg>
        <pc:graphicFrameChg chg="del">
          <ac:chgData name="John Deardurff" userId="a22eae058e899168" providerId="LiveId" clId="{87C0E672-B7B6-48CC-BF11-DDA6C671B1E9}" dt="2023-04-05T15:39:35.402" v="249" actId="478"/>
          <ac:graphicFrameMkLst>
            <pc:docMk/>
            <pc:sldMk cId="152221436" sldId="10027"/>
            <ac:graphicFrameMk id="6" creationId="{C6DD82E5-4CD6-4965-867A-3C9E652E2635}"/>
          </ac:graphicFrameMkLst>
        </pc:graphicFrameChg>
        <pc:picChg chg="add mod">
          <ac:chgData name="John Deardurff" userId="a22eae058e899168" providerId="LiveId" clId="{87C0E672-B7B6-48CC-BF11-DDA6C671B1E9}" dt="2023-04-05T15:49:52.733" v="402" actId="1076"/>
          <ac:picMkLst>
            <pc:docMk/>
            <pc:sldMk cId="152221436" sldId="10027"/>
            <ac:picMk id="7" creationId="{4F878944-C4B7-BC2F-9E98-8B98557F50E2}"/>
          </ac:picMkLst>
        </pc:picChg>
        <pc:picChg chg="add mod">
          <ac:chgData name="John Deardurff" userId="a22eae058e899168" providerId="LiveId" clId="{87C0E672-B7B6-48CC-BF11-DDA6C671B1E9}" dt="2023-04-05T15:50:09.329" v="404" actId="1076"/>
          <ac:picMkLst>
            <pc:docMk/>
            <pc:sldMk cId="152221436" sldId="10027"/>
            <ac:picMk id="10" creationId="{EB68024D-575D-BC99-C86E-4637A28C994F}"/>
          </ac:picMkLst>
        </pc:picChg>
      </pc:sldChg>
      <pc:sldChg chg="addSp delSp modSp add mod">
        <pc:chgData name="John Deardurff" userId="a22eae058e899168" providerId="LiveId" clId="{87C0E672-B7B6-48CC-BF11-DDA6C671B1E9}" dt="2023-04-05T16:09:05.896" v="482" actId="14100"/>
        <pc:sldMkLst>
          <pc:docMk/>
          <pc:sldMk cId="2702428529" sldId="10028"/>
        </pc:sldMkLst>
        <pc:spChg chg="mod">
          <ac:chgData name="John Deardurff" userId="a22eae058e899168" providerId="LiveId" clId="{87C0E672-B7B6-48CC-BF11-DDA6C671B1E9}" dt="2023-04-05T15:55:00.061" v="421" actId="20577"/>
          <ac:spMkLst>
            <pc:docMk/>
            <pc:sldMk cId="2702428529" sldId="10028"/>
            <ac:spMk id="2" creationId="{EB67312A-9819-43C6-8D84-D9136E6CFFCC}"/>
          </ac:spMkLst>
        </pc:spChg>
        <pc:spChg chg="add del mod">
          <ac:chgData name="John Deardurff" userId="a22eae058e899168" providerId="LiveId" clId="{87C0E672-B7B6-48CC-BF11-DDA6C671B1E9}" dt="2023-04-05T15:59:43.344" v="457" actId="478"/>
          <ac:spMkLst>
            <pc:docMk/>
            <pc:sldMk cId="2702428529" sldId="10028"/>
            <ac:spMk id="5" creationId="{65616739-7A5D-E211-F4F3-5AF9C6E37FEF}"/>
          </ac:spMkLst>
        </pc:spChg>
        <pc:spChg chg="add mod">
          <ac:chgData name="John Deardurff" userId="a22eae058e899168" providerId="LiveId" clId="{87C0E672-B7B6-48CC-BF11-DDA6C671B1E9}" dt="2023-04-05T16:09:05.896" v="482" actId="14100"/>
          <ac:spMkLst>
            <pc:docMk/>
            <pc:sldMk cId="2702428529" sldId="10028"/>
            <ac:spMk id="6" creationId="{802AB1A5-0DAD-70EE-F8C7-D3159191B384}"/>
          </ac:spMkLst>
        </pc:spChg>
        <pc:spChg chg="mod">
          <ac:chgData name="John Deardurff" userId="a22eae058e899168" providerId="LiveId" clId="{87C0E672-B7B6-48CC-BF11-DDA6C671B1E9}" dt="2023-04-05T15:58:42.355" v="437" actId="20577"/>
          <ac:spMkLst>
            <pc:docMk/>
            <pc:sldMk cId="2702428529" sldId="10028"/>
            <ac:spMk id="8" creationId="{3D88253D-B09A-7FD9-F797-A2685B451CEC}"/>
          </ac:spMkLst>
        </pc:spChg>
        <pc:spChg chg="mod">
          <ac:chgData name="John Deardurff" userId="a22eae058e899168" providerId="LiveId" clId="{87C0E672-B7B6-48CC-BF11-DDA6C671B1E9}" dt="2023-04-05T15:58:45.590" v="440" actId="20577"/>
          <ac:spMkLst>
            <pc:docMk/>
            <pc:sldMk cId="2702428529" sldId="10028"/>
            <ac:spMk id="12" creationId="{F72DD28C-2E27-9637-93CF-1A2E8EEE3496}"/>
          </ac:spMkLst>
        </pc:spChg>
        <pc:spChg chg="mod">
          <ac:chgData name="John Deardurff" userId="a22eae058e899168" providerId="LiveId" clId="{87C0E672-B7B6-48CC-BF11-DDA6C671B1E9}" dt="2023-04-05T16:07:48.898" v="474" actId="1076"/>
          <ac:spMkLst>
            <pc:docMk/>
            <pc:sldMk cId="2702428529" sldId="10028"/>
            <ac:spMk id="13" creationId="{CBBD148D-3D60-70E2-4764-2B0A961D3428}"/>
          </ac:spMkLst>
        </pc:spChg>
        <pc:spChg chg="mod">
          <ac:chgData name="John Deardurff" userId="a22eae058e899168" providerId="LiveId" clId="{87C0E672-B7B6-48CC-BF11-DDA6C671B1E9}" dt="2023-04-05T16:07:59.179" v="475" actId="1076"/>
          <ac:spMkLst>
            <pc:docMk/>
            <pc:sldMk cId="2702428529" sldId="10028"/>
            <ac:spMk id="14" creationId="{A852449D-4ECE-CFAD-EB17-92E5BE9D936A}"/>
          </ac:spMkLst>
        </pc:spChg>
        <pc:picChg chg="add mod ord">
          <ac:chgData name="John Deardurff" userId="a22eae058e899168" providerId="LiveId" clId="{87C0E672-B7B6-48CC-BF11-DDA6C671B1E9}" dt="2023-04-05T16:07:48.898" v="474" actId="1076"/>
          <ac:picMkLst>
            <pc:docMk/>
            <pc:sldMk cId="2702428529" sldId="10028"/>
            <ac:picMk id="4" creationId="{3D34C608-32A1-6A48-4946-B2AE9EC0A68A}"/>
          </ac:picMkLst>
        </pc:picChg>
        <pc:picChg chg="del">
          <ac:chgData name="John Deardurff" userId="a22eae058e899168" providerId="LiveId" clId="{87C0E672-B7B6-48CC-BF11-DDA6C671B1E9}" dt="2023-04-05T15:56:27.244" v="426" actId="478"/>
          <ac:picMkLst>
            <pc:docMk/>
            <pc:sldMk cId="2702428529" sldId="10028"/>
            <ac:picMk id="7" creationId="{4F878944-C4B7-BC2F-9E98-8B98557F50E2}"/>
          </ac:picMkLst>
        </pc:picChg>
        <pc:picChg chg="del">
          <ac:chgData name="John Deardurff" userId="a22eae058e899168" providerId="LiveId" clId="{87C0E672-B7B6-48CC-BF11-DDA6C671B1E9}" dt="2023-04-05T15:56:29.300" v="427" actId="478"/>
          <ac:picMkLst>
            <pc:docMk/>
            <pc:sldMk cId="2702428529" sldId="10028"/>
            <ac:picMk id="10" creationId="{EB68024D-575D-BC99-C86E-4637A28C994F}"/>
          </ac:picMkLst>
        </pc:picChg>
        <pc:picChg chg="add mod ord">
          <ac:chgData name="John Deardurff" userId="a22eae058e899168" providerId="LiveId" clId="{87C0E672-B7B6-48CC-BF11-DDA6C671B1E9}" dt="2023-04-05T16:07:59.179" v="475" actId="1076"/>
          <ac:picMkLst>
            <pc:docMk/>
            <pc:sldMk cId="2702428529" sldId="10028"/>
            <ac:picMk id="11" creationId="{BF77BC58-3294-4452-5A1F-889D4990BFFB}"/>
          </ac:picMkLst>
        </pc:picChg>
      </pc:sldChg>
    </pc:docChg>
  </pc:docChgLst>
  <pc:docChgLst>
    <pc:chgData name="Batuhan Yildiz" userId="90f344fc-4655-4923-aeaf-697bba59c1a7" providerId="ADAL" clId="{C4D54E99-673C-43B2-A218-475B4FDEDCC6}"/>
    <pc:docChg chg="undo redo custSel addSld delSld modSld modSection">
      <pc:chgData name="Batuhan Yildiz" userId="90f344fc-4655-4923-aeaf-697bba59c1a7" providerId="ADAL" clId="{C4D54E99-673C-43B2-A218-475B4FDEDCC6}" dt="2020-05-22T08:36:41.260" v="547" actId="12100"/>
      <pc:docMkLst>
        <pc:docMk/>
      </pc:docMkLst>
      <pc:sldChg chg="modSp">
        <pc:chgData name="Batuhan Yildiz" userId="90f344fc-4655-4923-aeaf-697bba59c1a7" providerId="ADAL" clId="{C4D54E99-673C-43B2-A218-475B4FDEDCC6}" dt="2020-05-22T07:41:30.116" v="111" actId="14100"/>
        <pc:sldMkLst>
          <pc:docMk/>
          <pc:sldMk cId="3735096506" sldId="563"/>
        </pc:sldMkLst>
        <pc:graphicFrameChg chg="mod">
          <ac:chgData name="Batuhan Yildiz" userId="90f344fc-4655-4923-aeaf-697bba59c1a7" providerId="ADAL" clId="{C4D54E99-673C-43B2-A218-475B4FDEDCC6}" dt="2020-05-22T07:41:30.116" v="111" actId="14100"/>
          <ac:graphicFrameMkLst>
            <pc:docMk/>
            <pc:sldMk cId="3735096506" sldId="563"/>
            <ac:graphicFrameMk id="3" creationId="{9484E1FE-7534-495E-863C-657A46F5E628}"/>
          </ac:graphicFrameMkLst>
        </pc:graphicFrameChg>
      </pc:sldChg>
      <pc:sldChg chg="delSp modSp mod">
        <pc:chgData name="Batuhan Yildiz" userId="90f344fc-4655-4923-aeaf-697bba59c1a7" providerId="ADAL" clId="{C4D54E99-673C-43B2-A218-475B4FDEDCC6}" dt="2020-05-22T07:43:15.259" v="155" actId="14100"/>
        <pc:sldMkLst>
          <pc:docMk/>
          <pc:sldMk cId="4221783869" sldId="566"/>
        </pc:sldMkLst>
        <pc:spChg chg="del">
          <ac:chgData name="Batuhan Yildiz" userId="90f344fc-4655-4923-aeaf-697bba59c1a7" providerId="ADAL" clId="{C4D54E99-673C-43B2-A218-475B4FDEDCC6}" dt="2020-05-22T07:43:08.214" v="153" actId="478"/>
          <ac:spMkLst>
            <pc:docMk/>
            <pc:sldMk cId="4221783869" sldId="566"/>
            <ac:spMk id="3" creationId="{F35E8CBB-5A7D-4DEF-BAF7-8DD5D042F9E0}"/>
          </ac:spMkLst>
        </pc:spChg>
        <pc:graphicFrameChg chg="mod">
          <ac:chgData name="Batuhan Yildiz" userId="90f344fc-4655-4923-aeaf-697bba59c1a7" providerId="ADAL" clId="{C4D54E99-673C-43B2-A218-475B4FDEDCC6}" dt="2020-05-22T07:43:15.259" v="155" actId="14100"/>
          <ac:graphicFrameMkLst>
            <pc:docMk/>
            <pc:sldMk cId="4221783869" sldId="566"/>
            <ac:graphicFrameMk id="5" creationId="{25A6B57F-352F-4FDB-9602-F090C817F748}"/>
          </ac:graphicFrameMkLst>
        </pc:graphicFrameChg>
      </pc:sldChg>
      <pc:sldChg chg="modSp">
        <pc:chgData name="Batuhan Yildiz" userId="90f344fc-4655-4923-aeaf-697bba59c1a7" providerId="ADAL" clId="{C4D54E99-673C-43B2-A218-475B4FDEDCC6}" dt="2020-05-22T07:46:29.046" v="210" actId="14100"/>
        <pc:sldMkLst>
          <pc:docMk/>
          <pc:sldMk cId="4248838292" sldId="573"/>
        </pc:sldMkLst>
        <pc:graphicFrameChg chg="mod">
          <ac:chgData name="Batuhan Yildiz" userId="90f344fc-4655-4923-aeaf-697bba59c1a7" providerId="ADAL" clId="{C4D54E99-673C-43B2-A218-475B4FDEDCC6}" dt="2020-05-22T07:46:29.046" v="210" actId="14100"/>
          <ac:graphicFrameMkLst>
            <pc:docMk/>
            <pc:sldMk cId="4248838292" sldId="573"/>
            <ac:graphicFrameMk id="5" creationId="{1F83612F-0834-42B2-AA7B-98B8BAB0DB29}"/>
          </ac:graphicFrameMkLst>
        </pc:graphicFrameChg>
      </pc:sldChg>
      <pc:sldChg chg="modSp modNotesTx">
        <pc:chgData name="Batuhan Yildiz" userId="90f344fc-4655-4923-aeaf-697bba59c1a7" providerId="ADAL" clId="{C4D54E99-673C-43B2-A218-475B4FDEDCC6}" dt="2020-05-22T07:47:39.188" v="220" actId="14100"/>
        <pc:sldMkLst>
          <pc:docMk/>
          <pc:sldMk cId="4206133277" sldId="577"/>
        </pc:sldMkLst>
        <pc:graphicFrameChg chg="mod">
          <ac:chgData name="Batuhan Yildiz" userId="90f344fc-4655-4923-aeaf-697bba59c1a7" providerId="ADAL" clId="{C4D54E99-673C-43B2-A218-475B4FDEDCC6}" dt="2020-05-22T07:47:39.188" v="220" actId="14100"/>
          <ac:graphicFrameMkLst>
            <pc:docMk/>
            <pc:sldMk cId="4206133277" sldId="577"/>
            <ac:graphicFrameMk id="3" creationId="{9484E1FE-7534-495E-863C-657A46F5E628}"/>
          </ac:graphicFrameMkLst>
        </pc:graphicFrameChg>
      </pc:sldChg>
      <pc:sldChg chg="modSp">
        <pc:chgData name="Batuhan Yildiz" userId="90f344fc-4655-4923-aeaf-697bba59c1a7" providerId="ADAL" clId="{C4D54E99-673C-43B2-A218-475B4FDEDCC6}" dt="2020-05-22T08:08:43.096" v="415" actId="14100"/>
        <pc:sldMkLst>
          <pc:docMk/>
          <pc:sldMk cId="2551646555" sldId="580"/>
        </pc:sldMkLst>
        <pc:graphicFrameChg chg="mod">
          <ac:chgData name="Batuhan Yildiz" userId="90f344fc-4655-4923-aeaf-697bba59c1a7" providerId="ADAL" clId="{C4D54E99-673C-43B2-A218-475B4FDEDCC6}" dt="2020-05-22T08:08:43.096" v="415" actId="14100"/>
          <ac:graphicFrameMkLst>
            <pc:docMk/>
            <pc:sldMk cId="2551646555" sldId="580"/>
            <ac:graphicFrameMk id="13" creationId="{9EAD8C7B-06ED-4564-A856-55E63E551DB1}"/>
          </ac:graphicFrameMkLst>
        </pc:graphicFrameChg>
      </pc:sldChg>
      <pc:sldChg chg="modSp">
        <pc:chgData name="Batuhan Yildiz" userId="90f344fc-4655-4923-aeaf-697bba59c1a7" providerId="ADAL" clId="{C4D54E99-673C-43B2-A218-475B4FDEDCC6}" dt="2020-05-22T08:08:59.636" v="418" actId="14100"/>
        <pc:sldMkLst>
          <pc:docMk/>
          <pc:sldMk cId="2444463328" sldId="584"/>
        </pc:sldMkLst>
        <pc:graphicFrameChg chg="mod">
          <ac:chgData name="Batuhan Yildiz" userId="90f344fc-4655-4923-aeaf-697bba59c1a7" providerId="ADAL" clId="{C4D54E99-673C-43B2-A218-475B4FDEDCC6}" dt="2020-05-22T08:08:59.636" v="418" actId="14100"/>
          <ac:graphicFrameMkLst>
            <pc:docMk/>
            <pc:sldMk cId="2444463328" sldId="584"/>
            <ac:graphicFrameMk id="3" creationId="{9484E1FE-7534-495E-863C-657A46F5E628}"/>
          </ac:graphicFrameMkLst>
        </pc:graphicFrameChg>
      </pc:sldChg>
      <pc:sldChg chg="modSp">
        <pc:chgData name="Batuhan Yildiz" userId="90f344fc-4655-4923-aeaf-697bba59c1a7" providerId="ADAL" clId="{C4D54E99-673C-43B2-A218-475B4FDEDCC6}" dt="2020-05-22T08:13:05.130" v="448" actId="14100"/>
        <pc:sldMkLst>
          <pc:docMk/>
          <pc:sldMk cId="1737290916" sldId="591"/>
        </pc:sldMkLst>
        <pc:graphicFrameChg chg="mod">
          <ac:chgData name="Batuhan Yildiz" userId="90f344fc-4655-4923-aeaf-697bba59c1a7" providerId="ADAL" clId="{C4D54E99-673C-43B2-A218-475B4FDEDCC6}" dt="2020-05-22T08:13:05.130" v="448" actId="14100"/>
          <ac:graphicFrameMkLst>
            <pc:docMk/>
            <pc:sldMk cId="1737290916" sldId="591"/>
            <ac:graphicFrameMk id="3" creationId="{9484E1FE-7534-495E-863C-657A46F5E628}"/>
          </ac:graphicFrameMkLst>
        </pc:graphicFrameChg>
      </pc:sldChg>
      <pc:sldChg chg="modSp">
        <pc:chgData name="Batuhan Yildiz" userId="90f344fc-4655-4923-aeaf-697bba59c1a7" providerId="ADAL" clId="{C4D54E99-673C-43B2-A218-475B4FDEDCC6}" dt="2020-05-22T08:36:41.260" v="547" actId="12100"/>
        <pc:sldMkLst>
          <pc:docMk/>
          <pc:sldMk cId="1731718220" sldId="598"/>
        </pc:sldMkLst>
        <pc:graphicFrameChg chg="mod">
          <ac:chgData name="Batuhan Yildiz" userId="90f344fc-4655-4923-aeaf-697bba59c1a7" providerId="ADAL" clId="{C4D54E99-673C-43B2-A218-475B4FDEDCC6}" dt="2020-05-22T08:36:41.260" v="547" actId="12100"/>
          <ac:graphicFrameMkLst>
            <pc:docMk/>
            <pc:sldMk cId="1731718220" sldId="598"/>
            <ac:graphicFrameMk id="3" creationId="{9484E1FE-7534-495E-863C-657A46F5E628}"/>
          </ac:graphicFrameMkLst>
        </pc:graphicFrameChg>
      </pc:sldChg>
      <pc:sldChg chg="delSp mod">
        <pc:chgData name="Batuhan Yildiz" userId="90f344fc-4655-4923-aeaf-697bba59c1a7" providerId="ADAL" clId="{C4D54E99-673C-43B2-A218-475B4FDEDCC6}" dt="2020-05-22T07:30:50.433" v="28" actId="478"/>
        <pc:sldMkLst>
          <pc:docMk/>
          <pc:sldMk cId="2729675242" sldId="611"/>
        </pc:sldMkLst>
        <pc:spChg chg="del">
          <ac:chgData name="Batuhan Yildiz" userId="90f344fc-4655-4923-aeaf-697bba59c1a7" providerId="ADAL" clId="{C4D54E99-673C-43B2-A218-475B4FDEDCC6}" dt="2020-05-22T07:30:50.433" v="28" actId="478"/>
          <ac:spMkLst>
            <pc:docMk/>
            <pc:sldMk cId="2729675242" sldId="611"/>
            <ac:spMk id="13" creationId="{D7260519-9AF0-475F-87BB-4D177A02B600}"/>
          </ac:spMkLst>
        </pc:spChg>
      </pc:sldChg>
      <pc:sldChg chg="addSp delSp modSp mod modClrScheme chgLayout">
        <pc:chgData name="Batuhan Yildiz" userId="90f344fc-4655-4923-aeaf-697bba59c1a7" providerId="ADAL" clId="{C4D54E99-673C-43B2-A218-475B4FDEDCC6}" dt="2020-05-22T07:41:04.628" v="109" actId="1076"/>
        <pc:sldMkLst>
          <pc:docMk/>
          <pc:sldMk cId="3301692604" sldId="616"/>
        </pc:sldMkLst>
        <pc:spChg chg="mod ord">
          <ac:chgData name="Batuhan Yildiz" userId="90f344fc-4655-4923-aeaf-697bba59c1a7" providerId="ADAL" clId="{C4D54E99-673C-43B2-A218-475B4FDEDCC6}" dt="2020-05-22T07:31:54.030" v="33" actId="700"/>
          <ac:spMkLst>
            <pc:docMk/>
            <pc:sldMk cId="3301692604" sldId="616"/>
            <ac:spMk id="2" creationId="{EB67312A-9819-43C6-8D84-D9136E6CFFCC}"/>
          </ac:spMkLst>
        </pc:spChg>
        <pc:spChg chg="add del mod ord">
          <ac:chgData name="Batuhan Yildiz" userId="90f344fc-4655-4923-aeaf-697bba59c1a7" providerId="ADAL" clId="{C4D54E99-673C-43B2-A218-475B4FDEDCC6}" dt="2020-05-22T07:31:36.797" v="31" actId="700"/>
          <ac:spMkLst>
            <pc:docMk/>
            <pc:sldMk cId="3301692604" sldId="616"/>
            <ac:spMk id="3" creationId="{424CED57-F078-4C63-BEBC-CB00115A7198}"/>
          </ac:spMkLst>
        </pc:spChg>
        <pc:spChg chg="add del mod ord">
          <ac:chgData name="Batuhan Yildiz" userId="90f344fc-4655-4923-aeaf-697bba59c1a7" providerId="ADAL" clId="{C4D54E99-673C-43B2-A218-475B4FDEDCC6}" dt="2020-05-22T07:31:40.166" v="32" actId="478"/>
          <ac:spMkLst>
            <pc:docMk/>
            <pc:sldMk cId="3301692604" sldId="616"/>
            <ac:spMk id="4" creationId="{02DEF6C4-49D0-4473-BFD2-7B3551229818}"/>
          </ac:spMkLst>
        </pc:spChg>
        <pc:spChg chg="add mod ord">
          <ac:chgData name="Batuhan Yildiz" userId="90f344fc-4655-4923-aeaf-697bba59c1a7" providerId="ADAL" clId="{C4D54E99-673C-43B2-A218-475B4FDEDCC6}" dt="2020-05-22T07:32:13.487" v="36" actId="20577"/>
          <ac:spMkLst>
            <pc:docMk/>
            <pc:sldMk cId="3301692604" sldId="616"/>
            <ac:spMk id="5" creationId="{348671D4-9303-4AFE-9143-83F44EEE4B3E}"/>
          </ac:spMkLst>
        </pc:spChg>
        <pc:spChg chg="del">
          <ac:chgData name="Batuhan Yildiz" userId="90f344fc-4655-4923-aeaf-697bba59c1a7" providerId="ADAL" clId="{C4D54E99-673C-43B2-A218-475B4FDEDCC6}" dt="2020-05-22T07:31:17.633" v="29" actId="478"/>
          <ac:spMkLst>
            <pc:docMk/>
            <pc:sldMk cId="3301692604" sldId="616"/>
            <ac:spMk id="8" creationId="{A1A983F2-5871-48C1-95D4-E5D9ADD59778}"/>
          </ac:spMkLst>
        </pc:spChg>
        <pc:spChg chg="add mod">
          <ac:chgData name="Batuhan Yildiz" userId="90f344fc-4655-4923-aeaf-697bba59c1a7" providerId="ADAL" clId="{C4D54E99-673C-43B2-A218-475B4FDEDCC6}" dt="2020-05-22T07:40:48.345" v="106" actId="1076"/>
          <ac:spMkLst>
            <pc:docMk/>
            <pc:sldMk cId="3301692604" sldId="616"/>
            <ac:spMk id="9" creationId="{8FE072A3-BE3F-4104-9085-F3383EBCDF60}"/>
          </ac:spMkLst>
        </pc:spChg>
        <pc:spChg chg="add mod">
          <ac:chgData name="Batuhan Yildiz" userId="90f344fc-4655-4923-aeaf-697bba59c1a7" providerId="ADAL" clId="{C4D54E99-673C-43B2-A218-475B4FDEDCC6}" dt="2020-05-22T07:41:04.628" v="109" actId="1076"/>
          <ac:spMkLst>
            <pc:docMk/>
            <pc:sldMk cId="3301692604" sldId="616"/>
            <ac:spMk id="10" creationId="{503C4E2A-0F79-487E-9B1E-24A1C9FF7887}"/>
          </ac:spMkLst>
        </pc:spChg>
        <pc:graphicFrameChg chg="mod ord">
          <ac:chgData name="Batuhan Yildiz" userId="90f344fc-4655-4923-aeaf-697bba59c1a7" providerId="ADAL" clId="{C4D54E99-673C-43B2-A218-475B4FDEDCC6}" dt="2020-05-22T07:40:21.345" v="101" actId="12100"/>
          <ac:graphicFrameMkLst>
            <pc:docMk/>
            <pc:sldMk cId="3301692604" sldId="616"/>
            <ac:graphicFrameMk id="6" creationId="{5612EB1D-0D08-4DC1-A9CE-1B591A4F97E6}"/>
          </ac:graphicFrameMkLst>
        </pc:graphicFrameChg>
        <pc:picChg chg="mod">
          <ac:chgData name="Batuhan Yildiz" userId="90f344fc-4655-4923-aeaf-697bba59c1a7" providerId="ADAL" clId="{C4D54E99-673C-43B2-A218-475B4FDEDCC6}" dt="2020-05-22T07:39:53.640" v="99" actId="1076"/>
          <ac:picMkLst>
            <pc:docMk/>
            <pc:sldMk cId="3301692604" sldId="616"/>
            <ac:picMk id="7" creationId="{C89038E8-4C91-4844-9D94-B2693C6E7C0A}"/>
          </ac:picMkLst>
        </pc:picChg>
      </pc:sldChg>
      <pc:sldChg chg="modSp mod">
        <pc:chgData name="Batuhan Yildiz" userId="90f344fc-4655-4923-aeaf-697bba59c1a7" providerId="ADAL" clId="{C4D54E99-673C-43B2-A218-475B4FDEDCC6}" dt="2020-05-22T07:41:48.837" v="147" actId="947"/>
        <pc:sldMkLst>
          <pc:docMk/>
          <pc:sldMk cId="4187810366" sldId="622"/>
        </pc:sldMkLst>
        <pc:graphicFrameChg chg="modGraphic">
          <ac:chgData name="Batuhan Yildiz" userId="90f344fc-4655-4923-aeaf-697bba59c1a7" providerId="ADAL" clId="{C4D54E99-673C-43B2-A218-475B4FDEDCC6}" dt="2020-05-22T07:41:48.837" v="147" actId="947"/>
          <ac:graphicFrameMkLst>
            <pc:docMk/>
            <pc:sldMk cId="4187810366" sldId="622"/>
            <ac:graphicFrameMk id="7" creationId="{FBCEAB35-8B70-4C96-9DA5-8813406D2B2C}"/>
          </ac:graphicFrameMkLst>
        </pc:graphicFrameChg>
      </pc:sldChg>
      <pc:sldChg chg="delSp modSp mod">
        <pc:chgData name="Batuhan Yildiz" userId="90f344fc-4655-4923-aeaf-697bba59c1a7" providerId="ADAL" clId="{C4D54E99-673C-43B2-A218-475B4FDEDCC6}" dt="2020-05-22T07:42:46.492" v="152" actId="255"/>
        <pc:sldMkLst>
          <pc:docMk/>
          <pc:sldMk cId="1318002608" sldId="623"/>
        </pc:sldMkLst>
        <pc:spChg chg="del">
          <ac:chgData name="Batuhan Yildiz" userId="90f344fc-4655-4923-aeaf-697bba59c1a7" providerId="ADAL" clId="{C4D54E99-673C-43B2-A218-475B4FDEDCC6}" dt="2020-05-22T07:42:07.072" v="148" actId="478"/>
          <ac:spMkLst>
            <pc:docMk/>
            <pc:sldMk cId="1318002608" sldId="623"/>
            <ac:spMk id="3" creationId="{F35E8CBB-5A7D-4DEF-BAF7-8DD5D042F9E0}"/>
          </ac:spMkLst>
        </pc:spChg>
        <pc:graphicFrameChg chg="mod">
          <ac:chgData name="Batuhan Yildiz" userId="90f344fc-4655-4923-aeaf-697bba59c1a7" providerId="ADAL" clId="{C4D54E99-673C-43B2-A218-475B4FDEDCC6}" dt="2020-05-22T07:42:46.492" v="152" actId="255"/>
          <ac:graphicFrameMkLst>
            <pc:docMk/>
            <pc:sldMk cId="1318002608" sldId="623"/>
            <ac:graphicFrameMk id="6" creationId="{FE39FBFC-2347-4F5C-9A5B-6BC4070C7FFE}"/>
          </ac:graphicFrameMkLst>
        </pc:graphicFrameChg>
      </pc:sldChg>
      <pc:sldChg chg="delSp mod">
        <pc:chgData name="Batuhan Yildiz" userId="90f344fc-4655-4923-aeaf-697bba59c1a7" providerId="ADAL" clId="{C4D54E99-673C-43B2-A218-475B4FDEDCC6}" dt="2020-05-22T07:43:26.834" v="156" actId="478"/>
        <pc:sldMkLst>
          <pc:docMk/>
          <pc:sldMk cId="3250101842" sldId="625"/>
        </pc:sldMkLst>
        <pc:spChg chg="del">
          <ac:chgData name="Batuhan Yildiz" userId="90f344fc-4655-4923-aeaf-697bba59c1a7" providerId="ADAL" clId="{C4D54E99-673C-43B2-A218-475B4FDEDCC6}" dt="2020-05-22T07:43:26.834" v="156" actId="478"/>
          <ac:spMkLst>
            <pc:docMk/>
            <pc:sldMk cId="3250101842" sldId="625"/>
            <ac:spMk id="3" creationId="{F35E8CBB-5A7D-4DEF-BAF7-8DD5D042F9E0}"/>
          </ac:spMkLst>
        </pc:spChg>
      </pc:sldChg>
      <pc:sldChg chg="delSp mod">
        <pc:chgData name="Batuhan Yildiz" userId="90f344fc-4655-4923-aeaf-697bba59c1a7" providerId="ADAL" clId="{C4D54E99-673C-43B2-A218-475B4FDEDCC6}" dt="2020-05-22T07:43:39.224" v="157" actId="478"/>
        <pc:sldMkLst>
          <pc:docMk/>
          <pc:sldMk cId="2221033715" sldId="626"/>
        </pc:sldMkLst>
        <pc:spChg chg="del">
          <ac:chgData name="Batuhan Yildiz" userId="90f344fc-4655-4923-aeaf-697bba59c1a7" providerId="ADAL" clId="{C4D54E99-673C-43B2-A218-475B4FDEDCC6}" dt="2020-05-22T07:43:39.224" v="157" actId="478"/>
          <ac:spMkLst>
            <pc:docMk/>
            <pc:sldMk cId="2221033715" sldId="626"/>
            <ac:spMk id="3" creationId="{F35E8CBB-5A7D-4DEF-BAF7-8DD5D042F9E0}"/>
          </ac:spMkLst>
        </pc:spChg>
      </pc:sldChg>
      <pc:sldChg chg="delSp modSp mod">
        <pc:chgData name="Batuhan Yildiz" userId="90f344fc-4655-4923-aeaf-697bba59c1a7" providerId="ADAL" clId="{C4D54E99-673C-43B2-A218-475B4FDEDCC6}" dt="2020-05-22T07:44:43.101" v="161" actId="14100"/>
        <pc:sldMkLst>
          <pc:docMk/>
          <pc:sldMk cId="2095964457" sldId="627"/>
        </pc:sldMkLst>
        <pc:spChg chg="del">
          <ac:chgData name="Batuhan Yildiz" userId="90f344fc-4655-4923-aeaf-697bba59c1a7" providerId="ADAL" clId="{C4D54E99-673C-43B2-A218-475B4FDEDCC6}" dt="2020-05-22T07:43:49.474" v="158" actId="478"/>
          <ac:spMkLst>
            <pc:docMk/>
            <pc:sldMk cId="2095964457" sldId="627"/>
            <ac:spMk id="3" creationId="{F35E8CBB-5A7D-4DEF-BAF7-8DD5D042F9E0}"/>
          </ac:spMkLst>
        </pc:spChg>
        <pc:graphicFrameChg chg="mod">
          <ac:chgData name="Batuhan Yildiz" userId="90f344fc-4655-4923-aeaf-697bba59c1a7" providerId="ADAL" clId="{C4D54E99-673C-43B2-A218-475B4FDEDCC6}" dt="2020-05-22T07:44:43.101" v="161" actId="14100"/>
          <ac:graphicFrameMkLst>
            <pc:docMk/>
            <pc:sldMk cId="2095964457" sldId="627"/>
            <ac:graphicFrameMk id="7" creationId="{1178B55D-984E-41D0-A9BA-E9D52330A210}"/>
          </ac:graphicFrameMkLst>
        </pc:graphicFrameChg>
      </pc:sldChg>
      <pc:sldChg chg="delSp modSp mod">
        <pc:chgData name="Batuhan Yildiz" userId="90f344fc-4655-4923-aeaf-697bba59c1a7" providerId="ADAL" clId="{C4D54E99-673C-43B2-A218-475B4FDEDCC6}" dt="2020-05-22T07:45:46.526" v="203" actId="14100"/>
        <pc:sldMkLst>
          <pc:docMk/>
          <pc:sldMk cId="1324540104" sldId="629"/>
        </pc:sldMkLst>
        <pc:spChg chg="del">
          <ac:chgData name="Batuhan Yildiz" userId="90f344fc-4655-4923-aeaf-697bba59c1a7" providerId="ADAL" clId="{C4D54E99-673C-43B2-A218-475B4FDEDCC6}" dt="2020-05-22T07:45:42.538" v="202" actId="478"/>
          <ac:spMkLst>
            <pc:docMk/>
            <pc:sldMk cId="1324540104" sldId="629"/>
            <ac:spMk id="3" creationId="{F35E8CBB-5A7D-4DEF-BAF7-8DD5D042F9E0}"/>
          </ac:spMkLst>
        </pc:spChg>
        <pc:graphicFrameChg chg="mod">
          <ac:chgData name="Batuhan Yildiz" userId="90f344fc-4655-4923-aeaf-697bba59c1a7" providerId="ADAL" clId="{C4D54E99-673C-43B2-A218-475B4FDEDCC6}" dt="2020-05-22T07:45:46.526" v="203" actId="14100"/>
          <ac:graphicFrameMkLst>
            <pc:docMk/>
            <pc:sldMk cId="1324540104" sldId="629"/>
            <ac:graphicFrameMk id="5" creationId="{09EAD516-1026-4FE2-95B8-45F49E2A26BC}"/>
          </ac:graphicFrameMkLst>
        </pc:graphicFrameChg>
      </pc:sldChg>
      <pc:sldChg chg="delSp mod">
        <pc:chgData name="Batuhan Yildiz" userId="90f344fc-4655-4923-aeaf-697bba59c1a7" providerId="ADAL" clId="{C4D54E99-673C-43B2-A218-475B4FDEDCC6}" dt="2020-05-22T07:46:00.320" v="205" actId="478"/>
        <pc:sldMkLst>
          <pc:docMk/>
          <pc:sldMk cId="1470332785" sldId="634"/>
        </pc:sldMkLst>
        <pc:spChg chg="del">
          <ac:chgData name="Batuhan Yildiz" userId="90f344fc-4655-4923-aeaf-697bba59c1a7" providerId="ADAL" clId="{C4D54E99-673C-43B2-A218-475B4FDEDCC6}" dt="2020-05-22T07:46:00.320" v="205" actId="478"/>
          <ac:spMkLst>
            <pc:docMk/>
            <pc:sldMk cId="1470332785" sldId="634"/>
            <ac:spMk id="3" creationId="{F35E8CBB-5A7D-4DEF-BAF7-8DD5D042F9E0}"/>
          </ac:spMkLst>
        </pc:spChg>
      </pc:sldChg>
      <pc:sldChg chg="delSp mod">
        <pc:chgData name="Batuhan Yildiz" userId="90f344fc-4655-4923-aeaf-697bba59c1a7" providerId="ADAL" clId="{C4D54E99-673C-43B2-A218-475B4FDEDCC6}" dt="2020-05-22T07:46:09.091" v="207" actId="478"/>
        <pc:sldMkLst>
          <pc:docMk/>
          <pc:sldMk cId="3006177986" sldId="635"/>
        </pc:sldMkLst>
        <pc:spChg chg="del">
          <ac:chgData name="Batuhan Yildiz" userId="90f344fc-4655-4923-aeaf-697bba59c1a7" providerId="ADAL" clId="{C4D54E99-673C-43B2-A218-475B4FDEDCC6}" dt="2020-05-22T07:46:09.091" v="207" actId="478"/>
          <ac:spMkLst>
            <pc:docMk/>
            <pc:sldMk cId="3006177986" sldId="635"/>
            <ac:spMk id="3" creationId="{F35E8CBB-5A7D-4DEF-BAF7-8DD5D042F9E0}"/>
          </ac:spMkLst>
        </pc:spChg>
      </pc:sldChg>
      <pc:sldChg chg="delSp mod">
        <pc:chgData name="Batuhan Yildiz" userId="90f344fc-4655-4923-aeaf-697bba59c1a7" providerId="ADAL" clId="{C4D54E99-673C-43B2-A218-475B4FDEDCC6}" dt="2020-05-22T07:46:04.320" v="206" actId="478"/>
        <pc:sldMkLst>
          <pc:docMk/>
          <pc:sldMk cId="170750579" sldId="636"/>
        </pc:sldMkLst>
        <pc:spChg chg="del">
          <ac:chgData name="Batuhan Yildiz" userId="90f344fc-4655-4923-aeaf-697bba59c1a7" providerId="ADAL" clId="{C4D54E99-673C-43B2-A218-475B4FDEDCC6}" dt="2020-05-22T07:46:04.320" v="206" actId="478"/>
          <ac:spMkLst>
            <pc:docMk/>
            <pc:sldMk cId="170750579" sldId="636"/>
            <ac:spMk id="3" creationId="{F35E8CBB-5A7D-4DEF-BAF7-8DD5D042F9E0}"/>
          </ac:spMkLst>
        </pc:spChg>
      </pc:sldChg>
      <pc:sldChg chg="delSp mod">
        <pc:chgData name="Batuhan Yildiz" userId="90f344fc-4655-4923-aeaf-697bba59c1a7" providerId="ADAL" clId="{C4D54E99-673C-43B2-A218-475B4FDEDCC6}" dt="2020-05-22T07:46:50.782" v="213" actId="478"/>
        <pc:sldMkLst>
          <pc:docMk/>
          <pc:sldMk cId="2433819284" sldId="638"/>
        </pc:sldMkLst>
        <pc:spChg chg="del">
          <ac:chgData name="Batuhan Yildiz" userId="90f344fc-4655-4923-aeaf-697bba59c1a7" providerId="ADAL" clId="{C4D54E99-673C-43B2-A218-475B4FDEDCC6}" dt="2020-05-22T07:46:48.631" v="212" actId="478"/>
          <ac:spMkLst>
            <pc:docMk/>
            <pc:sldMk cId="2433819284" sldId="638"/>
            <ac:spMk id="3" creationId="{F35E8CBB-5A7D-4DEF-BAF7-8DD5D042F9E0}"/>
          </ac:spMkLst>
        </pc:spChg>
        <pc:spChg chg="del">
          <ac:chgData name="Batuhan Yildiz" userId="90f344fc-4655-4923-aeaf-697bba59c1a7" providerId="ADAL" clId="{C4D54E99-673C-43B2-A218-475B4FDEDCC6}" dt="2020-05-22T07:46:50.782" v="213" actId="478"/>
          <ac:spMkLst>
            <pc:docMk/>
            <pc:sldMk cId="2433819284" sldId="638"/>
            <ac:spMk id="4" creationId="{F3616A99-090F-45E1-9334-58D58B148205}"/>
          </ac:spMkLst>
        </pc:spChg>
      </pc:sldChg>
      <pc:sldChg chg="delSp mod">
        <pc:chgData name="Batuhan Yildiz" userId="90f344fc-4655-4923-aeaf-697bba59c1a7" providerId="ADAL" clId="{C4D54E99-673C-43B2-A218-475B4FDEDCC6}" dt="2020-05-22T07:46:56.588" v="214" actId="478"/>
        <pc:sldMkLst>
          <pc:docMk/>
          <pc:sldMk cId="732669774" sldId="639"/>
        </pc:sldMkLst>
        <pc:spChg chg="del">
          <ac:chgData name="Batuhan Yildiz" userId="90f344fc-4655-4923-aeaf-697bba59c1a7" providerId="ADAL" clId="{C4D54E99-673C-43B2-A218-475B4FDEDCC6}" dt="2020-05-22T07:46:56.588" v="214" actId="478"/>
          <ac:spMkLst>
            <pc:docMk/>
            <pc:sldMk cId="732669774" sldId="639"/>
            <ac:spMk id="3" creationId="{F35E8CBB-5A7D-4DEF-BAF7-8DD5D042F9E0}"/>
          </ac:spMkLst>
        </pc:spChg>
      </pc:sldChg>
      <pc:sldChg chg="delSp mod">
        <pc:chgData name="Batuhan Yildiz" userId="90f344fc-4655-4923-aeaf-697bba59c1a7" providerId="ADAL" clId="{C4D54E99-673C-43B2-A218-475B4FDEDCC6}" dt="2020-05-22T07:47:04.881" v="215" actId="478"/>
        <pc:sldMkLst>
          <pc:docMk/>
          <pc:sldMk cId="3930368789" sldId="640"/>
        </pc:sldMkLst>
        <pc:spChg chg="del">
          <ac:chgData name="Batuhan Yildiz" userId="90f344fc-4655-4923-aeaf-697bba59c1a7" providerId="ADAL" clId="{C4D54E99-673C-43B2-A218-475B4FDEDCC6}" dt="2020-05-22T07:47:04.881" v="215" actId="478"/>
          <ac:spMkLst>
            <pc:docMk/>
            <pc:sldMk cId="3930368789" sldId="640"/>
            <ac:spMk id="3" creationId="{F35E8CBB-5A7D-4DEF-BAF7-8DD5D042F9E0}"/>
          </ac:spMkLst>
        </pc:spChg>
      </pc:sldChg>
      <pc:sldChg chg="delSp modSp mod">
        <pc:chgData name="Batuhan Yildiz" userId="90f344fc-4655-4923-aeaf-697bba59c1a7" providerId="ADAL" clId="{C4D54E99-673C-43B2-A218-475B4FDEDCC6}" dt="2020-05-22T07:47:13.345" v="217" actId="12100"/>
        <pc:sldMkLst>
          <pc:docMk/>
          <pc:sldMk cId="172937384" sldId="641"/>
        </pc:sldMkLst>
        <pc:spChg chg="del">
          <ac:chgData name="Batuhan Yildiz" userId="90f344fc-4655-4923-aeaf-697bba59c1a7" providerId="ADAL" clId="{C4D54E99-673C-43B2-A218-475B4FDEDCC6}" dt="2020-05-22T07:47:08.297" v="216" actId="478"/>
          <ac:spMkLst>
            <pc:docMk/>
            <pc:sldMk cId="172937384" sldId="641"/>
            <ac:spMk id="3" creationId="{F35E8CBB-5A7D-4DEF-BAF7-8DD5D042F9E0}"/>
          </ac:spMkLst>
        </pc:spChg>
        <pc:graphicFrameChg chg="mod">
          <ac:chgData name="Batuhan Yildiz" userId="90f344fc-4655-4923-aeaf-697bba59c1a7" providerId="ADAL" clId="{C4D54E99-673C-43B2-A218-475B4FDEDCC6}" dt="2020-05-22T07:47:13.345" v="217" actId="12100"/>
          <ac:graphicFrameMkLst>
            <pc:docMk/>
            <pc:sldMk cId="172937384" sldId="641"/>
            <ac:graphicFrameMk id="6" creationId="{18B894D6-E22E-4CFC-A540-F16B2A407F36}"/>
          </ac:graphicFrameMkLst>
        </pc:graphicFrameChg>
      </pc:sldChg>
      <pc:sldChg chg="delSp mod">
        <pc:chgData name="Batuhan Yildiz" userId="90f344fc-4655-4923-aeaf-697bba59c1a7" providerId="ADAL" clId="{C4D54E99-673C-43B2-A218-475B4FDEDCC6}" dt="2020-05-22T07:47:18.398" v="218" actId="478"/>
        <pc:sldMkLst>
          <pc:docMk/>
          <pc:sldMk cId="3714785798" sldId="642"/>
        </pc:sldMkLst>
        <pc:spChg chg="del">
          <ac:chgData name="Batuhan Yildiz" userId="90f344fc-4655-4923-aeaf-697bba59c1a7" providerId="ADAL" clId="{C4D54E99-673C-43B2-A218-475B4FDEDCC6}" dt="2020-05-22T07:47:18.398" v="218" actId="478"/>
          <ac:spMkLst>
            <pc:docMk/>
            <pc:sldMk cId="3714785798" sldId="642"/>
            <ac:spMk id="3" creationId="{F35E8CBB-5A7D-4DEF-BAF7-8DD5D042F9E0}"/>
          </ac:spMkLst>
        </pc:spChg>
      </pc:sldChg>
      <pc:sldChg chg="delSp mod">
        <pc:chgData name="Batuhan Yildiz" userId="90f344fc-4655-4923-aeaf-697bba59c1a7" providerId="ADAL" clId="{C4D54E99-673C-43B2-A218-475B4FDEDCC6}" dt="2020-05-22T08:11:49.021" v="438" actId="478"/>
        <pc:sldMkLst>
          <pc:docMk/>
          <pc:sldMk cId="3559491282" sldId="644"/>
        </pc:sldMkLst>
        <pc:spChg chg="del">
          <ac:chgData name="Batuhan Yildiz" userId="90f344fc-4655-4923-aeaf-697bba59c1a7" providerId="ADAL" clId="{C4D54E99-673C-43B2-A218-475B4FDEDCC6}" dt="2020-05-22T08:11:49.021" v="438" actId="478"/>
          <ac:spMkLst>
            <pc:docMk/>
            <pc:sldMk cId="3559491282" sldId="644"/>
            <ac:spMk id="3" creationId="{F35E8CBB-5A7D-4DEF-BAF7-8DD5D042F9E0}"/>
          </ac:spMkLst>
        </pc:spChg>
      </pc:sldChg>
      <pc:sldChg chg="delSp mod">
        <pc:chgData name="Batuhan Yildiz" userId="90f344fc-4655-4923-aeaf-697bba59c1a7" providerId="ADAL" clId="{C4D54E99-673C-43B2-A218-475B4FDEDCC6}" dt="2020-05-22T08:12:00.203" v="439" actId="478"/>
        <pc:sldMkLst>
          <pc:docMk/>
          <pc:sldMk cId="3740111246" sldId="645"/>
        </pc:sldMkLst>
        <pc:spChg chg="del">
          <ac:chgData name="Batuhan Yildiz" userId="90f344fc-4655-4923-aeaf-697bba59c1a7" providerId="ADAL" clId="{C4D54E99-673C-43B2-A218-475B4FDEDCC6}" dt="2020-05-22T08:12:00.203" v="439" actId="478"/>
          <ac:spMkLst>
            <pc:docMk/>
            <pc:sldMk cId="3740111246" sldId="645"/>
            <ac:spMk id="3" creationId="{F35E8CBB-5A7D-4DEF-BAF7-8DD5D042F9E0}"/>
          </ac:spMkLst>
        </pc:spChg>
      </pc:sldChg>
      <pc:sldChg chg="delSp modSp mod">
        <pc:chgData name="Batuhan Yildiz" userId="90f344fc-4655-4923-aeaf-697bba59c1a7" providerId="ADAL" clId="{C4D54E99-673C-43B2-A218-475B4FDEDCC6}" dt="2020-05-22T08:12:19.189" v="442" actId="12100"/>
        <pc:sldMkLst>
          <pc:docMk/>
          <pc:sldMk cId="3406017694" sldId="646"/>
        </pc:sldMkLst>
        <pc:spChg chg="del">
          <ac:chgData name="Batuhan Yildiz" userId="90f344fc-4655-4923-aeaf-697bba59c1a7" providerId="ADAL" clId="{C4D54E99-673C-43B2-A218-475B4FDEDCC6}" dt="2020-05-22T08:12:11.512" v="440" actId="478"/>
          <ac:spMkLst>
            <pc:docMk/>
            <pc:sldMk cId="3406017694" sldId="646"/>
            <ac:spMk id="3" creationId="{F35E8CBB-5A7D-4DEF-BAF7-8DD5D042F9E0}"/>
          </ac:spMkLst>
        </pc:spChg>
        <pc:graphicFrameChg chg="mod">
          <ac:chgData name="Batuhan Yildiz" userId="90f344fc-4655-4923-aeaf-697bba59c1a7" providerId="ADAL" clId="{C4D54E99-673C-43B2-A218-475B4FDEDCC6}" dt="2020-05-22T08:12:19.189" v="442" actId="12100"/>
          <ac:graphicFrameMkLst>
            <pc:docMk/>
            <pc:sldMk cId="3406017694" sldId="646"/>
            <ac:graphicFrameMk id="6" creationId="{41AC8C61-B717-4C41-B581-C2B4D565FD9A}"/>
          </ac:graphicFrameMkLst>
        </pc:graphicFrameChg>
      </pc:sldChg>
      <pc:sldChg chg="delSp mod">
        <pc:chgData name="Batuhan Yildiz" userId="90f344fc-4655-4923-aeaf-697bba59c1a7" providerId="ADAL" clId="{C4D54E99-673C-43B2-A218-475B4FDEDCC6}" dt="2020-05-22T08:12:26.761" v="443" actId="478"/>
        <pc:sldMkLst>
          <pc:docMk/>
          <pc:sldMk cId="2150837780" sldId="647"/>
        </pc:sldMkLst>
        <pc:spChg chg="del">
          <ac:chgData name="Batuhan Yildiz" userId="90f344fc-4655-4923-aeaf-697bba59c1a7" providerId="ADAL" clId="{C4D54E99-673C-43B2-A218-475B4FDEDCC6}" dt="2020-05-22T08:12:26.761" v="443" actId="478"/>
          <ac:spMkLst>
            <pc:docMk/>
            <pc:sldMk cId="2150837780" sldId="647"/>
            <ac:spMk id="3" creationId="{F35E8CBB-5A7D-4DEF-BAF7-8DD5D042F9E0}"/>
          </ac:spMkLst>
        </pc:spChg>
      </pc:sldChg>
      <pc:sldChg chg="delSp mod">
        <pc:chgData name="Batuhan Yildiz" userId="90f344fc-4655-4923-aeaf-697bba59c1a7" providerId="ADAL" clId="{C4D54E99-673C-43B2-A218-475B4FDEDCC6}" dt="2020-05-22T08:12:40.286" v="444" actId="478"/>
        <pc:sldMkLst>
          <pc:docMk/>
          <pc:sldMk cId="2721394381" sldId="648"/>
        </pc:sldMkLst>
        <pc:spChg chg="del">
          <ac:chgData name="Batuhan Yildiz" userId="90f344fc-4655-4923-aeaf-697bba59c1a7" providerId="ADAL" clId="{C4D54E99-673C-43B2-A218-475B4FDEDCC6}" dt="2020-05-22T08:12:40.286" v="444" actId="478"/>
          <ac:spMkLst>
            <pc:docMk/>
            <pc:sldMk cId="2721394381" sldId="648"/>
            <ac:spMk id="3" creationId="{F35E8CBB-5A7D-4DEF-BAF7-8DD5D042F9E0}"/>
          </ac:spMkLst>
        </pc:spChg>
      </pc:sldChg>
      <pc:sldChg chg="delSp mod">
        <pc:chgData name="Batuhan Yildiz" userId="90f344fc-4655-4923-aeaf-697bba59c1a7" providerId="ADAL" clId="{C4D54E99-673C-43B2-A218-475B4FDEDCC6}" dt="2020-05-22T08:12:48.510" v="446" actId="478"/>
        <pc:sldMkLst>
          <pc:docMk/>
          <pc:sldMk cId="3526675307" sldId="649"/>
        </pc:sldMkLst>
        <pc:spChg chg="del">
          <ac:chgData name="Batuhan Yildiz" userId="90f344fc-4655-4923-aeaf-697bba59c1a7" providerId="ADAL" clId="{C4D54E99-673C-43B2-A218-475B4FDEDCC6}" dt="2020-05-22T08:12:45.815" v="445" actId="478"/>
          <ac:spMkLst>
            <pc:docMk/>
            <pc:sldMk cId="3526675307" sldId="649"/>
            <ac:spMk id="3" creationId="{F35E8CBB-5A7D-4DEF-BAF7-8DD5D042F9E0}"/>
          </ac:spMkLst>
        </pc:spChg>
        <pc:spChg chg="del">
          <ac:chgData name="Batuhan Yildiz" userId="90f344fc-4655-4923-aeaf-697bba59c1a7" providerId="ADAL" clId="{C4D54E99-673C-43B2-A218-475B4FDEDCC6}" dt="2020-05-22T08:12:48.510" v="446" actId="478"/>
          <ac:spMkLst>
            <pc:docMk/>
            <pc:sldMk cId="3526675307" sldId="649"/>
            <ac:spMk id="4" creationId="{F3616A99-090F-45E1-9334-58D58B148205}"/>
          </ac:spMkLst>
        </pc:spChg>
      </pc:sldChg>
      <pc:sldChg chg="delSp modSp mod">
        <pc:chgData name="Batuhan Yildiz" userId="90f344fc-4655-4923-aeaf-697bba59c1a7" providerId="ADAL" clId="{C4D54E99-673C-43B2-A218-475B4FDEDCC6}" dt="2020-05-22T08:09:12.908" v="420" actId="12100"/>
        <pc:sldMkLst>
          <pc:docMk/>
          <pc:sldMk cId="414429562" sldId="652"/>
        </pc:sldMkLst>
        <pc:spChg chg="del">
          <ac:chgData name="Batuhan Yildiz" userId="90f344fc-4655-4923-aeaf-697bba59c1a7" providerId="ADAL" clId="{C4D54E99-673C-43B2-A218-475B4FDEDCC6}" dt="2020-05-22T08:09:07.738" v="419" actId="478"/>
          <ac:spMkLst>
            <pc:docMk/>
            <pc:sldMk cId="414429562" sldId="652"/>
            <ac:spMk id="3" creationId="{F35E8CBB-5A7D-4DEF-BAF7-8DD5D042F9E0}"/>
          </ac:spMkLst>
        </pc:spChg>
        <pc:graphicFrameChg chg="mod">
          <ac:chgData name="Batuhan Yildiz" userId="90f344fc-4655-4923-aeaf-697bba59c1a7" providerId="ADAL" clId="{C4D54E99-673C-43B2-A218-475B4FDEDCC6}" dt="2020-05-22T08:09:12.908" v="420" actId="12100"/>
          <ac:graphicFrameMkLst>
            <pc:docMk/>
            <pc:sldMk cId="414429562" sldId="652"/>
            <ac:graphicFrameMk id="7" creationId="{8E814E8D-720B-47C9-8A1F-4441C2B85411}"/>
          </ac:graphicFrameMkLst>
        </pc:graphicFrameChg>
      </pc:sldChg>
      <pc:sldChg chg="delSp mod">
        <pc:chgData name="Batuhan Yildiz" userId="90f344fc-4655-4923-aeaf-697bba59c1a7" providerId="ADAL" clId="{C4D54E99-673C-43B2-A218-475B4FDEDCC6}" dt="2020-05-22T08:09:18.499" v="421" actId="478"/>
        <pc:sldMkLst>
          <pc:docMk/>
          <pc:sldMk cId="2508506295" sldId="653"/>
        </pc:sldMkLst>
        <pc:spChg chg="del">
          <ac:chgData name="Batuhan Yildiz" userId="90f344fc-4655-4923-aeaf-697bba59c1a7" providerId="ADAL" clId="{C4D54E99-673C-43B2-A218-475B4FDEDCC6}" dt="2020-05-22T08:09:18.499" v="421" actId="478"/>
          <ac:spMkLst>
            <pc:docMk/>
            <pc:sldMk cId="2508506295" sldId="653"/>
            <ac:spMk id="3" creationId="{F35E8CBB-5A7D-4DEF-BAF7-8DD5D042F9E0}"/>
          </ac:spMkLst>
        </pc:spChg>
      </pc:sldChg>
      <pc:sldChg chg="delSp mod">
        <pc:chgData name="Batuhan Yildiz" userId="90f344fc-4655-4923-aeaf-697bba59c1a7" providerId="ADAL" clId="{C4D54E99-673C-43B2-A218-475B4FDEDCC6}" dt="2020-05-22T08:09:26.899" v="422" actId="478"/>
        <pc:sldMkLst>
          <pc:docMk/>
          <pc:sldMk cId="668974516" sldId="654"/>
        </pc:sldMkLst>
        <pc:spChg chg="del">
          <ac:chgData name="Batuhan Yildiz" userId="90f344fc-4655-4923-aeaf-697bba59c1a7" providerId="ADAL" clId="{C4D54E99-673C-43B2-A218-475B4FDEDCC6}" dt="2020-05-22T08:09:26.899" v="422" actId="478"/>
          <ac:spMkLst>
            <pc:docMk/>
            <pc:sldMk cId="668974516" sldId="654"/>
            <ac:spMk id="3" creationId="{F35E8CBB-5A7D-4DEF-BAF7-8DD5D042F9E0}"/>
          </ac:spMkLst>
        </pc:spChg>
      </pc:sldChg>
      <pc:sldChg chg="delSp modSp mod modClrScheme chgLayout">
        <pc:chgData name="Batuhan Yildiz" userId="90f344fc-4655-4923-aeaf-697bba59c1a7" providerId="ADAL" clId="{C4D54E99-673C-43B2-A218-475B4FDEDCC6}" dt="2020-05-22T08:10:28.647" v="430" actId="1076"/>
        <pc:sldMkLst>
          <pc:docMk/>
          <pc:sldMk cId="2471988427" sldId="656"/>
        </pc:sldMkLst>
        <pc:spChg chg="mod ord">
          <ac:chgData name="Batuhan Yildiz" userId="90f344fc-4655-4923-aeaf-697bba59c1a7" providerId="ADAL" clId="{C4D54E99-673C-43B2-A218-475B4FDEDCC6}" dt="2020-05-22T08:09:41.634" v="424" actId="700"/>
          <ac:spMkLst>
            <pc:docMk/>
            <pc:sldMk cId="2471988427" sldId="656"/>
            <ac:spMk id="2" creationId="{EB67312A-9819-43C6-8D84-D9136E6CFFCC}"/>
          </ac:spMkLst>
        </pc:spChg>
        <pc:spChg chg="del">
          <ac:chgData name="Batuhan Yildiz" userId="90f344fc-4655-4923-aeaf-697bba59c1a7" providerId="ADAL" clId="{C4D54E99-673C-43B2-A218-475B4FDEDCC6}" dt="2020-05-22T08:09:31.568" v="423" actId="478"/>
          <ac:spMkLst>
            <pc:docMk/>
            <pc:sldMk cId="2471988427" sldId="656"/>
            <ac:spMk id="3" creationId="{F35E8CBB-5A7D-4DEF-BAF7-8DD5D042F9E0}"/>
          </ac:spMkLst>
        </pc:spChg>
        <pc:spChg chg="mod ord">
          <ac:chgData name="Batuhan Yildiz" userId="90f344fc-4655-4923-aeaf-697bba59c1a7" providerId="ADAL" clId="{C4D54E99-673C-43B2-A218-475B4FDEDCC6}" dt="2020-05-22T08:10:07.633" v="427" actId="1076"/>
          <ac:spMkLst>
            <pc:docMk/>
            <pc:sldMk cId="2471988427" sldId="656"/>
            <ac:spMk id="4" creationId="{F3616A99-090F-45E1-9334-58D58B148205}"/>
          </ac:spMkLst>
        </pc:spChg>
        <pc:spChg chg="mod">
          <ac:chgData name="Batuhan Yildiz" userId="90f344fc-4655-4923-aeaf-697bba59c1a7" providerId="ADAL" clId="{C4D54E99-673C-43B2-A218-475B4FDEDCC6}" dt="2020-05-22T08:10:28.647" v="430" actId="1076"/>
          <ac:spMkLst>
            <pc:docMk/>
            <pc:sldMk cId="2471988427" sldId="656"/>
            <ac:spMk id="6" creationId="{52A792B6-1B28-444F-8A7C-2727FAFF8B02}"/>
          </ac:spMkLst>
        </pc:spChg>
      </pc:sldChg>
      <pc:sldChg chg="delSp modSp mod">
        <pc:chgData name="Batuhan Yildiz" userId="90f344fc-4655-4923-aeaf-697bba59c1a7" providerId="ADAL" clId="{C4D54E99-673C-43B2-A218-475B4FDEDCC6}" dt="2020-05-22T08:11:02.743" v="432" actId="1076"/>
        <pc:sldMkLst>
          <pc:docMk/>
          <pc:sldMk cId="1683744399" sldId="657"/>
        </pc:sldMkLst>
        <pc:spChg chg="del">
          <ac:chgData name="Batuhan Yildiz" userId="90f344fc-4655-4923-aeaf-697bba59c1a7" providerId="ADAL" clId="{C4D54E99-673C-43B2-A218-475B4FDEDCC6}" dt="2020-05-22T08:10:52.890" v="431" actId="478"/>
          <ac:spMkLst>
            <pc:docMk/>
            <pc:sldMk cId="1683744399" sldId="657"/>
            <ac:spMk id="3" creationId="{F35E8CBB-5A7D-4DEF-BAF7-8DD5D042F9E0}"/>
          </ac:spMkLst>
        </pc:spChg>
        <pc:spChg chg="mod">
          <ac:chgData name="Batuhan Yildiz" userId="90f344fc-4655-4923-aeaf-697bba59c1a7" providerId="ADAL" clId="{C4D54E99-673C-43B2-A218-475B4FDEDCC6}" dt="2020-05-22T08:11:02.743" v="432" actId="1076"/>
          <ac:spMkLst>
            <pc:docMk/>
            <pc:sldMk cId="1683744399" sldId="657"/>
            <ac:spMk id="6" creationId="{52A792B6-1B28-444F-8A7C-2727FAFF8B02}"/>
          </ac:spMkLst>
        </pc:spChg>
      </pc:sldChg>
      <pc:sldChg chg="delSp mod">
        <pc:chgData name="Batuhan Yildiz" userId="90f344fc-4655-4923-aeaf-697bba59c1a7" providerId="ADAL" clId="{C4D54E99-673C-43B2-A218-475B4FDEDCC6}" dt="2020-05-22T08:11:12.422" v="433" actId="478"/>
        <pc:sldMkLst>
          <pc:docMk/>
          <pc:sldMk cId="2861098357" sldId="659"/>
        </pc:sldMkLst>
        <pc:spChg chg="del">
          <ac:chgData name="Batuhan Yildiz" userId="90f344fc-4655-4923-aeaf-697bba59c1a7" providerId="ADAL" clId="{C4D54E99-673C-43B2-A218-475B4FDEDCC6}" dt="2020-05-22T08:11:12.422" v="433" actId="478"/>
          <ac:spMkLst>
            <pc:docMk/>
            <pc:sldMk cId="2861098357" sldId="659"/>
            <ac:spMk id="3" creationId="{F35E8CBB-5A7D-4DEF-BAF7-8DD5D042F9E0}"/>
          </ac:spMkLst>
        </pc:spChg>
      </pc:sldChg>
      <pc:sldChg chg="delSp modSp mod">
        <pc:chgData name="Batuhan Yildiz" userId="90f344fc-4655-4923-aeaf-697bba59c1a7" providerId="ADAL" clId="{C4D54E99-673C-43B2-A218-475B4FDEDCC6}" dt="2020-05-22T08:11:26.278" v="436" actId="14100"/>
        <pc:sldMkLst>
          <pc:docMk/>
          <pc:sldMk cId="79963935" sldId="662"/>
        </pc:sldMkLst>
        <pc:spChg chg="del">
          <ac:chgData name="Batuhan Yildiz" userId="90f344fc-4655-4923-aeaf-697bba59c1a7" providerId="ADAL" clId="{C4D54E99-673C-43B2-A218-475B4FDEDCC6}" dt="2020-05-22T08:11:19.242" v="434" actId="478"/>
          <ac:spMkLst>
            <pc:docMk/>
            <pc:sldMk cId="79963935" sldId="662"/>
            <ac:spMk id="3" creationId="{F35E8CBB-5A7D-4DEF-BAF7-8DD5D042F9E0}"/>
          </ac:spMkLst>
        </pc:spChg>
        <pc:graphicFrameChg chg="mod">
          <ac:chgData name="Batuhan Yildiz" userId="90f344fc-4655-4923-aeaf-697bba59c1a7" providerId="ADAL" clId="{C4D54E99-673C-43B2-A218-475B4FDEDCC6}" dt="2020-05-22T08:11:26.278" v="436" actId="14100"/>
          <ac:graphicFrameMkLst>
            <pc:docMk/>
            <pc:sldMk cId="79963935" sldId="662"/>
            <ac:graphicFrameMk id="5" creationId="{B4176FC8-D990-4BE6-9629-E246FC64ACDF}"/>
          </ac:graphicFrameMkLst>
        </pc:graphicFrameChg>
      </pc:sldChg>
      <pc:sldChg chg="delSp mod">
        <pc:chgData name="Batuhan Yildiz" userId="90f344fc-4655-4923-aeaf-697bba59c1a7" providerId="ADAL" clId="{C4D54E99-673C-43B2-A218-475B4FDEDCC6}" dt="2020-05-22T08:11:35.973" v="437" actId="478"/>
        <pc:sldMkLst>
          <pc:docMk/>
          <pc:sldMk cId="729790534" sldId="663"/>
        </pc:sldMkLst>
        <pc:spChg chg="del">
          <ac:chgData name="Batuhan Yildiz" userId="90f344fc-4655-4923-aeaf-697bba59c1a7" providerId="ADAL" clId="{C4D54E99-673C-43B2-A218-475B4FDEDCC6}" dt="2020-05-22T08:11:35.973" v="437" actId="478"/>
          <ac:spMkLst>
            <pc:docMk/>
            <pc:sldMk cId="729790534" sldId="663"/>
            <ac:spMk id="3" creationId="{F35E8CBB-5A7D-4DEF-BAF7-8DD5D042F9E0}"/>
          </ac:spMkLst>
        </pc:spChg>
      </pc:sldChg>
      <pc:sldChg chg="delSp modSp mod">
        <pc:chgData name="Batuhan Yildiz" userId="90f344fc-4655-4923-aeaf-697bba59c1a7" providerId="ADAL" clId="{C4D54E99-673C-43B2-A218-475B4FDEDCC6}" dt="2020-05-22T07:45:19.479" v="201" actId="1035"/>
        <pc:sldMkLst>
          <pc:docMk/>
          <pc:sldMk cId="1743105056" sldId="665"/>
        </pc:sldMkLst>
        <pc:spChg chg="del">
          <ac:chgData name="Batuhan Yildiz" userId="90f344fc-4655-4923-aeaf-697bba59c1a7" providerId="ADAL" clId="{C4D54E99-673C-43B2-A218-475B4FDEDCC6}" dt="2020-05-22T07:44:52.499" v="162" actId="478"/>
          <ac:spMkLst>
            <pc:docMk/>
            <pc:sldMk cId="1743105056" sldId="665"/>
            <ac:spMk id="3" creationId="{F35E8CBB-5A7D-4DEF-BAF7-8DD5D042F9E0}"/>
          </ac:spMkLst>
        </pc:spChg>
        <pc:graphicFrameChg chg="mod">
          <ac:chgData name="Batuhan Yildiz" userId="90f344fc-4655-4923-aeaf-697bba59c1a7" providerId="ADAL" clId="{C4D54E99-673C-43B2-A218-475B4FDEDCC6}" dt="2020-05-22T07:45:09.542" v="165" actId="14100"/>
          <ac:graphicFrameMkLst>
            <pc:docMk/>
            <pc:sldMk cId="1743105056" sldId="665"/>
            <ac:graphicFrameMk id="7" creationId="{1178B55D-984E-41D0-A9BA-E9D52330A210}"/>
          </ac:graphicFrameMkLst>
        </pc:graphicFrameChg>
        <pc:picChg chg="mod">
          <ac:chgData name="Batuhan Yildiz" userId="90f344fc-4655-4923-aeaf-697bba59c1a7" providerId="ADAL" clId="{C4D54E99-673C-43B2-A218-475B4FDEDCC6}" dt="2020-05-22T07:45:19.479" v="201" actId="1035"/>
          <ac:picMkLst>
            <pc:docMk/>
            <pc:sldMk cId="1743105056" sldId="665"/>
            <ac:picMk id="5" creationId="{7FDD11C2-655E-456D-8526-AFF8A2578B77}"/>
          </ac:picMkLst>
        </pc:picChg>
      </pc:sldChg>
      <pc:sldChg chg="delSp mod">
        <pc:chgData name="Batuhan Yildiz" userId="90f344fc-4655-4923-aeaf-697bba59c1a7" providerId="ADAL" clId="{C4D54E99-673C-43B2-A218-475B4FDEDCC6}" dt="2020-05-22T07:45:52.419" v="204" actId="478"/>
        <pc:sldMkLst>
          <pc:docMk/>
          <pc:sldMk cId="3922378719" sldId="666"/>
        </pc:sldMkLst>
        <pc:spChg chg="del">
          <ac:chgData name="Batuhan Yildiz" userId="90f344fc-4655-4923-aeaf-697bba59c1a7" providerId="ADAL" clId="{C4D54E99-673C-43B2-A218-475B4FDEDCC6}" dt="2020-05-22T07:45:52.419" v="204" actId="478"/>
          <ac:spMkLst>
            <pc:docMk/>
            <pc:sldMk cId="3922378719" sldId="666"/>
            <ac:spMk id="3" creationId="{F35E8CBB-5A7D-4DEF-BAF7-8DD5D042F9E0}"/>
          </ac:spMkLst>
        </pc:spChg>
      </pc:sldChg>
      <pc:sldChg chg="delSp mod">
        <pc:chgData name="Batuhan Yildiz" userId="90f344fc-4655-4923-aeaf-697bba59c1a7" providerId="ADAL" clId="{C4D54E99-673C-43B2-A218-475B4FDEDCC6}" dt="2020-05-22T07:46:41.699" v="211" actId="478"/>
        <pc:sldMkLst>
          <pc:docMk/>
          <pc:sldMk cId="979826723" sldId="667"/>
        </pc:sldMkLst>
        <pc:spChg chg="del">
          <ac:chgData name="Batuhan Yildiz" userId="90f344fc-4655-4923-aeaf-697bba59c1a7" providerId="ADAL" clId="{C4D54E99-673C-43B2-A218-475B4FDEDCC6}" dt="2020-05-22T07:46:41.699" v="211" actId="478"/>
          <ac:spMkLst>
            <pc:docMk/>
            <pc:sldMk cId="979826723" sldId="667"/>
            <ac:spMk id="3" creationId="{F35E8CBB-5A7D-4DEF-BAF7-8DD5D042F9E0}"/>
          </ac:spMkLst>
        </pc:spChg>
      </pc:sldChg>
      <pc:sldChg chg="delSp modSp mod">
        <pc:chgData name="Batuhan Yildiz" userId="90f344fc-4655-4923-aeaf-697bba59c1a7" providerId="ADAL" clId="{C4D54E99-673C-43B2-A218-475B4FDEDCC6}" dt="2020-05-22T08:14:48.688" v="455" actId="14100"/>
        <pc:sldMkLst>
          <pc:docMk/>
          <pc:sldMk cId="1985242486" sldId="669"/>
        </pc:sldMkLst>
        <pc:spChg chg="del">
          <ac:chgData name="Batuhan Yildiz" userId="90f344fc-4655-4923-aeaf-697bba59c1a7" providerId="ADAL" clId="{C4D54E99-673C-43B2-A218-475B4FDEDCC6}" dt="2020-05-22T08:13:25.430" v="449" actId="478"/>
          <ac:spMkLst>
            <pc:docMk/>
            <pc:sldMk cId="1985242486" sldId="669"/>
            <ac:spMk id="3" creationId="{F35E8CBB-5A7D-4DEF-BAF7-8DD5D042F9E0}"/>
          </ac:spMkLst>
        </pc:spChg>
        <pc:spChg chg="mod">
          <ac:chgData name="Batuhan Yildiz" userId="90f344fc-4655-4923-aeaf-697bba59c1a7" providerId="ADAL" clId="{C4D54E99-673C-43B2-A218-475B4FDEDCC6}" dt="2020-05-22T08:14:48.688" v="455" actId="14100"/>
          <ac:spMkLst>
            <pc:docMk/>
            <pc:sldMk cId="1985242486" sldId="669"/>
            <ac:spMk id="9" creationId="{610DD977-6571-4E75-91F5-C5F710C78F56}"/>
          </ac:spMkLst>
        </pc:spChg>
        <pc:graphicFrameChg chg="mod">
          <ac:chgData name="Batuhan Yildiz" userId="90f344fc-4655-4923-aeaf-697bba59c1a7" providerId="ADAL" clId="{C4D54E99-673C-43B2-A218-475B4FDEDCC6}" dt="2020-05-22T08:14:40.113" v="452" actId="14100"/>
          <ac:graphicFrameMkLst>
            <pc:docMk/>
            <pc:sldMk cId="1985242486" sldId="669"/>
            <ac:graphicFrameMk id="5" creationId="{17C8480E-4A90-4F56-93A1-BC3A45EE117A}"/>
          </ac:graphicFrameMkLst>
        </pc:graphicFrameChg>
      </pc:sldChg>
      <pc:sldChg chg="delSp mod">
        <pc:chgData name="Batuhan Yildiz" userId="90f344fc-4655-4923-aeaf-697bba59c1a7" providerId="ADAL" clId="{C4D54E99-673C-43B2-A218-475B4FDEDCC6}" dt="2020-05-22T08:17:07.846" v="466" actId="478"/>
        <pc:sldMkLst>
          <pc:docMk/>
          <pc:sldMk cId="555630791" sldId="670"/>
        </pc:sldMkLst>
        <pc:spChg chg="del">
          <ac:chgData name="Batuhan Yildiz" userId="90f344fc-4655-4923-aeaf-697bba59c1a7" providerId="ADAL" clId="{C4D54E99-673C-43B2-A218-475B4FDEDCC6}" dt="2020-05-22T08:17:07.846" v="466" actId="478"/>
          <ac:spMkLst>
            <pc:docMk/>
            <pc:sldMk cId="555630791" sldId="670"/>
            <ac:spMk id="3" creationId="{9CAAEC61-74EA-4B3E-B3DB-D6B83A64237B}"/>
          </ac:spMkLst>
        </pc:spChg>
      </pc:sldChg>
      <pc:sldChg chg="modSp mod">
        <pc:chgData name="Batuhan Yildiz" userId="90f344fc-4655-4923-aeaf-697bba59c1a7" providerId="ADAL" clId="{C4D54E99-673C-43B2-A218-475B4FDEDCC6}" dt="2020-05-22T08:21:11.226" v="472" actId="1076"/>
        <pc:sldMkLst>
          <pc:docMk/>
          <pc:sldMk cId="2009854721" sldId="671"/>
        </pc:sldMkLst>
        <pc:spChg chg="mod">
          <ac:chgData name="Batuhan Yildiz" userId="90f344fc-4655-4923-aeaf-697bba59c1a7" providerId="ADAL" clId="{C4D54E99-673C-43B2-A218-475B4FDEDCC6}" dt="2020-05-22T08:21:11.226" v="472" actId="1076"/>
          <ac:spMkLst>
            <pc:docMk/>
            <pc:sldMk cId="2009854721" sldId="671"/>
            <ac:spMk id="21" creationId="{FCDB61BD-DE4A-40A9-A07E-364453B4D814}"/>
          </ac:spMkLst>
        </pc:spChg>
        <pc:spChg chg="mod">
          <ac:chgData name="Batuhan Yildiz" userId="90f344fc-4655-4923-aeaf-697bba59c1a7" providerId="ADAL" clId="{C4D54E99-673C-43B2-A218-475B4FDEDCC6}" dt="2020-05-22T08:21:03.260" v="471" actId="14100"/>
          <ac:spMkLst>
            <pc:docMk/>
            <pc:sldMk cId="2009854721" sldId="671"/>
            <ac:spMk id="25" creationId="{3F5123BA-3D74-4516-ABCD-3239EC76359C}"/>
          </ac:spMkLst>
        </pc:spChg>
        <pc:graphicFrameChg chg="mod">
          <ac:chgData name="Batuhan Yildiz" userId="90f344fc-4655-4923-aeaf-697bba59c1a7" providerId="ADAL" clId="{C4D54E99-673C-43B2-A218-475B4FDEDCC6}" dt="2020-05-22T08:20:00.539" v="467" actId="1076"/>
          <ac:graphicFrameMkLst>
            <pc:docMk/>
            <pc:sldMk cId="2009854721" sldId="671"/>
            <ac:graphicFrameMk id="6" creationId="{4EBEDD6E-AB5F-4B19-B6B2-2E65C58D0B95}"/>
          </ac:graphicFrameMkLst>
        </pc:graphicFrameChg>
        <pc:cxnChg chg="mod">
          <ac:chgData name="Batuhan Yildiz" userId="90f344fc-4655-4923-aeaf-697bba59c1a7" providerId="ADAL" clId="{C4D54E99-673C-43B2-A218-475B4FDEDCC6}" dt="2020-05-22T08:20:35.181" v="468" actId="14100"/>
          <ac:cxnSpMkLst>
            <pc:docMk/>
            <pc:sldMk cId="2009854721" sldId="671"/>
            <ac:cxnSpMk id="8" creationId="{7E6FBBE6-9C88-4FE8-9086-299105FAF527}"/>
          </ac:cxnSpMkLst>
        </pc:cxnChg>
        <pc:cxnChg chg="mod">
          <ac:chgData name="Batuhan Yildiz" userId="90f344fc-4655-4923-aeaf-697bba59c1a7" providerId="ADAL" clId="{C4D54E99-673C-43B2-A218-475B4FDEDCC6}" dt="2020-05-22T08:20:42.139" v="469" actId="14100"/>
          <ac:cxnSpMkLst>
            <pc:docMk/>
            <pc:sldMk cId="2009854721" sldId="671"/>
            <ac:cxnSpMk id="9" creationId="{F8CEEFF4-3531-4A5F-A429-D4DCBFA4DC58}"/>
          </ac:cxnSpMkLst>
        </pc:cxnChg>
      </pc:sldChg>
      <pc:sldChg chg="modSp mod">
        <pc:chgData name="Batuhan Yildiz" userId="90f344fc-4655-4923-aeaf-697bba59c1a7" providerId="ADAL" clId="{C4D54E99-673C-43B2-A218-475B4FDEDCC6}" dt="2020-05-22T08:22:14.466" v="474" actId="1076"/>
        <pc:sldMkLst>
          <pc:docMk/>
          <pc:sldMk cId="1245107683" sldId="672"/>
        </pc:sldMkLst>
        <pc:spChg chg="mod">
          <ac:chgData name="Batuhan Yildiz" userId="90f344fc-4655-4923-aeaf-697bba59c1a7" providerId="ADAL" clId="{C4D54E99-673C-43B2-A218-475B4FDEDCC6}" dt="2020-05-22T08:22:14.466" v="474" actId="1076"/>
          <ac:spMkLst>
            <pc:docMk/>
            <pc:sldMk cId="1245107683" sldId="672"/>
            <ac:spMk id="43" creationId="{96ABCCB7-7D1B-4F55-A2BC-7B99C15BB3DF}"/>
          </ac:spMkLst>
        </pc:spChg>
        <pc:cxnChg chg="mod">
          <ac:chgData name="Batuhan Yildiz" userId="90f344fc-4655-4923-aeaf-697bba59c1a7" providerId="ADAL" clId="{C4D54E99-673C-43B2-A218-475B4FDEDCC6}" dt="2020-05-22T08:22:14.466" v="474" actId="1076"/>
          <ac:cxnSpMkLst>
            <pc:docMk/>
            <pc:sldMk cId="1245107683" sldId="672"/>
            <ac:cxnSpMk id="44" creationId="{3C3B778F-AD82-4722-820B-A73BDEE4C006}"/>
          </ac:cxnSpMkLst>
        </pc:cxnChg>
      </pc:sldChg>
      <pc:sldChg chg="modSp">
        <pc:chgData name="Batuhan Yildiz" userId="90f344fc-4655-4923-aeaf-697bba59c1a7" providerId="ADAL" clId="{C4D54E99-673C-43B2-A218-475B4FDEDCC6}" dt="2020-05-22T08:24:15.511" v="486" actId="14100"/>
        <pc:sldMkLst>
          <pc:docMk/>
          <pc:sldMk cId="2745452252" sldId="673"/>
        </pc:sldMkLst>
        <pc:graphicFrameChg chg="mod">
          <ac:chgData name="Batuhan Yildiz" userId="90f344fc-4655-4923-aeaf-697bba59c1a7" providerId="ADAL" clId="{C4D54E99-673C-43B2-A218-475B4FDEDCC6}" dt="2020-05-22T08:24:15.511" v="486" actId="14100"/>
          <ac:graphicFrameMkLst>
            <pc:docMk/>
            <pc:sldMk cId="2745452252" sldId="673"/>
            <ac:graphicFrameMk id="5" creationId="{7D108DBB-E906-4DC1-A452-84D184316AB6}"/>
          </ac:graphicFrameMkLst>
        </pc:graphicFrameChg>
      </pc:sldChg>
      <pc:sldChg chg="delSp modSp mod">
        <pc:chgData name="Batuhan Yildiz" userId="90f344fc-4655-4923-aeaf-697bba59c1a7" providerId="ADAL" clId="{C4D54E99-673C-43B2-A218-475B4FDEDCC6}" dt="2020-05-22T08:23:54.402" v="483" actId="14100"/>
        <pc:sldMkLst>
          <pc:docMk/>
          <pc:sldMk cId="3635708424" sldId="674"/>
        </pc:sldMkLst>
        <pc:spChg chg="del">
          <ac:chgData name="Batuhan Yildiz" userId="90f344fc-4655-4923-aeaf-697bba59c1a7" providerId="ADAL" clId="{C4D54E99-673C-43B2-A218-475B4FDEDCC6}" dt="2020-05-22T08:22:24.137" v="475" actId="478"/>
          <ac:spMkLst>
            <pc:docMk/>
            <pc:sldMk cId="3635708424" sldId="674"/>
            <ac:spMk id="3" creationId="{3152179B-513C-42BB-A37F-6972724C1B17}"/>
          </ac:spMkLst>
        </pc:spChg>
        <pc:spChg chg="mod">
          <ac:chgData name="Batuhan Yildiz" userId="90f344fc-4655-4923-aeaf-697bba59c1a7" providerId="ADAL" clId="{C4D54E99-673C-43B2-A218-475B4FDEDCC6}" dt="2020-05-22T08:23:54.402" v="483" actId="14100"/>
          <ac:spMkLst>
            <pc:docMk/>
            <pc:sldMk cId="3635708424" sldId="674"/>
            <ac:spMk id="4" creationId="{500520A3-0B09-4C4F-A823-88076E664703}"/>
          </ac:spMkLst>
        </pc:spChg>
        <pc:spChg chg="mod">
          <ac:chgData name="Batuhan Yildiz" userId="90f344fc-4655-4923-aeaf-697bba59c1a7" providerId="ADAL" clId="{C4D54E99-673C-43B2-A218-475B4FDEDCC6}" dt="2020-05-22T08:23:32.565" v="480" actId="1076"/>
          <ac:spMkLst>
            <pc:docMk/>
            <pc:sldMk cId="3635708424" sldId="674"/>
            <ac:spMk id="6" creationId="{4B36B48A-ACC0-4EEA-9E7F-D05DF07558CA}"/>
          </ac:spMkLst>
        </pc:spChg>
        <pc:spChg chg="mod">
          <ac:chgData name="Batuhan Yildiz" userId="90f344fc-4655-4923-aeaf-697bba59c1a7" providerId="ADAL" clId="{C4D54E99-673C-43B2-A218-475B4FDEDCC6}" dt="2020-05-22T08:23:32.565" v="480" actId="1076"/>
          <ac:spMkLst>
            <pc:docMk/>
            <pc:sldMk cId="3635708424" sldId="674"/>
            <ac:spMk id="7" creationId="{B662745B-BC1C-4EFE-B715-5E2F80524EF7}"/>
          </ac:spMkLst>
        </pc:spChg>
        <pc:spChg chg="mod">
          <ac:chgData name="Batuhan Yildiz" userId="90f344fc-4655-4923-aeaf-697bba59c1a7" providerId="ADAL" clId="{C4D54E99-673C-43B2-A218-475B4FDEDCC6}" dt="2020-05-22T08:23:32.565" v="480" actId="1076"/>
          <ac:spMkLst>
            <pc:docMk/>
            <pc:sldMk cId="3635708424" sldId="674"/>
            <ac:spMk id="9" creationId="{A1C77396-280C-4357-8325-86F87ACC773E}"/>
          </ac:spMkLst>
        </pc:spChg>
        <pc:spChg chg="mod">
          <ac:chgData name="Batuhan Yildiz" userId="90f344fc-4655-4923-aeaf-697bba59c1a7" providerId="ADAL" clId="{C4D54E99-673C-43B2-A218-475B4FDEDCC6}" dt="2020-05-22T08:23:32.565" v="480" actId="1076"/>
          <ac:spMkLst>
            <pc:docMk/>
            <pc:sldMk cId="3635708424" sldId="674"/>
            <ac:spMk id="10" creationId="{55D0B62F-AC6F-4335-846E-DD3517E102A2}"/>
          </ac:spMkLst>
        </pc:spChg>
        <pc:spChg chg="mod">
          <ac:chgData name="Batuhan Yildiz" userId="90f344fc-4655-4923-aeaf-697bba59c1a7" providerId="ADAL" clId="{C4D54E99-673C-43B2-A218-475B4FDEDCC6}" dt="2020-05-22T08:23:32.565" v="480" actId="1076"/>
          <ac:spMkLst>
            <pc:docMk/>
            <pc:sldMk cId="3635708424" sldId="674"/>
            <ac:spMk id="12" creationId="{00AB7575-849E-4E36-8119-7DF76BC976D6}"/>
          </ac:spMkLst>
        </pc:spChg>
        <pc:spChg chg="mod">
          <ac:chgData name="Batuhan Yildiz" userId="90f344fc-4655-4923-aeaf-697bba59c1a7" providerId="ADAL" clId="{C4D54E99-673C-43B2-A218-475B4FDEDCC6}" dt="2020-05-22T08:23:32.565" v="480" actId="1076"/>
          <ac:spMkLst>
            <pc:docMk/>
            <pc:sldMk cId="3635708424" sldId="674"/>
            <ac:spMk id="13" creationId="{37805124-0DA9-48C0-B45C-4DAC8BA6615C}"/>
          </ac:spMkLst>
        </pc:spChg>
        <pc:spChg chg="mod">
          <ac:chgData name="Batuhan Yildiz" userId="90f344fc-4655-4923-aeaf-697bba59c1a7" providerId="ADAL" clId="{C4D54E99-673C-43B2-A218-475B4FDEDCC6}" dt="2020-05-22T08:23:32.565" v="480" actId="1076"/>
          <ac:spMkLst>
            <pc:docMk/>
            <pc:sldMk cId="3635708424" sldId="674"/>
            <ac:spMk id="15" creationId="{EC2E2B6B-6CC1-4CCA-B1E7-78491013DB84}"/>
          </ac:spMkLst>
        </pc:spChg>
        <pc:spChg chg="mod">
          <ac:chgData name="Batuhan Yildiz" userId="90f344fc-4655-4923-aeaf-697bba59c1a7" providerId="ADAL" clId="{C4D54E99-673C-43B2-A218-475B4FDEDCC6}" dt="2020-05-22T08:23:32.565" v="480" actId="1076"/>
          <ac:spMkLst>
            <pc:docMk/>
            <pc:sldMk cId="3635708424" sldId="674"/>
            <ac:spMk id="16" creationId="{2ABDD251-8F52-4882-8E29-C0FD7CB789AB}"/>
          </ac:spMkLst>
        </pc:spChg>
        <pc:spChg chg="mod">
          <ac:chgData name="Batuhan Yildiz" userId="90f344fc-4655-4923-aeaf-697bba59c1a7" providerId="ADAL" clId="{C4D54E99-673C-43B2-A218-475B4FDEDCC6}" dt="2020-05-22T08:23:32.565" v="480" actId="1076"/>
          <ac:spMkLst>
            <pc:docMk/>
            <pc:sldMk cId="3635708424" sldId="674"/>
            <ac:spMk id="18" creationId="{277AC416-1BF5-48D2-A3B9-FA0A79AF9975}"/>
          </ac:spMkLst>
        </pc:spChg>
        <pc:spChg chg="mod">
          <ac:chgData name="Batuhan Yildiz" userId="90f344fc-4655-4923-aeaf-697bba59c1a7" providerId="ADAL" clId="{C4D54E99-673C-43B2-A218-475B4FDEDCC6}" dt="2020-05-22T08:23:32.565" v="480" actId="1076"/>
          <ac:spMkLst>
            <pc:docMk/>
            <pc:sldMk cId="3635708424" sldId="674"/>
            <ac:spMk id="19" creationId="{B7767998-F986-49AD-BD06-F20E5C1F6A7C}"/>
          </ac:spMkLst>
        </pc:spChg>
        <pc:spChg chg="mod">
          <ac:chgData name="Batuhan Yildiz" userId="90f344fc-4655-4923-aeaf-697bba59c1a7" providerId="ADAL" clId="{C4D54E99-673C-43B2-A218-475B4FDEDCC6}" dt="2020-05-22T08:23:32.565" v="480" actId="1076"/>
          <ac:spMkLst>
            <pc:docMk/>
            <pc:sldMk cId="3635708424" sldId="674"/>
            <ac:spMk id="21" creationId="{477E71A7-E8EF-4514-AD06-E9186D724549}"/>
          </ac:spMkLst>
        </pc:spChg>
        <pc:spChg chg="mod">
          <ac:chgData name="Batuhan Yildiz" userId="90f344fc-4655-4923-aeaf-697bba59c1a7" providerId="ADAL" clId="{C4D54E99-673C-43B2-A218-475B4FDEDCC6}" dt="2020-05-22T08:23:32.565" v="480" actId="1076"/>
          <ac:spMkLst>
            <pc:docMk/>
            <pc:sldMk cId="3635708424" sldId="674"/>
            <ac:spMk id="22" creationId="{E9FBFE73-A377-4A11-9B66-47230F9AA41C}"/>
          </ac:spMkLst>
        </pc:spChg>
        <pc:spChg chg="mod">
          <ac:chgData name="Batuhan Yildiz" userId="90f344fc-4655-4923-aeaf-697bba59c1a7" providerId="ADAL" clId="{C4D54E99-673C-43B2-A218-475B4FDEDCC6}" dt="2020-05-22T08:23:32.565" v="480" actId="1076"/>
          <ac:spMkLst>
            <pc:docMk/>
            <pc:sldMk cId="3635708424" sldId="674"/>
            <ac:spMk id="24" creationId="{1B0EB10B-5F30-4146-9379-34105A82BDC3}"/>
          </ac:spMkLst>
        </pc:spChg>
        <pc:spChg chg="mod">
          <ac:chgData name="Batuhan Yildiz" userId="90f344fc-4655-4923-aeaf-697bba59c1a7" providerId="ADAL" clId="{C4D54E99-673C-43B2-A218-475B4FDEDCC6}" dt="2020-05-22T08:23:32.565" v="480" actId="1076"/>
          <ac:spMkLst>
            <pc:docMk/>
            <pc:sldMk cId="3635708424" sldId="674"/>
            <ac:spMk id="25" creationId="{85E79CC3-C83C-4A0B-9611-1854E00DFCCB}"/>
          </ac:spMkLst>
        </pc:spChg>
        <pc:spChg chg="mod">
          <ac:chgData name="Batuhan Yildiz" userId="90f344fc-4655-4923-aeaf-697bba59c1a7" providerId="ADAL" clId="{C4D54E99-673C-43B2-A218-475B4FDEDCC6}" dt="2020-05-22T08:23:32.565" v="480" actId="1076"/>
          <ac:spMkLst>
            <pc:docMk/>
            <pc:sldMk cId="3635708424" sldId="674"/>
            <ac:spMk id="27" creationId="{B3A7A748-5904-4552-BB13-3C2FD8D32821}"/>
          </ac:spMkLst>
        </pc:spChg>
        <pc:spChg chg="mod">
          <ac:chgData name="Batuhan Yildiz" userId="90f344fc-4655-4923-aeaf-697bba59c1a7" providerId="ADAL" clId="{C4D54E99-673C-43B2-A218-475B4FDEDCC6}" dt="2020-05-22T08:23:32.565" v="480" actId="1076"/>
          <ac:spMkLst>
            <pc:docMk/>
            <pc:sldMk cId="3635708424" sldId="674"/>
            <ac:spMk id="28" creationId="{BDD9EFEC-1D7F-4D71-ADE4-491BC0E743D9}"/>
          </ac:spMkLst>
        </pc:spChg>
        <pc:spChg chg="mod">
          <ac:chgData name="Batuhan Yildiz" userId="90f344fc-4655-4923-aeaf-697bba59c1a7" providerId="ADAL" clId="{C4D54E99-673C-43B2-A218-475B4FDEDCC6}" dt="2020-05-22T08:23:32.565" v="480" actId="1076"/>
          <ac:spMkLst>
            <pc:docMk/>
            <pc:sldMk cId="3635708424" sldId="674"/>
            <ac:spMk id="30" creationId="{A68787F7-5DD2-4B0E-825E-95949BBDE336}"/>
          </ac:spMkLst>
        </pc:spChg>
        <pc:spChg chg="mod">
          <ac:chgData name="Batuhan Yildiz" userId="90f344fc-4655-4923-aeaf-697bba59c1a7" providerId="ADAL" clId="{C4D54E99-673C-43B2-A218-475B4FDEDCC6}" dt="2020-05-22T08:23:32.565" v="480" actId="1076"/>
          <ac:spMkLst>
            <pc:docMk/>
            <pc:sldMk cId="3635708424" sldId="674"/>
            <ac:spMk id="31" creationId="{A9C84E6B-A311-4EE3-879E-55E2B98B909B}"/>
          </ac:spMkLst>
        </pc:spChg>
        <pc:spChg chg="mod">
          <ac:chgData name="Batuhan Yildiz" userId="90f344fc-4655-4923-aeaf-697bba59c1a7" providerId="ADAL" clId="{C4D54E99-673C-43B2-A218-475B4FDEDCC6}" dt="2020-05-22T08:23:32.565" v="480" actId="1076"/>
          <ac:spMkLst>
            <pc:docMk/>
            <pc:sldMk cId="3635708424" sldId="674"/>
            <ac:spMk id="32" creationId="{27014AA0-11E3-4865-AD89-F4CD523BD4C8}"/>
          </ac:spMkLst>
        </pc:spChg>
        <pc:spChg chg="mod">
          <ac:chgData name="Batuhan Yildiz" userId="90f344fc-4655-4923-aeaf-697bba59c1a7" providerId="ADAL" clId="{C4D54E99-673C-43B2-A218-475B4FDEDCC6}" dt="2020-05-22T08:23:32.565" v="480" actId="1076"/>
          <ac:spMkLst>
            <pc:docMk/>
            <pc:sldMk cId="3635708424" sldId="674"/>
            <ac:spMk id="33" creationId="{4722E2F2-8382-4CF9-8AD7-2ED34167B93F}"/>
          </ac:spMkLst>
        </pc:spChg>
        <pc:spChg chg="mod">
          <ac:chgData name="Batuhan Yildiz" userId="90f344fc-4655-4923-aeaf-697bba59c1a7" providerId="ADAL" clId="{C4D54E99-673C-43B2-A218-475B4FDEDCC6}" dt="2020-05-22T08:23:32.565" v="480" actId="1076"/>
          <ac:spMkLst>
            <pc:docMk/>
            <pc:sldMk cId="3635708424" sldId="674"/>
            <ac:spMk id="34" creationId="{7BF4CFB8-FA37-4336-A78C-375C011AC469}"/>
          </ac:spMkLst>
        </pc:spChg>
        <pc:spChg chg="mod">
          <ac:chgData name="Batuhan Yildiz" userId="90f344fc-4655-4923-aeaf-697bba59c1a7" providerId="ADAL" clId="{C4D54E99-673C-43B2-A218-475B4FDEDCC6}" dt="2020-05-22T08:23:32.565" v="480" actId="1076"/>
          <ac:spMkLst>
            <pc:docMk/>
            <pc:sldMk cId="3635708424" sldId="674"/>
            <ac:spMk id="35" creationId="{D052117C-913D-4FBB-A983-9CC7723F93AF}"/>
          </ac:spMkLst>
        </pc:spChg>
        <pc:spChg chg="mod">
          <ac:chgData name="Batuhan Yildiz" userId="90f344fc-4655-4923-aeaf-697bba59c1a7" providerId="ADAL" clId="{C4D54E99-673C-43B2-A218-475B4FDEDCC6}" dt="2020-05-22T08:23:32.565" v="480" actId="1076"/>
          <ac:spMkLst>
            <pc:docMk/>
            <pc:sldMk cId="3635708424" sldId="674"/>
            <ac:spMk id="36" creationId="{C4A53A48-B1BF-4A64-9A2E-C78B83C821D4}"/>
          </ac:spMkLst>
        </pc:spChg>
        <pc:spChg chg="mod">
          <ac:chgData name="Batuhan Yildiz" userId="90f344fc-4655-4923-aeaf-697bba59c1a7" providerId="ADAL" clId="{C4D54E99-673C-43B2-A218-475B4FDEDCC6}" dt="2020-05-22T08:23:32.565" v="480" actId="1076"/>
          <ac:spMkLst>
            <pc:docMk/>
            <pc:sldMk cId="3635708424" sldId="674"/>
            <ac:spMk id="37" creationId="{D64E918F-1D40-4176-9BBE-08F31A9DCE0C}"/>
          </ac:spMkLst>
        </pc:spChg>
        <pc:spChg chg="mod">
          <ac:chgData name="Batuhan Yildiz" userId="90f344fc-4655-4923-aeaf-697bba59c1a7" providerId="ADAL" clId="{C4D54E99-673C-43B2-A218-475B4FDEDCC6}" dt="2020-05-22T08:23:32.565" v="480" actId="1076"/>
          <ac:spMkLst>
            <pc:docMk/>
            <pc:sldMk cId="3635708424" sldId="674"/>
            <ac:spMk id="38" creationId="{B4B581D1-18E3-4A2B-9452-FB4D1AEA401A}"/>
          </ac:spMkLst>
        </pc:spChg>
        <pc:spChg chg="mod">
          <ac:chgData name="Batuhan Yildiz" userId="90f344fc-4655-4923-aeaf-697bba59c1a7" providerId="ADAL" clId="{C4D54E99-673C-43B2-A218-475B4FDEDCC6}" dt="2020-05-22T08:23:32.565" v="480" actId="1076"/>
          <ac:spMkLst>
            <pc:docMk/>
            <pc:sldMk cId="3635708424" sldId="674"/>
            <ac:spMk id="39" creationId="{769416F4-8456-4150-B752-672B6F04CB8F}"/>
          </ac:spMkLst>
        </pc:spChg>
        <pc:spChg chg="mod">
          <ac:chgData name="Batuhan Yildiz" userId="90f344fc-4655-4923-aeaf-697bba59c1a7" providerId="ADAL" clId="{C4D54E99-673C-43B2-A218-475B4FDEDCC6}" dt="2020-05-22T08:23:32.565" v="480" actId="1076"/>
          <ac:spMkLst>
            <pc:docMk/>
            <pc:sldMk cId="3635708424" sldId="674"/>
            <ac:spMk id="40" creationId="{E2AF50D2-B256-4117-B257-0737810C9D03}"/>
          </ac:spMkLst>
        </pc:spChg>
        <pc:spChg chg="mod">
          <ac:chgData name="Batuhan Yildiz" userId="90f344fc-4655-4923-aeaf-697bba59c1a7" providerId="ADAL" clId="{C4D54E99-673C-43B2-A218-475B4FDEDCC6}" dt="2020-05-22T08:23:32.565" v="480" actId="1076"/>
          <ac:spMkLst>
            <pc:docMk/>
            <pc:sldMk cId="3635708424" sldId="674"/>
            <ac:spMk id="41" creationId="{FD46308B-B260-4D4C-9880-C825583C227A}"/>
          </ac:spMkLst>
        </pc:spChg>
        <pc:spChg chg="mod">
          <ac:chgData name="Batuhan Yildiz" userId="90f344fc-4655-4923-aeaf-697bba59c1a7" providerId="ADAL" clId="{C4D54E99-673C-43B2-A218-475B4FDEDCC6}" dt="2020-05-22T08:23:32.565" v="480" actId="1076"/>
          <ac:spMkLst>
            <pc:docMk/>
            <pc:sldMk cId="3635708424" sldId="674"/>
            <ac:spMk id="42" creationId="{F1323C98-8526-4844-91E9-B428197407B5}"/>
          </ac:spMkLst>
        </pc:spChg>
        <pc:spChg chg="mod">
          <ac:chgData name="Batuhan Yildiz" userId="90f344fc-4655-4923-aeaf-697bba59c1a7" providerId="ADAL" clId="{C4D54E99-673C-43B2-A218-475B4FDEDCC6}" dt="2020-05-22T08:23:32.565" v="480" actId="1076"/>
          <ac:spMkLst>
            <pc:docMk/>
            <pc:sldMk cId="3635708424" sldId="674"/>
            <ac:spMk id="43" creationId="{107E0F73-9FD6-4440-AEA6-86659AD1E84A}"/>
          </ac:spMkLst>
        </pc:spChg>
        <pc:spChg chg="mod">
          <ac:chgData name="Batuhan Yildiz" userId="90f344fc-4655-4923-aeaf-697bba59c1a7" providerId="ADAL" clId="{C4D54E99-673C-43B2-A218-475B4FDEDCC6}" dt="2020-05-22T08:23:32.565" v="480" actId="1076"/>
          <ac:spMkLst>
            <pc:docMk/>
            <pc:sldMk cId="3635708424" sldId="674"/>
            <ac:spMk id="44" creationId="{6DAB4B14-BB6D-427D-98F7-99064DA98DC3}"/>
          </ac:spMkLst>
        </pc:spChg>
        <pc:spChg chg="mod">
          <ac:chgData name="Batuhan Yildiz" userId="90f344fc-4655-4923-aeaf-697bba59c1a7" providerId="ADAL" clId="{C4D54E99-673C-43B2-A218-475B4FDEDCC6}" dt="2020-05-22T08:23:32.565" v="480" actId="1076"/>
          <ac:spMkLst>
            <pc:docMk/>
            <pc:sldMk cId="3635708424" sldId="674"/>
            <ac:spMk id="45" creationId="{225EB56D-4182-4E32-BF5A-4E4C01741FFB}"/>
          </ac:spMkLst>
        </pc:spChg>
        <pc:spChg chg="mod">
          <ac:chgData name="Batuhan Yildiz" userId="90f344fc-4655-4923-aeaf-697bba59c1a7" providerId="ADAL" clId="{C4D54E99-673C-43B2-A218-475B4FDEDCC6}" dt="2020-05-22T08:23:32.565" v="480" actId="1076"/>
          <ac:spMkLst>
            <pc:docMk/>
            <pc:sldMk cId="3635708424" sldId="674"/>
            <ac:spMk id="46" creationId="{E3FCA92E-9884-45B6-916F-C5AC36C501FD}"/>
          </ac:spMkLst>
        </pc:spChg>
        <pc:spChg chg="mod">
          <ac:chgData name="Batuhan Yildiz" userId="90f344fc-4655-4923-aeaf-697bba59c1a7" providerId="ADAL" clId="{C4D54E99-673C-43B2-A218-475B4FDEDCC6}" dt="2020-05-22T08:23:32.565" v="480" actId="1076"/>
          <ac:spMkLst>
            <pc:docMk/>
            <pc:sldMk cId="3635708424" sldId="674"/>
            <ac:spMk id="47" creationId="{F2EDBD66-B36C-429A-AE1F-E02A71EBA438}"/>
          </ac:spMkLst>
        </pc:spChg>
        <pc:spChg chg="mod">
          <ac:chgData name="Batuhan Yildiz" userId="90f344fc-4655-4923-aeaf-697bba59c1a7" providerId="ADAL" clId="{C4D54E99-673C-43B2-A218-475B4FDEDCC6}" dt="2020-05-22T08:22:48.999" v="476" actId="1076"/>
          <ac:spMkLst>
            <pc:docMk/>
            <pc:sldMk cId="3635708424" sldId="674"/>
            <ac:spMk id="49" creationId="{5ECB3842-04EF-4EC2-849E-DDF4BB486ADA}"/>
          </ac:spMkLst>
        </pc:spChg>
        <pc:spChg chg="mod">
          <ac:chgData name="Batuhan Yildiz" userId="90f344fc-4655-4923-aeaf-697bba59c1a7" providerId="ADAL" clId="{C4D54E99-673C-43B2-A218-475B4FDEDCC6}" dt="2020-05-22T08:22:48.999" v="476" actId="1076"/>
          <ac:spMkLst>
            <pc:docMk/>
            <pc:sldMk cId="3635708424" sldId="674"/>
            <ac:spMk id="50" creationId="{A2024A2B-73BF-4520-9136-7FF427B7DFD2}"/>
          </ac:spMkLst>
        </pc:spChg>
        <pc:spChg chg="mod">
          <ac:chgData name="Batuhan Yildiz" userId="90f344fc-4655-4923-aeaf-697bba59c1a7" providerId="ADAL" clId="{C4D54E99-673C-43B2-A218-475B4FDEDCC6}" dt="2020-05-22T08:22:48.999" v="476" actId="1076"/>
          <ac:spMkLst>
            <pc:docMk/>
            <pc:sldMk cId="3635708424" sldId="674"/>
            <ac:spMk id="51" creationId="{FFC4B298-B08F-46E3-8CFA-769603BBE463}"/>
          </ac:spMkLst>
        </pc:spChg>
        <pc:spChg chg="mod">
          <ac:chgData name="Batuhan Yildiz" userId="90f344fc-4655-4923-aeaf-697bba59c1a7" providerId="ADAL" clId="{C4D54E99-673C-43B2-A218-475B4FDEDCC6}" dt="2020-05-22T08:22:48.999" v="476" actId="1076"/>
          <ac:spMkLst>
            <pc:docMk/>
            <pc:sldMk cId="3635708424" sldId="674"/>
            <ac:spMk id="52" creationId="{02E51240-B60C-488C-852B-D27331345330}"/>
          </ac:spMkLst>
        </pc:spChg>
        <pc:spChg chg="mod">
          <ac:chgData name="Batuhan Yildiz" userId="90f344fc-4655-4923-aeaf-697bba59c1a7" providerId="ADAL" clId="{C4D54E99-673C-43B2-A218-475B4FDEDCC6}" dt="2020-05-22T08:22:48.999" v="476" actId="1076"/>
          <ac:spMkLst>
            <pc:docMk/>
            <pc:sldMk cId="3635708424" sldId="674"/>
            <ac:spMk id="53" creationId="{CC262049-B424-480F-A216-AFE2FFBF6AE2}"/>
          </ac:spMkLst>
        </pc:spChg>
        <pc:spChg chg="mod">
          <ac:chgData name="Batuhan Yildiz" userId="90f344fc-4655-4923-aeaf-697bba59c1a7" providerId="ADAL" clId="{C4D54E99-673C-43B2-A218-475B4FDEDCC6}" dt="2020-05-22T08:22:48.999" v="476" actId="1076"/>
          <ac:spMkLst>
            <pc:docMk/>
            <pc:sldMk cId="3635708424" sldId="674"/>
            <ac:spMk id="54" creationId="{4BD758F4-BB4A-49CF-AA88-0F62AD0706E0}"/>
          </ac:spMkLst>
        </pc:spChg>
        <pc:spChg chg="mod">
          <ac:chgData name="Batuhan Yildiz" userId="90f344fc-4655-4923-aeaf-697bba59c1a7" providerId="ADAL" clId="{C4D54E99-673C-43B2-A218-475B4FDEDCC6}" dt="2020-05-22T08:22:48.999" v="476" actId="1076"/>
          <ac:spMkLst>
            <pc:docMk/>
            <pc:sldMk cId="3635708424" sldId="674"/>
            <ac:spMk id="55" creationId="{EF7D9FF1-3D1F-4602-8D43-7DEB039B8161}"/>
          </ac:spMkLst>
        </pc:spChg>
        <pc:spChg chg="mod">
          <ac:chgData name="Batuhan Yildiz" userId="90f344fc-4655-4923-aeaf-697bba59c1a7" providerId="ADAL" clId="{C4D54E99-673C-43B2-A218-475B4FDEDCC6}" dt="2020-05-22T08:22:48.999" v="476" actId="1076"/>
          <ac:spMkLst>
            <pc:docMk/>
            <pc:sldMk cId="3635708424" sldId="674"/>
            <ac:spMk id="56" creationId="{1C77F3E9-8B2D-4C5F-84BC-097B92D802B2}"/>
          </ac:spMkLst>
        </pc:spChg>
        <pc:spChg chg="mod">
          <ac:chgData name="Batuhan Yildiz" userId="90f344fc-4655-4923-aeaf-697bba59c1a7" providerId="ADAL" clId="{C4D54E99-673C-43B2-A218-475B4FDEDCC6}" dt="2020-05-22T08:23:42.726" v="481" actId="1076"/>
          <ac:spMkLst>
            <pc:docMk/>
            <pc:sldMk cId="3635708424" sldId="674"/>
            <ac:spMk id="59" creationId="{906BF247-ED15-4778-B9BE-E14D89939CF8}"/>
          </ac:spMkLst>
        </pc:spChg>
        <pc:spChg chg="mod">
          <ac:chgData name="Batuhan Yildiz" userId="90f344fc-4655-4923-aeaf-697bba59c1a7" providerId="ADAL" clId="{C4D54E99-673C-43B2-A218-475B4FDEDCC6}" dt="2020-05-22T08:22:48.999" v="476" actId="1076"/>
          <ac:spMkLst>
            <pc:docMk/>
            <pc:sldMk cId="3635708424" sldId="674"/>
            <ac:spMk id="61" creationId="{F18D267F-4855-4442-9A1A-6DCA209171F0}"/>
          </ac:spMkLst>
        </pc:spChg>
        <pc:spChg chg="mod">
          <ac:chgData name="Batuhan Yildiz" userId="90f344fc-4655-4923-aeaf-697bba59c1a7" providerId="ADAL" clId="{C4D54E99-673C-43B2-A218-475B4FDEDCC6}" dt="2020-05-22T08:22:48.999" v="476" actId="1076"/>
          <ac:spMkLst>
            <pc:docMk/>
            <pc:sldMk cId="3635708424" sldId="674"/>
            <ac:spMk id="62" creationId="{973E1E38-EC29-48C5-A33A-FD197231BC97}"/>
          </ac:spMkLst>
        </pc:spChg>
        <pc:spChg chg="mod">
          <ac:chgData name="Batuhan Yildiz" userId="90f344fc-4655-4923-aeaf-697bba59c1a7" providerId="ADAL" clId="{C4D54E99-673C-43B2-A218-475B4FDEDCC6}" dt="2020-05-22T08:22:48.999" v="476" actId="1076"/>
          <ac:spMkLst>
            <pc:docMk/>
            <pc:sldMk cId="3635708424" sldId="674"/>
            <ac:spMk id="63" creationId="{18424563-91CE-4987-8DEE-3DB66E8C61B8}"/>
          </ac:spMkLst>
        </pc:spChg>
        <pc:spChg chg="mod">
          <ac:chgData name="Batuhan Yildiz" userId="90f344fc-4655-4923-aeaf-697bba59c1a7" providerId="ADAL" clId="{C4D54E99-673C-43B2-A218-475B4FDEDCC6}" dt="2020-05-22T08:23:32.565" v="480" actId="1076"/>
          <ac:spMkLst>
            <pc:docMk/>
            <pc:sldMk cId="3635708424" sldId="674"/>
            <ac:spMk id="64" creationId="{295E84C9-64F9-41E3-AB6A-3D4BEABA2B91}"/>
          </ac:spMkLst>
        </pc:spChg>
        <pc:grpChg chg="mod">
          <ac:chgData name="Batuhan Yildiz" userId="90f344fc-4655-4923-aeaf-697bba59c1a7" providerId="ADAL" clId="{C4D54E99-673C-43B2-A218-475B4FDEDCC6}" dt="2020-05-22T08:23:32.565" v="480" actId="1076"/>
          <ac:grpSpMkLst>
            <pc:docMk/>
            <pc:sldMk cId="3635708424" sldId="674"/>
            <ac:grpSpMk id="5" creationId="{AF017561-8886-4EE4-B0A2-0B0EF23EC8D9}"/>
          </ac:grpSpMkLst>
        </pc:grpChg>
        <pc:grpChg chg="mod">
          <ac:chgData name="Batuhan Yildiz" userId="90f344fc-4655-4923-aeaf-697bba59c1a7" providerId="ADAL" clId="{C4D54E99-673C-43B2-A218-475B4FDEDCC6}" dt="2020-05-22T08:23:32.565" v="480" actId="1076"/>
          <ac:grpSpMkLst>
            <pc:docMk/>
            <pc:sldMk cId="3635708424" sldId="674"/>
            <ac:grpSpMk id="8" creationId="{8EC2393B-288B-4BEE-8298-C7D85D28A9DD}"/>
          </ac:grpSpMkLst>
        </pc:grpChg>
        <pc:grpChg chg="mod">
          <ac:chgData name="Batuhan Yildiz" userId="90f344fc-4655-4923-aeaf-697bba59c1a7" providerId="ADAL" clId="{C4D54E99-673C-43B2-A218-475B4FDEDCC6}" dt="2020-05-22T08:23:32.565" v="480" actId="1076"/>
          <ac:grpSpMkLst>
            <pc:docMk/>
            <pc:sldMk cId="3635708424" sldId="674"/>
            <ac:grpSpMk id="11" creationId="{1B2E1ABD-81B7-4E54-BD1F-336E7BA240A8}"/>
          </ac:grpSpMkLst>
        </pc:grpChg>
        <pc:grpChg chg="mod">
          <ac:chgData name="Batuhan Yildiz" userId="90f344fc-4655-4923-aeaf-697bba59c1a7" providerId="ADAL" clId="{C4D54E99-673C-43B2-A218-475B4FDEDCC6}" dt="2020-05-22T08:23:32.565" v="480" actId="1076"/>
          <ac:grpSpMkLst>
            <pc:docMk/>
            <pc:sldMk cId="3635708424" sldId="674"/>
            <ac:grpSpMk id="14" creationId="{A78C5848-E335-4D50-8FA4-AC2B07B66098}"/>
          </ac:grpSpMkLst>
        </pc:grpChg>
        <pc:grpChg chg="mod">
          <ac:chgData name="Batuhan Yildiz" userId="90f344fc-4655-4923-aeaf-697bba59c1a7" providerId="ADAL" clId="{C4D54E99-673C-43B2-A218-475B4FDEDCC6}" dt="2020-05-22T08:23:32.565" v="480" actId="1076"/>
          <ac:grpSpMkLst>
            <pc:docMk/>
            <pc:sldMk cId="3635708424" sldId="674"/>
            <ac:grpSpMk id="17" creationId="{28BAA599-9049-452A-8AA6-58B758B506A2}"/>
          </ac:grpSpMkLst>
        </pc:grpChg>
        <pc:grpChg chg="mod">
          <ac:chgData name="Batuhan Yildiz" userId="90f344fc-4655-4923-aeaf-697bba59c1a7" providerId="ADAL" clId="{C4D54E99-673C-43B2-A218-475B4FDEDCC6}" dt="2020-05-22T08:23:32.565" v="480" actId="1076"/>
          <ac:grpSpMkLst>
            <pc:docMk/>
            <pc:sldMk cId="3635708424" sldId="674"/>
            <ac:grpSpMk id="20" creationId="{555F5EB5-5ADC-4368-B761-47525A458D88}"/>
          </ac:grpSpMkLst>
        </pc:grpChg>
        <pc:grpChg chg="mod">
          <ac:chgData name="Batuhan Yildiz" userId="90f344fc-4655-4923-aeaf-697bba59c1a7" providerId="ADAL" clId="{C4D54E99-673C-43B2-A218-475B4FDEDCC6}" dt="2020-05-22T08:23:32.565" v="480" actId="1076"/>
          <ac:grpSpMkLst>
            <pc:docMk/>
            <pc:sldMk cId="3635708424" sldId="674"/>
            <ac:grpSpMk id="23" creationId="{D00B00A2-913E-4848-9103-99A70BEB3F28}"/>
          </ac:grpSpMkLst>
        </pc:grpChg>
        <pc:grpChg chg="mod">
          <ac:chgData name="Batuhan Yildiz" userId="90f344fc-4655-4923-aeaf-697bba59c1a7" providerId="ADAL" clId="{C4D54E99-673C-43B2-A218-475B4FDEDCC6}" dt="2020-05-22T08:23:32.565" v="480" actId="1076"/>
          <ac:grpSpMkLst>
            <pc:docMk/>
            <pc:sldMk cId="3635708424" sldId="674"/>
            <ac:grpSpMk id="26" creationId="{F3BDA354-CD68-4D6B-83DE-B81A2721E3FE}"/>
          </ac:grpSpMkLst>
        </pc:grpChg>
        <pc:grpChg chg="mod">
          <ac:chgData name="Batuhan Yildiz" userId="90f344fc-4655-4923-aeaf-697bba59c1a7" providerId="ADAL" clId="{C4D54E99-673C-43B2-A218-475B4FDEDCC6}" dt="2020-05-22T08:23:32.565" v="480" actId="1076"/>
          <ac:grpSpMkLst>
            <pc:docMk/>
            <pc:sldMk cId="3635708424" sldId="674"/>
            <ac:grpSpMk id="29" creationId="{A09D5FBF-162D-4189-85B2-00C0DD1E2D44}"/>
          </ac:grpSpMkLst>
        </pc:grpChg>
        <pc:grpChg chg="mod">
          <ac:chgData name="Batuhan Yildiz" userId="90f344fc-4655-4923-aeaf-697bba59c1a7" providerId="ADAL" clId="{C4D54E99-673C-43B2-A218-475B4FDEDCC6}" dt="2020-05-22T08:23:32.565" v="480" actId="1076"/>
          <ac:grpSpMkLst>
            <pc:docMk/>
            <pc:sldMk cId="3635708424" sldId="674"/>
            <ac:grpSpMk id="67" creationId="{8735EC84-C8DF-49DC-964B-1544FCA9DAFE}"/>
          </ac:grpSpMkLst>
        </pc:grpChg>
        <pc:grpChg chg="mod">
          <ac:chgData name="Batuhan Yildiz" userId="90f344fc-4655-4923-aeaf-697bba59c1a7" providerId="ADAL" clId="{C4D54E99-673C-43B2-A218-475B4FDEDCC6}" dt="2020-05-22T08:23:42.726" v="481" actId="1076"/>
          <ac:grpSpMkLst>
            <pc:docMk/>
            <pc:sldMk cId="3635708424" sldId="674"/>
            <ac:grpSpMk id="68" creationId="{D6189825-43FA-4F36-AD40-2397CAFB6A61}"/>
          </ac:grpSpMkLst>
        </pc:grpChg>
        <pc:cxnChg chg="mod">
          <ac:chgData name="Batuhan Yildiz" userId="90f344fc-4655-4923-aeaf-697bba59c1a7" providerId="ADAL" clId="{C4D54E99-673C-43B2-A218-475B4FDEDCC6}" dt="2020-05-22T08:22:48.999" v="476" actId="1076"/>
          <ac:cxnSpMkLst>
            <pc:docMk/>
            <pc:sldMk cId="3635708424" sldId="674"/>
            <ac:cxnSpMk id="57" creationId="{E3835AC4-C5FF-4C23-A71E-77A0ECF7F821}"/>
          </ac:cxnSpMkLst>
        </pc:cxnChg>
        <pc:cxnChg chg="mod">
          <ac:chgData name="Batuhan Yildiz" userId="90f344fc-4655-4923-aeaf-697bba59c1a7" providerId="ADAL" clId="{C4D54E99-673C-43B2-A218-475B4FDEDCC6}" dt="2020-05-22T08:22:48.999" v="476" actId="1076"/>
          <ac:cxnSpMkLst>
            <pc:docMk/>
            <pc:sldMk cId="3635708424" sldId="674"/>
            <ac:cxnSpMk id="58" creationId="{89D58723-AFCA-4162-9425-ACEA1787F550}"/>
          </ac:cxnSpMkLst>
        </pc:cxnChg>
        <pc:cxnChg chg="mod">
          <ac:chgData name="Batuhan Yildiz" userId="90f344fc-4655-4923-aeaf-697bba59c1a7" providerId="ADAL" clId="{C4D54E99-673C-43B2-A218-475B4FDEDCC6}" dt="2020-05-22T08:22:48.999" v="476" actId="1076"/>
          <ac:cxnSpMkLst>
            <pc:docMk/>
            <pc:sldMk cId="3635708424" sldId="674"/>
            <ac:cxnSpMk id="60" creationId="{6613F88F-17C0-4E7C-8618-00EAA11F86D3}"/>
          </ac:cxnSpMkLst>
        </pc:cxnChg>
      </pc:sldChg>
      <pc:sldChg chg="modSp mod">
        <pc:chgData name="Batuhan Yildiz" userId="90f344fc-4655-4923-aeaf-697bba59c1a7" providerId="ADAL" clId="{C4D54E99-673C-43B2-A218-475B4FDEDCC6}" dt="2020-05-22T08:26:27.592" v="497" actId="1076"/>
        <pc:sldMkLst>
          <pc:docMk/>
          <pc:sldMk cId="1383739927" sldId="675"/>
        </pc:sldMkLst>
        <pc:spChg chg="mod">
          <ac:chgData name="Batuhan Yildiz" userId="90f344fc-4655-4923-aeaf-697bba59c1a7" providerId="ADAL" clId="{C4D54E99-673C-43B2-A218-475B4FDEDCC6}" dt="2020-05-22T08:26:26.503" v="496" actId="1076"/>
          <ac:spMkLst>
            <pc:docMk/>
            <pc:sldMk cId="1383739927" sldId="675"/>
            <ac:spMk id="38" creationId="{F14F7995-BA44-40E9-9688-471864B687D8}"/>
          </ac:spMkLst>
        </pc:spChg>
        <pc:spChg chg="mod">
          <ac:chgData name="Batuhan Yildiz" userId="90f344fc-4655-4923-aeaf-697bba59c1a7" providerId="ADAL" clId="{C4D54E99-673C-43B2-A218-475B4FDEDCC6}" dt="2020-05-22T08:26:27.592" v="497" actId="1076"/>
          <ac:spMkLst>
            <pc:docMk/>
            <pc:sldMk cId="1383739927" sldId="675"/>
            <ac:spMk id="53" creationId="{2C5C1A47-F6CD-4E42-B6DF-A1C35FEBCFD6}"/>
          </ac:spMkLst>
        </pc:spChg>
        <pc:spChg chg="mod">
          <ac:chgData name="Batuhan Yildiz" userId="90f344fc-4655-4923-aeaf-697bba59c1a7" providerId="ADAL" clId="{C4D54E99-673C-43B2-A218-475B4FDEDCC6}" dt="2020-05-22T08:26:27.592" v="497" actId="1076"/>
          <ac:spMkLst>
            <pc:docMk/>
            <pc:sldMk cId="1383739927" sldId="675"/>
            <ac:spMk id="56" creationId="{793972C5-BC52-45A1-86B1-9FEDF7952217}"/>
          </ac:spMkLst>
        </pc:spChg>
        <pc:grpChg chg="mod">
          <ac:chgData name="Batuhan Yildiz" userId="90f344fc-4655-4923-aeaf-697bba59c1a7" providerId="ADAL" clId="{C4D54E99-673C-43B2-A218-475B4FDEDCC6}" dt="2020-05-22T08:26:27.592" v="497" actId="1076"/>
          <ac:grpSpMkLst>
            <pc:docMk/>
            <pc:sldMk cId="1383739927" sldId="675"/>
            <ac:grpSpMk id="18" creationId="{0FCC5C94-11BD-43F4-A013-C1D7B5BB3BDB}"/>
          </ac:grpSpMkLst>
        </pc:grpChg>
        <pc:cxnChg chg="mod">
          <ac:chgData name="Batuhan Yildiz" userId="90f344fc-4655-4923-aeaf-697bba59c1a7" providerId="ADAL" clId="{C4D54E99-673C-43B2-A218-475B4FDEDCC6}" dt="2020-05-22T08:26:27.592" v="497" actId="1076"/>
          <ac:cxnSpMkLst>
            <pc:docMk/>
            <pc:sldMk cId="1383739927" sldId="675"/>
            <ac:cxnSpMk id="17" creationId="{643082BB-1DAC-46B5-AD16-D4C3DFA75C77}"/>
          </ac:cxnSpMkLst>
        </pc:cxnChg>
        <pc:cxnChg chg="mod">
          <ac:chgData name="Batuhan Yildiz" userId="90f344fc-4655-4923-aeaf-697bba59c1a7" providerId="ADAL" clId="{C4D54E99-673C-43B2-A218-475B4FDEDCC6}" dt="2020-05-22T08:26:27.592" v="497" actId="1076"/>
          <ac:cxnSpMkLst>
            <pc:docMk/>
            <pc:sldMk cId="1383739927" sldId="675"/>
            <ac:cxnSpMk id="52" creationId="{5012F121-8805-4428-8D42-E58E48F7130A}"/>
          </ac:cxnSpMkLst>
        </pc:cxnChg>
      </pc:sldChg>
      <pc:sldChg chg="delSp mod">
        <pc:chgData name="Batuhan Yildiz" userId="90f344fc-4655-4923-aeaf-697bba59c1a7" providerId="ADAL" clId="{C4D54E99-673C-43B2-A218-475B4FDEDCC6}" dt="2020-05-22T08:24:58.664" v="489" actId="478"/>
        <pc:sldMkLst>
          <pc:docMk/>
          <pc:sldMk cId="2423425577" sldId="678"/>
        </pc:sldMkLst>
        <pc:spChg chg="del">
          <ac:chgData name="Batuhan Yildiz" userId="90f344fc-4655-4923-aeaf-697bba59c1a7" providerId="ADAL" clId="{C4D54E99-673C-43B2-A218-475B4FDEDCC6}" dt="2020-05-22T08:24:58.664" v="489" actId="478"/>
          <ac:spMkLst>
            <pc:docMk/>
            <pc:sldMk cId="2423425577" sldId="678"/>
            <ac:spMk id="3" creationId="{B1D023C5-C0D2-4FCC-9E41-5FD37CAED508}"/>
          </ac:spMkLst>
        </pc:spChg>
      </pc:sldChg>
      <pc:sldChg chg="delSp mod">
        <pc:chgData name="Batuhan Yildiz" userId="90f344fc-4655-4923-aeaf-697bba59c1a7" providerId="ADAL" clId="{C4D54E99-673C-43B2-A218-475B4FDEDCC6}" dt="2020-05-22T08:30:46.383" v="516" actId="478"/>
        <pc:sldMkLst>
          <pc:docMk/>
          <pc:sldMk cId="2873864563" sldId="695"/>
        </pc:sldMkLst>
        <pc:spChg chg="del">
          <ac:chgData name="Batuhan Yildiz" userId="90f344fc-4655-4923-aeaf-697bba59c1a7" providerId="ADAL" clId="{C4D54E99-673C-43B2-A218-475B4FDEDCC6}" dt="2020-05-22T08:30:46.383" v="516" actId="478"/>
          <ac:spMkLst>
            <pc:docMk/>
            <pc:sldMk cId="2873864563" sldId="695"/>
            <ac:spMk id="3" creationId="{F35E8CBB-5A7D-4DEF-BAF7-8DD5D042F9E0}"/>
          </ac:spMkLst>
        </pc:spChg>
      </pc:sldChg>
      <pc:sldChg chg="addSp delSp modSp mod">
        <pc:chgData name="Batuhan Yildiz" userId="90f344fc-4655-4923-aeaf-697bba59c1a7" providerId="ADAL" clId="{C4D54E99-673C-43B2-A218-475B4FDEDCC6}" dt="2020-05-22T08:31:03.618" v="519" actId="478"/>
        <pc:sldMkLst>
          <pc:docMk/>
          <pc:sldMk cId="94860651" sldId="696"/>
        </pc:sldMkLst>
        <pc:spChg chg="del">
          <ac:chgData name="Batuhan Yildiz" userId="90f344fc-4655-4923-aeaf-697bba59c1a7" providerId="ADAL" clId="{C4D54E99-673C-43B2-A218-475B4FDEDCC6}" dt="2020-05-22T08:31:03.618" v="519" actId="478"/>
          <ac:spMkLst>
            <pc:docMk/>
            <pc:sldMk cId="94860651" sldId="696"/>
            <ac:spMk id="3" creationId="{F35E8CBB-5A7D-4DEF-BAF7-8DD5D042F9E0}"/>
          </ac:spMkLst>
        </pc:spChg>
        <pc:spChg chg="add del">
          <ac:chgData name="Batuhan Yildiz" userId="90f344fc-4655-4923-aeaf-697bba59c1a7" providerId="ADAL" clId="{C4D54E99-673C-43B2-A218-475B4FDEDCC6}" dt="2020-05-22T08:31:00.566" v="518" actId="478"/>
          <ac:spMkLst>
            <pc:docMk/>
            <pc:sldMk cId="94860651" sldId="696"/>
            <ac:spMk id="4" creationId="{F3616A99-090F-45E1-9334-58D58B148205}"/>
          </ac:spMkLst>
        </pc:spChg>
        <pc:spChg chg="add del mod">
          <ac:chgData name="Batuhan Yildiz" userId="90f344fc-4655-4923-aeaf-697bba59c1a7" providerId="ADAL" clId="{C4D54E99-673C-43B2-A218-475B4FDEDCC6}" dt="2020-05-22T08:31:00.566" v="518" actId="478"/>
          <ac:spMkLst>
            <pc:docMk/>
            <pc:sldMk cId="94860651" sldId="696"/>
            <ac:spMk id="10" creationId="{AF39AD8A-DBF5-4811-A8BB-FF0ADB0C6609}"/>
          </ac:spMkLst>
        </pc:spChg>
      </pc:sldChg>
      <pc:sldChg chg="addSp delSp modSp mod modClrScheme chgLayout">
        <pc:chgData name="Batuhan Yildiz" userId="90f344fc-4655-4923-aeaf-697bba59c1a7" providerId="ADAL" clId="{C4D54E99-673C-43B2-A218-475B4FDEDCC6}" dt="2020-05-22T07:48:40.728" v="225" actId="1076"/>
        <pc:sldMkLst>
          <pc:docMk/>
          <pc:sldMk cId="1667766974" sldId="1397"/>
        </pc:sldMkLst>
        <pc:spChg chg="mod ord">
          <ac:chgData name="Batuhan Yildiz" userId="90f344fc-4655-4923-aeaf-697bba59c1a7" providerId="ADAL" clId="{C4D54E99-673C-43B2-A218-475B4FDEDCC6}" dt="2020-05-22T07:48:21.343" v="221" actId="700"/>
          <ac:spMkLst>
            <pc:docMk/>
            <pc:sldMk cId="1667766974" sldId="1397"/>
            <ac:spMk id="2" creationId="{00000000-0000-0000-0000-000000000000}"/>
          </ac:spMkLst>
        </pc:spChg>
        <pc:spChg chg="add mod ord">
          <ac:chgData name="Batuhan Yildiz" userId="90f344fc-4655-4923-aeaf-697bba59c1a7" providerId="ADAL" clId="{C4D54E99-673C-43B2-A218-475B4FDEDCC6}" dt="2020-05-22T07:48:33.556" v="224" actId="5793"/>
          <ac:spMkLst>
            <pc:docMk/>
            <pc:sldMk cId="1667766974" sldId="1397"/>
            <ac:spMk id="3" creationId="{B563F7B7-5821-482F-94D3-83A28B00C545}"/>
          </ac:spMkLst>
        </pc:spChg>
        <pc:spChg chg="mod">
          <ac:chgData name="Batuhan Yildiz" userId="90f344fc-4655-4923-aeaf-697bba59c1a7" providerId="ADAL" clId="{C4D54E99-673C-43B2-A218-475B4FDEDCC6}" dt="2020-05-22T07:48:40.728" v="225" actId="1076"/>
          <ac:spMkLst>
            <pc:docMk/>
            <pc:sldMk cId="1667766974" sldId="1397"/>
            <ac:spMk id="6" creationId="{00000000-0000-0000-0000-000000000000}"/>
          </ac:spMkLst>
        </pc:spChg>
        <pc:spChg chg="del">
          <ac:chgData name="Batuhan Yildiz" userId="90f344fc-4655-4923-aeaf-697bba59c1a7" providerId="ADAL" clId="{C4D54E99-673C-43B2-A218-475B4FDEDCC6}" dt="2020-05-22T07:48:28.930" v="222" actId="478"/>
          <ac:spMkLst>
            <pc:docMk/>
            <pc:sldMk cId="1667766974" sldId="1397"/>
            <ac:spMk id="15" creationId="{00000000-0000-0000-0000-000000000000}"/>
          </ac:spMkLst>
        </pc:spChg>
      </pc:sldChg>
      <pc:sldChg chg="addSp delSp modSp mod modClrScheme chgLayout">
        <pc:chgData name="Batuhan Yildiz" userId="90f344fc-4655-4923-aeaf-697bba59c1a7" providerId="ADAL" clId="{C4D54E99-673C-43B2-A218-475B4FDEDCC6}" dt="2020-05-22T07:51:20.773" v="281" actId="1038"/>
        <pc:sldMkLst>
          <pc:docMk/>
          <pc:sldMk cId="3087139904" sldId="1402"/>
        </pc:sldMkLst>
        <pc:spChg chg="add del mod ord">
          <ac:chgData name="Batuhan Yildiz" userId="90f344fc-4655-4923-aeaf-697bba59c1a7" providerId="ADAL" clId="{C4D54E99-673C-43B2-A218-475B4FDEDCC6}" dt="2020-05-22T07:50:09.178" v="228" actId="700"/>
          <ac:spMkLst>
            <pc:docMk/>
            <pc:sldMk cId="3087139904" sldId="1402"/>
            <ac:spMk id="2" creationId="{347D95D9-18C5-4F08-AD4B-A6224C72312F}"/>
          </ac:spMkLst>
        </pc:spChg>
        <pc:spChg chg="add del mod ord">
          <ac:chgData name="Batuhan Yildiz" userId="90f344fc-4655-4923-aeaf-697bba59c1a7" providerId="ADAL" clId="{C4D54E99-673C-43B2-A218-475B4FDEDCC6}" dt="2020-05-22T07:50:09.178" v="228" actId="700"/>
          <ac:spMkLst>
            <pc:docMk/>
            <pc:sldMk cId="3087139904" sldId="1402"/>
            <ac:spMk id="3" creationId="{DC90914A-0CCC-4115-BE4B-BDBE5359F500}"/>
          </ac:spMkLst>
        </pc:spChg>
        <pc:spChg chg="mod">
          <ac:chgData name="Batuhan Yildiz" userId="90f344fc-4655-4923-aeaf-697bba59c1a7" providerId="ADAL" clId="{C4D54E99-673C-43B2-A218-475B4FDEDCC6}" dt="2020-05-22T07:51:20.773" v="281" actId="1038"/>
          <ac:spMkLst>
            <pc:docMk/>
            <pc:sldMk cId="3087139904" sldId="1402"/>
            <ac:spMk id="5" creationId="{00000000-0000-0000-0000-000000000000}"/>
          </ac:spMkLst>
        </pc:spChg>
        <pc:spChg chg="mod">
          <ac:chgData name="Batuhan Yildiz" userId="90f344fc-4655-4923-aeaf-697bba59c1a7" providerId="ADAL" clId="{C4D54E99-673C-43B2-A218-475B4FDEDCC6}" dt="2020-05-22T07:51:12.603" v="260" actId="1037"/>
          <ac:spMkLst>
            <pc:docMk/>
            <pc:sldMk cId="3087139904" sldId="1402"/>
            <ac:spMk id="9" creationId="{00000000-0000-0000-0000-000000000000}"/>
          </ac:spMkLst>
        </pc:spChg>
        <pc:spChg chg="del">
          <ac:chgData name="Batuhan Yildiz" userId="90f344fc-4655-4923-aeaf-697bba59c1a7" providerId="ADAL" clId="{C4D54E99-673C-43B2-A218-475B4FDEDCC6}" dt="2020-05-22T07:50:36.385" v="235" actId="478"/>
          <ac:spMkLst>
            <pc:docMk/>
            <pc:sldMk cId="3087139904" sldId="1402"/>
            <ac:spMk id="30" creationId="{00000000-0000-0000-0000-000000000000}"/>
          </ac:spMkLst>
        </pc:spChg>
        <pc:spChg chg="mod">
          <ac:chgData name="Batuhan Yildiz" userId="90f344fc-4655-4923-aeaf-697bba59c1a7" providerId="ADAL" clId="{C4D54E99-673C-43B2-A218-475B4FDEDCC6}" dt="2020-05-22T07:50:59.033" v="240" actId="14100"/>
          <ac:spMkLst>
            <pc:docMk/>
            <pc:sldMk cId="3087139904" sldId="1402"/>
            <ac:spMk id="31" creationId="{00000000-0000-0000-0000-000000000000}"/>
          </ac:spMkLst>
        </pc:spChg>
        <pc:spChg chg="add del mod ord">
          <ac:chgData name="Batuhan Yildiz" userId="90f344fc-4655-4923-aeaf-697bba59c1a7" providerId="ADAL" clId="{C4D54E99-673C-43B2-A218-475B4FDEDCC6}" dt="2020-05-22T07:50:32.967" v="234" actId="700"/>
          <ac:spMkLst>
            <pc:docMk/>
            <pc:sldMk cId="3087139904" sldId="1402"/>
            <ac:spMk id="32" creationId="{2BC965CD-6C5B-4754-BDD0-A19FC7132C8E}"/>
          </ac:spMkLst>
        </pc:spChg>
        <pc:spChg chg="add del mod ord">
          <ac:chgData name="Batuhan Yildiz" userId="90f344fc-4655-4923-aeaf-697bba59c1a7" providerId="ADAL" clId="{C4D54E99-673C-43B2-A218-475B4FDEDCC6}" dt="2020-05-22T07:50:32.967" v="234" actId="700"/>
          <ac:spMkLst>
            <pc:docMk/>
            <pc:sldMk cId="3087139904" sldId="1402"/>
            <ac:spMk id="33" creationId="{6BA04206-78DE-4CD5-8306-90D87C885362}"/>
          </ac:spMkLst>
        </pc:spChg>
        <pc:spChg chg="add mod ord">
          <ac:chgData name="Batuhan Yildiz" userId="90f344fc-4655-4923-aeaf-697bba59c1a7" providerId="ADAL" clId="{C4D54E99-673C-43B2-A218-475B4FDEDCC6}" dt="2020-05-22T07:50:45.541" v="238" actId="20577"/>
          <ac:spMkLst>
            <pc:docMk/>
            <pc:sldMk cId="3087139904" sldId="1402"/>
            <ac:spMk id="34" creationId="{26729B6B-51DA-46D7-B077-1AA1068C93D2}"/>
          </ac:spMkLst>
        </pc:spChg>
        <pc:spChg chg="add del mod ord">
          <ac:chgData name="Batuhan Yildiz" userId="90f344fc-4655-4923-aeaf-697bba59c1a7" providerId="ADAL" clId="{C4D54E99-673C-43B2-A218-475B4FDEDCC6}" dt="2020-05-22T07:51:05.197" v="241" actId="478"/>
          <ac:spMkLst>
            <pc:docMk/>
            <pc:sldMk cId="3087139904" sldId="1402"/>
            <ac:spMk id="35" creationId="{09A86652-103F-48C0-BEFE-D1FA55448223}"/>
          </ac:spMkLst>
        </pc:spChg>
      </pc:sldChg>
      <pc:sldChg chg="modSp mod modClrScheme chgLayout">
        <pc:chgData name="Batuhan Yildiz" userId="90f344fc-4655-4923-aeaf-697bba59c1a7" providerId="ADAL" clId="{C4D54E99-673C-43B2-A218-475B4FDEDCC6}" dt="2020-05-22T07:52:35.705" v="284" actId="700"/>
        <pc:sldMkLst>
          <pc:docMk/>
          <pc:sldMk cId="1483710239" sldId="1403"/>
        </pc:sldMkLst>
        <pc:spChg chg="mod ord">
          <ac:chgData name="Batuhan Yildiz" userId="90f344fc-4655-4923-aeaf-697bba59c1a7" providerId="ADAL" clId="{C4D54E99-673C-43B2-A218-475B4FDEDCC6}" dt="2020-05-22T07:52:35.705" v="284" actId="700"/>
          <ac:spMkLst>
            <pc:docMk/>
            <pc:sldMk cId="1483710239" sldId="1403"/>
            <ac:spMk id="2" creationId="{00000000-0000-0000-0000-000000000000}"/>
          </ac:spMkLst>
        </pc:spChg>
        <pc:spChg chg="mod ord">
          <ac:chgData name="Batuhan Yildiz" userId="90f344fc-4655-4923-aeaf-697bba59c1a7" providerId="ADAL" clId="{C4D54E99-673C-43B2-A218-475B4FDEDCC6}" dt="2020-05-22T07:52:35.705" v="284" actId="700"/>
          <ac:spMkLst>
            <pc:docMk/>
            <pc:sldMk cId="1483710239" sldId="1403"/>
            <ac:spMk id="3" creationId="{00000000-0000-0000-0000-000000000000}"/>
          </ac:spMkLst>
        </pc:spChg>
        <pc:grpChg chg="mod">
          <ac:chgData name="Batuhan Yildiz" userId="90f344fc-4655-4923-aeaf-697bba59c1a7" providerId="ADAL" clId="{C4D54E99-673C-43B2-A218-475B4FDEDCC6}" dt="2020-05-22T07:52:07.396" v="283" actId="207"/>
          <ac:grpSpMkLst>
            <pc:docMk/>
            <pc:sldMk cId="1483710239" sldId="1403"/>
            <ac:grpSpMk id="4"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55"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63"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71"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79"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87" creationId="{00000000-0000-0000-0000-000000000000}"/>
          </ac:grpSpMkLst>
        </pc:grpChg>
      </pc:sldChg>
      <pc:sldChg chg="modSp mod chgLayout">
        <pc:chgData name="Batuhan Yildiz" userId="90f344fc-4655-4923-aeaf-697bba59c1a7" providerId="ADAL" clId="{C4D54E99-673C-43B2-A218-475B4FDEDCC6}" dt="2020-05-22T07:53:32.849" v="286" actId="947"/>
        <pc:sldMkLst>
          <pc:docMk/>
          <pc:sldMk cId="235990786" sldId="1420"/>
        </pc:sldMkLst>
        <pc:spChg chg="mod ord">
          <ac:chgData name="Batuhan Yildiz" userId="90f344fc-4655-4923-aeaf-697bba59c1a7" providerId="ADAL" clId="{C4D54E99-673C-43B2-A218-475B4FDEDCC6}" dt="2020-05-22T07:53:25.879" v="285" actId="700"/>
          <ac:spMkLst>
            <pc:docMk/>
            <pc:sldMk cId="235990786" sldId="1420"/>
            <ac:spMk id="2" creationId="{00000000-0000-0000-0000-000000000000}"/>
          </ac:spMkLst>
        </pc:spChg>
        <pc:spChg chg="mod ord">
          <ac:chgData name="Batuhan Yildiz" userId="90f344fc-4655-4923-aeaf-697bba59c1a7" providerId="ADAL" clId="{C4D54E99-673C-43B2-A218-475B4FDEDCC6}" dt="2020-05-22T07:53:32.849" v="286" actId="947"/>
          <ac:spMkLst>
            <pc:docMk/>
            <pc:sldMk cId="235990786" sldId="1420"/>
            <ac:spMk id="3" creationId="{00000000-0000-0000-0000-000000000000}"/>
          </ac:spMkLst>
        </pc:spChg>
      </pc:sldChg>
      <pc:sldChg chg="modSp mod">
        <pc:chgData name="Batuhan Yildiz" userId="90f344fc-4655-4923-aeaf-697bba59c1a7" providerId="ADAL" clId="{C4D54E99-673C-43B2-A218-475B4FDEDCC6}" dt="2020-05-22T07:53:52.103" v="287" actId="1076"/>
        <pc:sldMkLst>
          <pc:docMk/>
          <pc:sldMk cId="996256290" sldId="1421"/>
        </pc:sldMkLst>
        <pc:picChg chg="mod">
          <ac:chgData name="Batuhan Yildiz" userId="90f344fc-4655-4923-aeaf-697bba59c1a7" providerId="ADAL" clId="{C4D54E99-673C-43B2-A218-475B4FDEDCC6}" dt="2020-05-22T07:53:52.103" v="287" actId="1076"/>
          <ac:picMkLst>
            <pc:docMk/>
            <pc:sldMk cId="996256290" sldId="1421"/>
            <ac:picMk id="5" creationId="{00000000-0000-0000-0000-000000000000}"/>
          </ac:picMkLst>
        </pc:picChg>
      </pc:sldChg>
      <pc:sldChg chg="addSp delSp modSp mod modClrScheme chgLayout">
        <pc:chgData name="Batuhan Yildiz" userId="90f344fc-4655-4923-aeaf-697bba59c1a7" providerId="ADAL" clId="{C4D54E99-673C-43B2-A218-475B4FDEDCC6}" dt="2020-05-22T07:56:09.141" v="299" actId="478"/>
        <pc:sldMkLst>
          <pc:docMk/>
          <pc:sldMk cId="2843153520" sldId="1422"/>
        </pc:sldMkLst>
        <pc:spChg chg="mod ord">
          <ac:chgData name="Batuhan Yildiz" userId="90f344fc-4655-4923-aeaf-697bba59c1a7" providerId="ADAL" clId="{C4D54E99-673C-43B2-A218-475B4FDEDCC6}" dt="2020-05-22T07:54:43.059" v="288" actId="700"/>
          <ac:spMkLst>
            <pc:docMk/>
            <pc:sldMk cId="2843153520" sldId="1422"/>
            <ac:spMk id="2" creationId="{00000000-0000-0000-0000-000000000000}"/>
          </ac:spMkLst>
        </pc:spChg>
        <pc:spChg chg="add del mod ord">
          <ac:chgData name="Batuhan Yildiz" userId="90f344fc-4655-4923-aeaf-697bba59c1a7" providerId="ADAL" clId="{C4D54E99-673C-43B2-A218-475B4FDEDCC6}" dt="2020-05-22T07:56:09.141" v="299" actId="478"/>
          <ac:spMkLst>
            <pc:docMk/>
            <pc:sldMk cId="2843153520" sldId="1422"/>
            <ac:spMk id="3" creationId="{B2D3A5ED-1D4A-4D27-B930-B7D23558DA72}"/>
          </ac:spMkLst>
        </pc:spChg>
        <pc:spChg chg="mod">
          <ac:chgData name="Batuhan Yildiz" userId="90f344fc-4655-4923-aeaf-697bba59c1a7" providerId="ADAL" clId="{C4D54E99-673C-43B2-A218-475B4FDEDCC6}" dt="2020-05-22T07:55:45.617" v="298" actId="14100"/>
          <ac:spMkLst>
            <pc:docMk/>
            <pc:sldMk cId="2843153520" sldId="1422"/>
            <ac:spMk id="4" creationId="{00000000-0000-0000-0000-000000000000}"/>
          </ac:spMkLst>
        </pc:spChg>
        <pc:spChg chg="mod">
          <ac:chgData name="Batuhan Yildiz" userId="90f344fc-4655-4923-aeaf-697bba59c1a7" providerId="ADAL" clId="{C4D54E99-673C-43B2-A218-475B4FDEDCC6}" dt="2020-05-22T07:54:53.221" v="289" actId="1076"/>
          <ac:spMkLst>
            <pc:docMk/>
            <pc:sldMk cId="2843153520" sldId="1422"/>
            <ac:spMk id="10" creationId="{00000000-0000-0000-0000-000000000000}"/>
          </ac:spMkLst>
        </pc:spChg>
        <pc:spChg chg="mod">
          <ac:chgData name="Batuhan Yildiz" userId="90f344fc-4655-4923-aeaf-697bba59c1a7" providerId="ADAL" clId="{C4D54E99-673C-43B2-A218-475B4FDEDCC6}" dt="2020-05-22T07:54:53.221" v="289" actId="1076"/>
          <ac:spMkLst>
            <pc:docMk/>
            <pc:sldMk cId="2843153520" sldId="1422"/>
            <ac:spMk id="11" creationId="{00000000-0000-0000-0000-000000000000}"/>
          </ac:spMkLst>
        </pc:spChg>
        <pc:spChg chg="mod">
          <ac:chgData name="Batuhan Yildiz" userId="90f344fc-4655-4923-aeaf-697bba59c1a7" providerId="ADAL" clId="{C4D54E99-673C-43B2-A218-475B4FDEDCC6}" dt="2020-05-22T07:54:53.221" v="289" actId="1076"/>
          <ac:spMkLst>
            <pc:docMk/>
            <pc:sldMk cId="2843153520" sldId="1422"/>
            <ac:spMk id="12" creationId="{00000000-0000-0000-0000-000000000000}"/>
          </ac:spMkLst>
        </pc:spChg>
        <pc:picChg chg="mod">
          <ac:chgData name="Batuhan Yildiz" userId="90f344fc-4655-4923-aeaf-697bba59c1a7" providerId="ADAL" clId="{C4D54E99-673C-43B2-A218-475B4FDEDCC6}" dt="2020-05-22T07:55:17.070" v="293" actId="14100"/>
          <ac:picMkLst>
            <pc:docMk/>
            <pc:sldMk cId="2843153520" sldId="1422"/>
            <ac:picMk id="6" creationId="{00000000-0000-0000-0000-000000000000}"/>
          </ac:picMkLst>
        </pc:picChg>
        <pc:picChg chg="mod">
          <ac:chgData name="Batuhan Yildiz" userId="90f344fc-4655-4923-aeaf-697bba59c1a7" providerId="ADAL" clId="{C4D54E99-673C-43B2-A218-475B4FDEDCC6}" dt="2020-05-22T07:55:26.400" v="295" actId="14100"/>
          <ac:picMkLst>
            <pc:docMk/>
            <pc:sldMk cId="2843153520" sldId="1422"/>
            <ac:picMk id="8" creationId="{00000000-0000-0000-0000-000000000000}"/>
          </ac:picMkLst>
        </pc:picChg>
      </pc:sldChg>
      <pc:sldChg chg="addSp delSp modSp mod modClrScheme chgLayout">
        <pc:chgData name="Batuhan Yildiz" userId="90f344fc-4655-4923-aeaf-697bba59c1a7" providerId="ADAL" clId="{C4D54E99-673C-43B2-A218-475B4FDEDCC6}" dt="2020-05-22T08:01:01.014" v="382" actId="478"/>
        <pc:sldMkLst>
          <pc:docMk/>
          <pc:sldMk cId="4231764735" sldId="1423"/>
        </pc:sldMkLst>
        <pc:spChg chg="mod ord">
          <ac:chgData name="Batuhan Yildiz" userId="90f344fc-4655-4923-aeaf-697bba59c1a7" providerId="ADAL" clId="{C4D54E99-673C-43B2-A218-475B4FDEDCC6}" dt="2020-05-22T07:56:42.751" v="302" actId="700"/>
          <ac:spMkLst>
            <pc:docMk/>
            <pc:sldMk cId="4231764735" sldId="1423"/>
            <ac:spMk id="2" creationId="{00000000-0000-0000-0000-000000000000}"/>
          </ac:spMkLst>
        </pc:spChg>
        <pc:spChg chg="add del mod ord">
          <ac:chgData name="Batuhan Yildiz" userId="90f344fc-4655-4923-aeaf-697bba59c1a7" providerId="ADAL" clId="{C4D54E99-673C-43B2-A218-475B4FDEDCC6}" dt="2020-05-22T07:56:42.751" v="302" actId="700"/>
          <ac:spMkLst>
            <pc:docMk/>
            <pc:sldMk cId="4231764735" sldId="1423"/>
            <ac:spMk id="3" creationId="{74B7908A-2B8A-4D14-977A-A2F88AEA474C}"/>
          </ac:spMkLst>
        </pc:spChg>
        <pc:spChg chg="add del mod ord">
          <ac:chgData name="Batuhan Yildiz" userId="90f344fc-4655-4923-aeaf-697bba59c1a7" providerId="ADAL" clId="{C4D54E99-673C-43B2-A218-475B4FDEDCC6}" dt="2020-05-22T08:01:01.014" v="382" actId="478"/>
          <ac:spMkLst>
            <pc:docMk/>
            <pc:sldMk cId="4231764735" sldId="1423"/>
            <ac:spMk id="4" creationId="{151B0094-E530-4755-9FA3-4C147295757B}"/>
          </ac:spMkLst>
        </pc:spChg>
        <pc:picChg chg="mod">
          <ac:chgData name="Batuhan Yildiz" userId="90f344fc-4655-4923-aeaf-697bba59c1a7" providerId="ADAL" clId="{C4D54E99-673C-43B2-A218-475B4FDEDCC6}" dt="2020-05-22T07:58:33.062" v="325" actId="1037"/>
          <ac:picMkLst>
            <pc:docMk/>
            <pc:sldMk cId="4231764735" sldId="1423"/>
            <ac:picMk id="22" creationId="{00000000-0000-0000-0000-000000000000}"/>
          </ac:picMkLst>
        </pc:picChg>
        <pc:picChg chg="mod">
          <ac:chgData name="Batuhan Yildiz" userId="90f344fc-4655-4923-aeaf-697bba59c1a7" providerId="ADAL" clId="{C4D54E99-673C-43B2-A218-475B4FDEDCC6}" dt="2020-05-22T07:59:18.428" v="365" actId="1076"/>
          <ac:picMkLst>
            <pc:docMk/>
            <pc:sldMk cId="4231764735" sldId="1423"/>
            <ac:picMk id="23" creationId="{00000000-0000-0000-0000-000000000000}"/>
          </ac:picMkLst>
        </pc:picChg>
        <pc:picChg chg="mod">
          <ac:chgData name="Batuhan Yildiz" userId="90f344fc-4655-4923-aeaf-697bba59c1a7" providerId="ADAL" clId="{C4D54E99-673C-43B2-A218-475B4FDEDCC6}" dt="2020-05-22T07:59:30.097" v="367" actId="1076"/>
          <ac:picMkLst>
            <pc:docMk/>
            <pc:sldMk cId="4231764735" sldId="1423"/>
            <ac:picMk id="24" creationId="{00000000-0000-0000-0000-000000000000}"/>
          </ac:picMkLst>
        </pc:picChg>
        <pc:picChg chg="mod">
          <ac:chgData name="Batuhan Yildiz" userId="90f344fc-4655-4923-aeaf-697bba59c1a7" providerId="ADAL" clId="{C4D54E99-673C-43B2-A218-475B4FDEDCC6}" dt="2020-05-22T07:59:38.422" v="369" actId="1076"/>
          <ac:picMkLst>
            <pc:docMk/>
            <pc:sldMk cId="4231764735" sldId="1423"/>
            <ac:picMk id="25" creationId="{00000000-0000-0000-0000-000000000000}"/>
          </ac:picMkLst>
        </pc:picChg>
        <pc:picChg chg="mod">
          <ac:chgData name="Batuhan Yildiz" userId="90f344fc-4655-4923-aeaf-697bba59c1a7" providerId="ADAL" clId="{C4D54E99-673C-43B2-A218-475B4FDEDCC6}" dt="2020-05-22T07:59:46.545" v="371" actId="1076"/>
          <ac:picMkLst>
            <pc:docMk/>
            <pc:sldMk cId="4231764735" sldId="1423"/>
            <ac:picMk id="26" creationId="{00000000-0000-0000-0000-000000000000}"/>
          </ac:picMkLst>
        </pc:picChg>
        <pc:picChg chg="mod">
          <ac:chgData name="Batuhan Yildiz" userId="90f344fc-4655-4923-aeaf-697bba59c1a7" providerId="ADAL" clId="{C4D54E99-673C-43B2-A218-475B4FDEDCC6}" dt="2020-05-22T08:00:00.996" v="374" actId="1076"/>
          <ac:picMkLst>
            <pc:docMk/>
            <pc:sldMk cId="4231764735" sldId="1423"/>
            <ac:picMk id="27" creationId="{00000000-0000-0000-0000-000000000000}"/>
          </ac:picMkLst>
        </pc:picChg>
        <pc:picChg chg="mod">
          <ac:chgData name="Batuhan Yildiz" userId="90f344fc-4655-4923-aeaf-697bba59c1a7" providerId="ADAL" clId="{C4D54E99-673C-43B2-A218-475B4FDEDCC6}" dt="2020-05-22T07:58:33.062" v="325" actId="1037"/>
          <ac:picMkLst>
            <pc:docMk/>
            <pc:sldMk cId="4231764735" sldId="1423"/>
            <ac:picMk id="28" creationId="{00000000-0000-0000-0000-000000000000}"/>
          </ac:picMkLst>
        </pc:picChg>
        <pc:picChg chg="mod">
          <ac:chgData name="Batuhan Yildiz" userId="90f344fc-4655-4923-aeaf-697bba59c1a7" providerId="ADAL" clId="{C4D54E99-673C-43B2-A218-475B4FDEDCC6}" dt="2020-05-22T07:59:18.428" v="365" actId="1076"/>
          <ac:picMkLst>
            <pc:docMk/>
            <pc:sldMk cId="4231764735" sldId="1423"/>
            <ac:picMk id="29" creationId="{00000000-0000-0000-0000-000000000000}"/>
          </ac:picMkLst>
        </pc:picChg>
        <pc:picChg chg="mod">
          <ac:chgData name="Batuhan Yildiz" userId="90f344fc-4655-4923-aeaf-697bba59c1a7" providerId="ADAL" clId="{C4D54E99-673C-43B2-A218-475B4FDEDCC6}" dt="2020-05-22T07:59:30.097" v="367" actId="1076"/>
          <ac:picMkLst>
            <pc:docMk/>
            <pc:sldMk cId="4231764735" sldId="1423"/>
            <ac:picMk id="30" creationId="{00000000-0000-0000-0000-000000000000}"/>
          </ac:picMkLst>
        </pc:picChg>
        <pc:picChg chg="mod">
          <ac:chgData name="Batuhan Yildiz" userId="90f344fc-4655-4923-aeaf-697bba59c1a7" providerId="ADAL" clId="{C4D54E99-673C-43B2-A218-475B4FDEDCC6}" dt="2020-05-22T07:59:38.422" v="369" actId="1076"/>
          <ac:picMkLst>
            <pc:docMk/>
            <pc:sldMk cId="4231764735" sldId="1423"/>
            <ac:picMk id="31" creationId="{00000000-0000-0000-0000-000000000000}"/>
          </ac:picMkLst>
        </pc:picChg>
        <pc:picChg chg="mod">
          <ac:chgData name="Batuhan Yildiz" userId="90f344fc-4655-4923-aeaf-697bba59c1a7" providerId="ADAL" clId="{C4D54E99-673C-43B2-A218-475B4FDEDCC6}" dt="2020-05-22T07:59:46.545" v="371" actId="1076"/>
          <ac:picMkLst>
            <pc:docMk/>
            <pc:sldMk cId="4231764735" sldId="1423"/>
            <ac:picMk id="32" creationId="{00000000-0000-0000-0000-000000000000}"/>
          </ac:picMkLst>
        </pc:picChg>
        <pc:picChg chg="add del mod">
          <ac:chgData name="Batuhan Yildiz" userId="90f344fc-4655-4923-aeaf-697bba59c1a7" providerId="ADAL" clId="{C4D54E99-673C-43B2-A218-475B4FDEDCC6}" dt="2020-05-22T08:00:57.246" v="381" actId="478"/>
          <ac:picMkLst>
            <pc:docMk/>
            <pc:sldMk cId="4231764735" sldId="1423"/>
            <ac:picMk id="33" creationId="{00000000-0000-0000-0000-000000000000}"/>
          </ac:picMkLst>
        </pc:picChg>
        <pc:cxnChg chg="mod">
          <ac:chgData name="Batuhan Yildiz" userId="90f344fc-4655-4923-aeaf-697bba59c1a7" providerId="ADAL" clId="{C4D54E99-673C-43B2-A218-475B4FDEDCC6}" dt="2020-05-22T08:00:43.319" v="379" actId="14100"/>
          <ac:cxnSpMkLst>
            <pc:docMk/>
            <pc:sldMk cId="4231764735" sldId="1423"/>
            <ac:cxnSpMk id="20"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4"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5"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6"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7" creationId="{00000000-0000-0000-0000-000000000000}"/>
          </ac:cxnSpMkLst>
        </pc:cxnChg>
      </pc:sldChg>
      <pc:sldChg chg="modSp mod modClrScheme chgLayout">
        <pc:chgData name="Batuhan Yildiz" userId="90f344fc-4655-4923-aeaf-697bba59c1a7" providerId="ADAL" clId="{C4D54E99-673C-43B2-A218-475B4FDEDCC6}" dt="2020-05-22T08:02:19.147" v="388" actId="5793"/>
        <pc:sldMkLst>
          <pc:docMk/>
          <pc:sldMk cId="4030353435" sldId="1424"/>
        </pc:sldMkLst>
        <pc:spChg chg="mod ord">
          <ac:chgData name="Batuhan Yildiz" userId="90f344fc-4655-4923-aeaf-697bba59c1a7" providerId="ADAL" clId="{C4D54E99-673C-43B2-A218-475B4FDEDCC6}" dt="2020-05-22T08:01:30.650" v="385" actId="700"/>
          <ac:spMkLst>
            <pc:docMk/>
            <pc:sldMk cId="4030353435" sldId="1424"/>
            <ac:spMk id="2" creationId="{00000000-0000-0000-0000-000000000000}"/>
          </ac:spMkLst>
        </pc:spChg>
        <pc:spChg chg="mod">
          <ac:chgData name="Batuhan Yildiz" userId="90f344fc-4655-4923-aeaf-697bba59c1a7" providerId="ADAL" clId="{C4D54E99-673C-43B2-A218-475B4FDEDCC6}" dt="2020-05-22T08:01:46.196" v="386" actId="1076"/>
          <ac:spMkLst>
            <pc:docMk/>
            <pc:sldMk cId="4030353435" sldId="1424"/>
            <ac:spMk id="17" creationId="{00000000-0000-0000-0000-000000000000}"/>
          </ac:spMkLst>
        </pc:spChg>
        <pc:spChg chg="mod ord">
          <ac:chgData name="Batuhan Yildiz" userId="90f344fc-4655-4923-aeaf-697bba59c1a7" providerId="ADAL" clId="{C4D54E99-673C-43B2-A218-475B4FDEDCC6}" dt="2020-05-22T08:02:19.147" v="388" actId="5793"/>
          <ac:spMkLst>
            <pc:docMk/>
            <pc:sldMk cId="4030353435" sldId="1424"/>
            <ac:spMk id="18" creationId="{00000000-0000-0000-0000-000000000000}"/>
          </ac:spMkLst>
        </pc:spChg>
        <pc:spChg chg="mod">
          <ac:chgData name="Batuhan Yildiz" userId="90f344fc-4655-4923-aeaf-697bba59c1a7" providerId="ADAL" clId="{C4D54E99-673C-43B2-A218-475B4FDEDCC6}" dt="2020-05-22T08:01:46.196" v="386" actId="1076"/>
          <ac:spMkLst>
            <pc:docMk/>
            <pc:sldMk cId="4030353435" sldId="1424"/>
            <ac:spMk id="21" creationId="{00000000-0000-0000-0000-000000000000}"/>
          </ac:spMkLst>
        </pc:spChg>
        <pc:picChg chg="mod">
          <ac:chgData name="Batuhan Yildiz" userId="90f344fc-4655-4923-aeaf-697bba59c1a7" providerId="ADAL" clId="{C4D54E99-673C-43B2-A218-475B4FDEDCC6}" dt="2020-05-22T08:01:46.196" v="386" actId="1076"/>
          <ac:picMkLst>
            <pc:docMk/>
            <pc:sldMk cId="4030353435" sldId="1424"/>
            <ac:picMk id="6"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7"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9"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0"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1"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2"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3"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4"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5"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6"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9"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20" creationId="{00000000-0000-0000-0000-000000000000}"/>
          </ac:picMkLst>
        </pc:picChg>
      </pc:sldChg>
      <pc:sldChg chg="modSp">
        <pc:chgData name="Batuhan Yildiz" userId="90f344fc-4655-4923-aeaf-697bba59c1a7" providerId="ADAL" clId="{C4D54E99-673C-43B2-A218-475B4FDEDCC6}" dt="2020-05-22T08:02:47.254" v="389" actId="12100"/>
        <pc:sldMkLst>
          <pc:docMk/>
          <pc:sldMk cId="1674344459" sldId="1467"/>
        </pc:sldMkLst>
        <pc:graphicFrameChg chg="mod">
          <ac:chgData name="Batuhan Yildiz" userId="90f344fc-4655-4923-aeaf-697bba59c1a7" providerId="ADAL" clId="{C4D54E99-673C-43B2-A218-475B4FDEDCC6}" dt="2020-05-22T08:02:47.254" v="389" actId="12100"/>
          <ac:graphicFrameMkLst>
            <pc:docMk/>
            <pc:sldMk cId="1674344459" sldId="1467"/>
            <ac:graphicFrameMk id="7" creationId="{7CF0440A-AB0B-4B21-A641-603244ADB1B5}"/>
          </ac:graphicFrameMkLst>
        </pc:graphicFrameChg>
      </pc:sldChg>
      <pc:sldChg chg="modSp mod">
        <pc:chgData name="Batuhan Yildiz" userId="90f344fc-4655-4923-aeaf-697bba59c1a7" providerId="ADAL" clId="{C4D54E99-673C-43B2-A218-475B4FDEDCC6}" dt="2020-05-22T08:07:19.566" v="408" actId="14100"/>
        <pc:sldMkLst>
          <pc:docMk/>
          <pc:sldMk cId="572847463" sldId="1469"/>
        </pc:sldMkLst>
        <pc:spChg chg="mod">
          <ac:chgData name="Batuhan Yildiz" userId="90f344fc-4655-4923-aeaf-697bba59c1a7" providerId="ADAL" clId="{C4D54E99-673C-43B2-A218-475B4FDEDCC6}" dt="2020-05-22T08:06:48.105" v="404" actId="14100"/>
          <ac:spMkLst>
            <pc:docMk/>
            <pc:sldMk cId="572847463" sldId="1469"/>
            <ac:spMk id="2" creationId="{00000000-0000-0000-0000-000000000000}"/>
          </ac:spMkLst>
        </pc:spChg>
        <pc:spChg chg="mod">
          <ac:chgData name="Batuhan Yildiz" userId="90f344fc-4655-4923-aeaf-697bba59c1a7" providerId="ADAL" clId="{C4D54E99-673C-43B2-A218-475B4FDEDCC6}" dt="2020-05-22T08:06:57.667" v="405" actId="14100"/>
          <ac:spMkLst>
            <pc:docMk/>
            <pc:sldMk cId="572847463" sldId="1469"/>
            <ac:spMk id="214" creationId="{00000000-0000-0000-0000-000000000000}"/>
          </ac:spMkLst>
        </pc:spChg>
        <pc:spChg chg="mod">
          <ac:chgData name="Batuhan Yildiz" userId="90f344fc-4655-4923-aeaf-697bba59c1a7" providerId="ADAL" clId="{C4D54E99-673C-43B2-A218-475B4FDEDCC6}" dt="2020-05-22T08:07:19.566" v="408" actId="14100"/>
          <ac:spMkLst>
            <pc:docMk/>
            <pc:sldMk cId="572847463" sldId="1469"/>
            <ac:spMk id="215" creationId="{00000000-0000-0000-0000-000000000000}"/>
          </ac:spMkLst>
        </pc:spChg>
      </pc:sldChg>
      <pc:sldChg chg="modSp">
        <pc:chgData name="Batuhan Yildiz" userId="90f344fc-4655-4923-aeaf-697bba59c1a7" providerId="ADAL" clId="{C4D54E99-673C-43B2-A218-475B4FDEDCC6}" dt="2020-05-22T07:51:35.739" v="282" actId="12100"/>
        <pc:sldMkLst>
          <pc:docMk/>
          <pc:sldMk cId="1643241759" sldId="1477"/>
        </pc:sldMkLst>
        <pc:graphicFrameChg chg="mod">
          <ac:chgData name="Batuhan Yildiz" userId="90f344fc-4655-4923-aeaf-697bba59c1a7" providerId="ADAL" clId="{C4D54E99-673C-43B2-A218-475B4FDEDCC6}" dt="2020-05-22T07:51:35.739" v="282" actId="12100"/>
          <ac:graphicFrameMkLst>
            <pc:docMk/>
            <pc:sldMk cId="1643241759" sldId="1477"/>
            <ac:graphicFrameMk id="2" creationId="{10BEAA2F-975D-43B8-A3ED-21D46931B276}"/>
          </ac:graphicFrameMkLst>
        </pc:graphicFrameChg>
      </pc:sldChg>
      <pc:sldChg chg="modSp">
        <pc:chgData name="Batuhan Yildiz" userId="90f344fc-4655-4923-aeaf-697bba59c1a7" providerId="ADAL" clId="{C4D54E99-673C-43B2-A218-475B4FDEDCC6}" dt="2020-05-22T08:03:08.531" v="390" actId="12100"/>
        <pc:sldMkLst>
          <pc:docMk/>
          <pc:sldMk cId="254203051" sldId="1478"/>
        </pc:sldMkLst>
        <pc:graphicFrameChg chg="mod">
          <ac:chgData name="Batuhan Yildiz" userId="90f344fc-4655-4923-aeaf-697bba59c1a7" providerId="ADAL" clId="{C4D54E99-673C-43B2-A218-475B4FDEDCC6}" dt="2020-05-22T08:03:08.531" v="390" actId="12100"/>
          <ac:graphicFrameMkLst>
            <pc:docMk/>
            <pc:sldMk cId="254203051" sldId="1478"/>
            <ac:graphicFrameMk id="2" creationId="{35B293EA-D7C7-4D4A-9462-7000FA3ABFA8}"/>
          </ac:graphicFrameMkLst>
        </pc:graphicFrameChg>
      </pc:sldChg>
      <pc:sldChg chg="delSp modSp mod">
        <pc:chgData name="Batuhan Yildiz" userId="90f344fc-4655-4923-aeaf-697bba59c1a7" providerId="ADAL" clId="{C4D54E99-673C-43B2-A218-475B4FDEDCC6}" dt="2020-05-22T08:08:05.893" v="410" actId="12100"/>
        <pc:sldMkLst>
          <pc:docMk/>
          <pc:sldMk cId="107517723" sldId="1479"/>
        </pc:sldMkLst>
        <pc:spChg chg="del">
          <ac:chgData name="Batuhan Yildiz" userId="90f344fc-4655-4923-aeaf-697bba59c1a7" providerId="ADAL" clId="{C4D54E99-673C-43B2-A218-475B4FDEDCC6}" dt="2020-05-22T08:07:57.465" v="409" actId="478"/>
          <ac:spMkLst>
            <pc:docMk/>
            <pc:sldMk cId="107517723" sldId="1479"/>
            <ac:spMk id="72" creationId="{C6D2AA96-DAE3-40A7-998A-F09B8BADA559}"/>
          </ac:spMkLst>
        </pc:spChg>
        <pc:graphicFrameChg chg="mod">
          <ac:chgData name="Batuhan Yildiz" userId="90f344fc-4655-4923-aeaf-697bba59c1a7" providerId="ADAL" clId="{C4D54E99-673C-43B2-A218-475B4FDEDCC6}" dt="2020-05-22T08:08:05.893" v="410" actId="12100"/>
          <ac:graphicFrameMkLst>
            <pc:docMk/>
            <pc:sldMk cId="107517723" sldId="1479"/>
            <ac:graphicFrameMk id="7" creationId="{ABD57352-C2AF-419B-B8C3-FCD9744EE404}"/>
          </ac:graphicFrameMkLst>
        </pc:graphicFrameChg>
      </pc:sldChg>
      <pc:sldChg chg="modSp mod modClrScheme chgLayout">
        <pc:chgData name="Batuhan Yildiz" userId="90f344fc-4655-4923-aeaf-697bba59c1a7" providerId="ADAL" clId="{C4D54E99-673C-43B2-A218-475B4FDEDCC6}" dt="2020-05-22T08:30:15.360" v="515"/>
        <pc:sldMkLst>
          <pc:docMk/>
          <pc:sldMk cId="1716151462" sldId="1480"/>
        </pc:sldMkLst>
        <pc:spChg chg="mod ord">
          <ac:chgData name="Batuhan Yildiz" userId="90f344fc-4655-4923-aeaf-697bba59c1a7" providerId="ADAL" clId="{C4D54E99-673C-43B2-A218-475B4FDEDCC6}" dt="2020-05-22T08:30:08.560" v="514" actId="700"/>
          <ac:spMkLst>
            <pc:docMk/>
            <pc:sldMk cId="1716151462" sldId="1480"/>
            <ac:spMk id="2" creationId="{EB67312A-9819-43C6-8D84-D9136E6CFFCC}"/>
          </ac:spMkLst>
        </pc:spChg>
        <pc:spChg chg="mod ord">
          <ac:chgData name="Batuhan Yildiz" userId="90f344fc-4655-4923-aeaf-697bba59c1a7" providerId="ADAL" clId="{C4D54E99-673C-43B2-A218-475B4FDEDCC6}" dt="2020-05-22T08:30:08.560" v="514" actId="700"/>
          <ac:spMkLst>
            <pc:docMk/>
            <pc:sldMk cId="1716151462" sldId="1480"/>
            <ac:spMk id="3" creationId="{F35E8CBB-5A7D-4DEF-BAF7-8DD5D042F9E0}"/>
          </ac:spMkLst>
        </pc:spChg>
        <pc:spChg chg="mod ord">
          <ac:chgData name="Batuhan Yildiz" userId="90f344fc-4655-4923-aeaf-697bba59c1a7" providerId="ADAL" clId="{C4D54E99-673C-43B2-A218-475B4FDEDCC6}" dt="2020-05-22T08:30:15.360" v="515"/>
          <ac:spMkLst>
            <pc:docMk/>
            <pc:sldMk cId="1716151462" sldId="1480"/>
            <ac:spMk id="4" creationId="{F3616A99-090F-45E1-9334-58D58B148205}"/>
          </ac:spMkLst>
        </pc:spChg>
      </pc:sldChg>
      <pc:sldChg chg="modSp">
        <pc:chgData name="Batuhan Yildiz" userId="90f344fc-4655-4923-aeaf-697bba59c1a7" providerId="ADAL" clId="{C4D54E99-673C-43B2-A218-475B4FDEDCC6}" dt="2020-05-22T08:24:38.355" v="488" actId="255"/>
        <pc:sldMkLst>
          <pc:docMk/>
          <pc:sldMk cId="565001887" sldId="1481"/>
        </pc:sldMkLst>
        <pc:graphicFrameChg chg="mod">
          <ac:chgData name="Batuhan Yildiz" userId="90f344fc-4655-4923-aeaf-697bba59c1a7" providerId="ADAL" clId="{C4D54E99-673C-43B2-A218-475B4FDEDCC6}" dt="2020-05-22T08:24:38.355" v="488" actId="255"/>
          <ac:graphicFrameMkLst>
            <pc:docMk/>
            <pc:sldMk cId="565001887" sldId="1481"/>
            <ac:graphicFrameMk id="5" creationId="{7D108DBB-E906-4DC1-A452-84D184316AB6}"/>
          </ac:graphicFrameMkLst>
        </pc:graphicFrameChg>
      </pc:sldChg>
      <pc:sldChg chg="modSp mod">
        <pc:chgData name="Batuhan Yildiz" userId="90f344fc-4655-4923-aeaf-697bba59c1a7" providerId="ADAL" clId="{C4D54E99-673C-43B2-A218-475B4FDEDCC6}" dt="2020-05-22T08:28:47.373" v="509" actId="27636"/>
        <pc:sldMkLst>
          <pc:docMk/>
          <pc:sldMk cId="179543186" sldId="1482"/>
        </pc:sldMkLst>
        <pc:spChg chg="mod">
          <ac:chgData name="Batuhan Yildiz" userId="90f344fc-4655-4923-aeaf-697bba59c1a7" providerId="ADAL" clId="{C4D54E99-673C-43B2-A218-475B4FDEDCC6}" dt="2020-05-22T08:28:47.373" v="509" actId="27636"/>
          <ac:spMkLst>
            <pc:docMk/>
            <pc:sldMk cId="179543186" sldId="1482"/>
            <ac:spMk id="12" creationId="{937A596A-4DB9-41DC-A815-80CF009972D6}"/>
          </ac:spMkLst>
        </pc:spChg>
      </pc:sldChg>
      <pc:sldChg chg="addSp delSp modSp mod">
        <pc:chgData name="Batuhan Yildiz" userId="90f344fc-4655-4923-aeaf-697bba59c1a7" providerId="ADAL" clId="{C4D54E99-673C-43B2-A218-475B4FDEDCC6}" dt="2020-05-22T08:32:20.516" v="529" actId="14100"/>
        <pc:sldMkLst>
          <pc:docMk/>
          <pc:sldMk cId="3951487755" sldId="1485"/>
        </pc:sldMkLst>
        <pc:spChg chg="del">
          <ac:chgData name="Batuhan Yildiz" userId="90f344fc-4655-4923-aeaf-697bba59c1a7" providerId="ADAL" clId="{C4D54E99-673C-43B2-A218-475B4FDEDCC6}" dt="2020-05-22T08:31:26.869" v="520" actId="478"/>
          <ac:spMkLst>
            <pc:docMk/>
            <pc:sldMk cId="3951487755" sldId="1485"/>
            <ac:spMk id="3" creationId="{F35E8CBB-5A7D-4DEF-BAF7-8DD5D042F9E0}"/>
          </ac:spMkLst>
        </pc:spChg>
        <pc:spChg chg="add mod">
          <ac:chgData name="Batuhan Yildiz" userId="90f344fc-4655-4923-aeaf-697bba59c1a7" providerId="ADAL" clId="{C4D54E99-673C-43B2-A218-475B4FDEDCC6}" dt="2020-05-22T08:31:30.467" v="521"/>
          <ac:spMkLst>
            <pc:docMk/>
            <pc:sldMk cId="3951487755" sldId="1485"/>
            <ac:spMk id="5" creationId="{261BB711-0337-4425-BB59-E5EECED897CF}"/>
          </ac:spMkLst>
        </pc:spChg>
        <pc:picChg chg="mod">
          <ac:chgData name="Batuhan Yildiz" userId="90f344fc-4655-4923-aeaf-697bba59c1a7" providerId="ADAL" clId="{C4D54E99-673C-43B2-A218-475B4FDEDCC6}" dt="2020-05-22T08:32:20.516" v="529" actId="14100"/>
          <ac:picMkLst>
            <pc:docMk/>
            <pc:sldMk cId="3951487755" sldId="1485"/>
            <ac:picMk id="8" creationId="{3158FC52-D673-43CA-86CE-208CAC593995}"/>
          </ac:picMkLst>
        </pc:picChg>
      </pc:sldChg>
      <pc:sldChg chg="delSp modSp mod">
        <pc:chgData name="Batuhan Yildiz" userId="90f344fc-4655-4923-aeaf-697bba59c1a7" providerId="ADAL" clId="{C4D54E99-673C-43B2-A218-475B4FDEDCC6}" dt="2020-05-22T08:33:52.863" v="535" actId="478"/>
        <pc:sldMkLst>
          <pc:docMk/>
          <pc:sldMk cId="2984945502" sldId="1487"/>
        </pc:sldMkLst>
        <pc:spChg chg="del">
          <ac:chgData name="Batuhan Yildiz" userId="90f344fc-4655-4923-aeaf-697bba59c1a7" providerId="ADAL" clId="{C4D54E99-673C-43B2-A218-475B4FDEDCC6}" dt="2020-05-22T08:33:52.863" v="535" actId="478"/>
          <ac:spMkLst>
            <pc:docMk/>
            <pc:sldMk cId="2984945502" sldId="1487"/>
            <ac:spMk id="3" creationId="{F35E8CBB-5A7D-4DEF-BAF7-8DD5D042F9E0}"/>
          </ac:spMkLst>
        </pc:spChg>
        <pc:graphicFrameChg chg="mod">
          <ac:chgData name="Batuhan Yildiz" userId="90f344fc-4655-4923-aeaf-697bba59c1a7" providerId="ADAL" clId="{C4D54E99-673C-43B2-A218-475B4FDEDCC6}" dt="2020-05-22T08:32:55.412" v="531" actId="12269"/>
          <ac:graphicFrameMkLst>
            <pc:docMk/>
            <pc:sldMk cId="2984945502" sldId="1487"/>
            <ac:graphicFrameMk id="6" creationId="{8E394C2A-1356-4FF1-B4AC-C37B3D8D3A89}"/>
          </ac:graphicFrameMkLst>
        </pc:graphicFrameChg>
      </pc:sldChg>
      <pc:sldChg chg="modSp mod">
        <pc:chgData name="Batuhan Yildiz" userId="90f344fc-4655-4923-aeaf-697bba59c1a7" providerId="ADAL" clId="{C4D54E99-673C-43B2-A218-475B4FDEDCC6}" dt="2020-05-22T08:34:04.834" v="537" actId="1076"/>
        <pc:sldMkLst>
          <pc:docMk/>
          <pc:sldMk cId="1346224666" sldId="1488"/>
        </pc:sldMkLst>
        <pc:graphicFrameChg chg="mod modGraphic">
          <ac:chgData name="Batuhan Yildiz" userId="90f344fc-4655-4923-aeaf-697bba59c1a7" providerId="ADAL" clId="{C4D54E99-673C-43B2-A218-475B4FDEDCC6}" dt="2020-05-22T08:34:04.834" v="537" actId="1076"/>
          <ac:graphicFrameMkLst>
            <pc:docMk/>
            <pc:sldMk cId="1346224666" sldId="1488"/>
            <ac:graphicFrameMk id="7" creationId="{0209C660-8EB9-40EC-A494-C81B64DB7263}"/>
          </ac:graphicFrameMkLst>
        </pc:graphicFrameChg>
      </pc:sldChg>
      <pc:sldChg chg="modSp">
        <pc:chgData name="Batuhan Yildiz" userId="90f344fc-4655-4923-aeaf-697bba59c1a7" providerId="ADAL" clId="{C4D54E99-673C-43B2-A218-475B4FDEDCC6}" dt="2020-05-22T08:34:32.385" v="538" actId="12100"/>
        <pc:sldMkLst>
          <pc:docMk/>
          <pc:sldMk cId="2854760315" sldId="1489"/>
        </pc:sldMkLst>
        <pc:graphicFrameChg chg="mod">
          <ac:chgData name="Batuhan Yildiz" userId="90f344fc-4655-4923-aeaf-697bba59c1a7" providerId="ADAL" clId="{C4D54E99-673C-43B2-A218-475B4FDEDCC6}" dt="2020-05-22T08:34:32.385" v="538" actId="12100"/>
          <ac:graphicFrameMkLst>
            <pc:docMk/>
            <pc:sldMk cId="2854760315" sldId="1489"/>
            <ac:graphicFrameMk id="4" creationId="{8E6A15FB-C436-4785-ACB8-B812481A9D36}"/>
          </ac:graphicFrameMkLst>
        </pc:graphicFrameChg>
      </pc:sldChg>
      <pc:sldChg chg="modSp">
        <pc:chgData name="Batuhan Yildiz" userId="90f344fc-4655-4923-aeaf-697bba59c1a7" providerId="ADAL" clId="{C4D54E99-673C-43B2-A218-475B4FDEDCC6}" dt="2020-05-22T08:15:11.661" v="456" actId="12100"/>
        <pc:sldMkLst>
          <pc:docMk/>
          <pc:sldMk cId="2378945749" sldId="1491"/>
        </pc:sldMkLst>
        <pc:graphicFrameChg chg="mod">
          <ac:chgData name="Batuhan Yildiz" userId="90f344fc-4655-4923-aeaf-697bba59c1a7" providerId="ADAL" clId="{C4D54E99-673C-43B2-A218-475B4FDEDCC6}" dt="2020-05-22T08:15:11.661" v="456" actId="12100"/>
          <ac:graphicFrameMkLst>
            <pc:docMk/>
            <pc:sldMk cId="2378945749" sldId="1491"/>
            <ac:graphicFrameMk id="4" creationId="{8E6A15FB-C436-4785-ACB8-B812481A9D36}"/>
          </ac:graphicFrameMkLst>
        </pc:graphicFrameChg>
      </pc:sldChg>
      <pc:sldChg chg="modSp">
        <pc:chgData name="Batuhan Yildiz" userId="90f344fc-4655-4923-aeaf-697bba59c1a7" providerId="ADAL" clId="{C4D54E99-673C-43B2-A218-475B4FDEDCC6}" dt="2020-05-22T08:35:22.684" v="539" actId="12100"/>
        <pc:sldMkLst>
          <pc:docMk/>
          <pc:sldMk cId="116317705" sldId="1492"/>
        </pc:sldMkLst>
        <pc:graphicFrameChg chg="mod">
          <ac:chgData name="Batuhan Yildiz" userId="90f344fc-4655-4923-aeaf-697bba59c1a7" providerId="ADAL" clId="{C4D54E99-673C-43B2-A218-475B4FDEDCC6}" dt="2020-05-22T08:35:22.684" v="539" actId="12100"/>
          <ac:graphicFrameMkLst>
            <pc:docMk/>
            <pc:sldMk cId="116317705" sldId="1492"/>
            <ac:graphicFrameMk id="9" creationId="{F7CC1D9E-88F5-456E-993A-578CEA5E3534}"/>
          </ac:graphicFrameMkLst>
        </pc:graphicFrameChg>
      </pc:sldChg>
      <pc:sldChg chg="delSp modSp mod">
        <pc:chgData name="Batuhan Yildiz" userId="90f344fc-4655-4923-aeaf-697bba59c1a7" providerId="ADAL" clId="{C4D54E99-673C-43B2-A218-475B4FDEDCC6}" dt="2020-05-22T08:16:56.778" v="465" actId="12100"/>
        <pc:sldMkLst>
          <pc:docMk/>
          <pc:sldMk cId="161408009" sldId="1493"/>
        </pc:sldMkLst>
        <pc:spChg chg="del">
          <ac:chgData name="Batuhan Yildiz" userId="90f344fc-4655-4923-aeaf-697bba59c1a7" providerId="ADAL" clId="{C4D54E99-673C-43B2-A218-475B4FDEDCC6}" dt="2020-05-22T08:16:13.796" v="458" actId="478"/>
          <ac:spMkLst>
            <pc:docMk/>
            <pc:sldMk cId="161408009" sldId="1493"/>
            <ac:spMk id="3" creationId="{F35E8CBB-5A7D-4DEF-BAF7-8DD5D042F9E0}"/>
          </ac:spMkLst>
        </pc:spChg>
        <pc:graphicFrameChg chg="mod">
          <ac:chgData name="Batuhan Yildiz" userId="90f344fc-4655-4923-aeaf-697bba59c1a7" providerId="ADAL" clId="{C4D54E99-673C-43B2-A218-475B4FDEDCC6}" dt="2020-05-22T08:16:56.778" v="465" actId="12100"/>
          <ac:graphicFrameMkLst>
            <pc:docMk/>
            <pc:sldMk cId="161408009" sldId="1493"/>
            <ac:graphicFrameMk id="6" creationId="{ECD4F830-3F57-4416-97C9-3E857291381E}"/>
          </ac:graphicFrameMkLst>
        </pc:graphicFrameChg>
      </pc:sldChg>
      <pc:sldChg chg="modSp">
        <pc:chgData name="Batuhan Yildiz" userId="90f344fc-4655-4923-aeaf-697bba59c1a7" providerId="ADAL" clId="{C4D54E99-673C-43B2-A218-475B4FDEDCC6}" dt="2020-05-22T08:16:06.396" v="457" actId="12100"/>
        <pc:sldMkLst>
          <pc:docMk/>
          <pc:sldMk cId="594598944" sldId="1494"/>
        </pc:sldMkLst>
        <pc:graphicFrameChg chg="mod">
          <ac:chgData name="Batuhan Yildiz" userId="90f344fc-4655-4923-aeaf-697bba59c1a7" providerId="ADAL" clId="{C4D54E99-673C-43B2-A218-475B4FDEDCC6}" dt="2020-05-22T08:16:06.396" v="457" actId="12100"/>
          <ac:graphicFrameMkLst>
            <pc:docMk/>
            <pc:sldMk cId="594598944" sldId="1494"/>
            <ac:graphicFrameMk id="6" creationId="{ECD4F830-3F57-4416-97C9-3E857291381E}"/>
          </ac:graphicFrameMkLst>
        </pc:graphicFrameChg>
      </pc:sldChg>
      <pc:sldChg chg="addSp delSp modSp new del mod modClrScheme chgLayout">
        <pc:chgData name="Batuhan Yildiz" userId="90f344fc-4655-4923-aeaf-697bba59c1a7" providerId="ADAL" clId="{C4D54E99-673C-43B2-A218-475B4FDEDCC6}" dt="2020-05-22T07:32:45.856" v="39" actId="47"/>
        <pc:sldMkLst>
          <pc:docMk/>
          <pc:sldMk cId="1000674253" sldId="1499"/>
        </pc:sldMkLst>
        <pc:spChg chg="del mod ord">
          <ac:chgData name="Batuhan Yildiz" userId="90f344fc-4655-4923-aeaf-697bba59c1a7" providerId="ADAL" clId="{C4D54E99-673C-43B2-A218-475B4FDEDCC6}" dt="2020-05-22T07:32:41.697" v="38" actId="700"/>
          <ac:spMkLst>
            <pc:docMk/>
            <pc:sldMk cId="1000674253" sldId="1499"/>
            <ac:spMk id="2" creationId="{828BF494-ADF3-44AD-8EFA-FF982D4535E3}"/>
          </ac:spMkLst>
        </pc:spChg>
        <pc:spChg chg="del mod ord">
          <ac:chgData name="Batuhan Yildiz" userId="90f344fc-4655-4923-aeaf-697bba59c1a7" providerId="ADAL" clId="{C4D54E99-673C-43B2-A218-475B4FDEDCC6}" dt="2020-05-22T07:32:41.697" v="38" actId="700"/>
          <ac:spMkLst>
            <pc:docMk/>
            <pc:sldMk cId="1000674253" sldId="1499"/>
            <ac:spMk id="3" creationId="{640DB7DF-08A3-46F9-94BD-94ABC571BE21}"/>
          </ac:spMkLst>
        </pc:spChg>
        <pc:spChg chg="del mod ord">
          <ac:chgData name="Batuhan Yildiz" userId="90f344fc-4655-4923-aeaf-697bba59c1a7" providerId="ADAL" clId="{C4D54E99-673C-43B2-A218-475B4FDEDCC6}" dt="2020-05-22T07:32:41.697" v="38" actId="700"/>
          <ac:spMkLst>
            <pc:docMk/>
            <pc:sldMk cId="1000674253" sldId="1499"/>
            <ac:spMk id="4" creationId="{4AFBFDF4-735D-44E5-9935-2319375EEE3F}"/>
          </ac:spMkLst>
        </pc:spChg>
        <pc:spChg chg="add mod ord">
          <ac:chgData name="Batuhan Yildiz" userId="90f344fc-4655-4923-aeaf-697bba59c1a7" providerId="ADAL" clId="{C4D54E99-673C-43B2-A218-475B4FDEDCC6}" dt="2020-05-22T07:32:41.697" v="38" actId="700"/>
          <ac:spMkLst>
            <pc:docMk/>
            <pc:sldMk cId="1000674253" sldId="1499"/>
            <ac:spMk id="5" creationId="{442221DE-DDB2-4E55-B2B7-9E677740FB05}"/>
          </ac:spMkLst>
        </pc:spChg>
        <pc:spChg chg="add mod ord">
          <ac:chgData name="Batuhan Yildiz" userId="90f344fc-4655-4923-aeaf-697bba59c1a7" providerId="ADAL" clId="{C4D54E99-673C-43B2-A218-475B4FDEDCC6}" dt="2020-05-22T07:32:41.697" v="38" actId="700"/>
          <ac:spMkLst>
            <pc:docMk/>
            <pc:sldMk cId="1000674253" sldId="1499"/>
            <ac:spMk id="6" creationId="{DF825345-1936-459C-BE50-6ED80F0CF3FC}"/>
          </ac:spMkLst>
        </pc:spChg>
        <pc:spChg chg="add mod ord">
          <ac:chgData name="Batuhan Yildiz" userId="90f344fc-4655-4923-aeaf-697bba59c1a7" providerId="ADAL" clId="{C4D54E99-673C-43B2-A218-475B4FDEDCC6}" dt="2020-05-22T07:32:41.697" v="38" actId="700"/>
          <ac:spMkLst>
            <pc:docMk/>
            <pc:sldMk cId="1000674253" sldId="1499"/>
            <ac:spMk id="7" creationId="{E4E53968-0295-4ABF-8FB3-40D7BA7A172D}"/>
          </ac:spMkLst>
        </pc:spChg>
        <pc:spChg chg="add mod ord">
          <ac:chgData name="Batuhan Yildiz" userId="90f344fc-4655-4923-aeaf-697bba59c1a7" providerId="ADAL" clId="{C4D54E99-673C-43B2-A218-475B4FDEDCC6}" dt="2020-05-22T07:32:41.697" v="38" actId="700"/>
          <ac:spMkLst>
            <pc:docMk/>
            <pc:sldMk cId="1000674253" sldId="1499"/>
            <ac:spMk id="8" creationId="{2761BA14-CC7F-4910-8F1A-331DBD10641B}"/>
          </ac:spMkLst>
        </pc:spChg>
      </pc:sldChg>
    </pc:docChg>
  </pc:docChgLst>
  <pc:docChgLst>
    <pc:chgData name="Batuhan Yildiz" userId="90f344fc-4655-4923-aeaf-697bba59c1a7" providerId="ADAL" clId="{280188D5-40FE-422E-A0E4-AFC6D08683F8}"/>
    <pc:docChg chg="undo custSel addSld modSld modMainMaster modSection">
      <pc:chgData name="Batuhan Yildiz" userId="90f344fc-4655-4923-aeaf-697bba59c1a7" providerId="ADAL" clId="{280188D5-40FE-422E-A0E4-AFC6D08683F8}" dt="2020-04-10T08:31:17.011" v="551" actId="478"/>
      <pc:docMkLst>
        <pc:docMk/>
      </pc:docMkLst>
      <pc:sldChg chg="modSp mod modNotesTx">
        <pc:chgData name="Batuhan Yildiz" userId="90f344fc-4655-4923-aeaf-697bba59c1a7" providerId="ADAL" clId="{280188D5-40FE-422E-A0E4-AFC6D08683F8}" dt="2020-04-06T15:52:43.018" v="420"/>
        <pc:sldMkLst>
          <pc:docMk/>
          <pc:sldMk cId="4267675391" sldId="531"/>
        </pc:sldMkLst>
        <pc:spChg chg="mod">
          <ac:chgData name="Batuhan Yildiz" userId="90f344fc-4655-4923-aeaf-697bba59c1a7" providerId="ADAL" clId="{280188D5-40FE-422E-A0E4-AFC6D08683F8}" dt="2020-04-03T17:12:56.218" v="6" actId="20577"/>
          <ac:spMkLst>
            <pc:docMk/>
            <pc:sldMk cId="4267675391" sldId="531"/>
            <ac:spMk id="3" creationId="{8F64A22E-2B43-4FC6-AF08-0CDB3F9E9269}"/>
          </ac:spMkLst>
        </pc:spChg>
        <pc:spChg chg="mod">
          <ac:chgData name="Batuhan Yildiz" userId="90f344fc-4655-4923-aeaf-697bba59c1a7" providerId="ADAL" clId="{280188D5-40FE-422E-A0E4-AFC6D08683F8}" dt="2020-04-03T17:13:21.919" v="16" actId="255"/>
          <ac:spMkLst>
            <pc:docMk/>
            <pc:sldMk cId="4267675391" sldId="531"/>
            <ac:spMk id="6" creationId="{637E159C-9ACF-48AE-927A-D5FB13695C7F}"/>
          </ac:spMkLst>
        </pc:spChg>
      </pc:sldChg>
      <pc:sldChg chg="modSp mod">
        <pc:chgData name="Batuhan Yildiz" userId="90f344fc-4655-4923-aeaf-697bba59c1a7" providerId="ADAL" clId="{280188D5-40FE-422E-A0E4-AFC6D08683F8}" dt="2020-04-06T15:51:57.472" v="406" actId="20577"/>
        <pc:sldMkLst>
          <pc:docMk/>
          <pc:sldMk cId="1615560134" sldId="562"/>
        </pc:sldMkLst>
        <pc:spChg chg="mod">
          <ac:chgData name="Batuhan Yildiz" userId="90f344fc-4655-4923-aeaf-697bba59c1a7" providerId="ADAL" clId="{280188D5-40FE-422E-A0E4-AFC6D08683F8}" dt="2020-04-06T15:51:57.472" v="406" actId="20577"/>
          <ac:spMkLst>
            <pc:docMk/>
            <pc:sldMk cId="1615560134" sldId="562"/>
            <ac:spMk id="3" creationId="{859B2BAE-A383-4E74-B3CF-9AC64DA11727}"/>
          </ac:spMkLst>
        </pc:spChg>
      </pc:sldChg>
      <pc:sldChg chg="modSp mod modNotesTx">
        <pc:chgData name="Batuhan Yildiz" userId="90f344fc-4655-4923-aeaf-697bba59c1a7" providerId="ADAL" clId="{280188D5-40FE-422E-A0E4-AFC6D08683F8}" dt="2020-04-06T15:56:57.819" v="457"/>
        <pc:sldMkLst>
          <pc:docMk/>
          <pc:sldMk cId="1487953619" sldId="574"/>
        </pc:sldMkLst>
        <pc:spChg chg="mod">
          <ac:chgData name="Batuhan Yildiz" userId="90f344fc-4655-4923-aeaf-697bba59c1a7" providerId="ADAL" clId="{280188D5-40FE-422E-A0E4-AFC6D08683F8}" dt="2020-04-03T18:37:44.580" v="155" actId="20577"/>
          <ac:spMkLst>
            <pc:docMk/>
            <pc:sldMk cId="1487953619" sldId="574"/>
            <ac:spMk id="3" creationId="{8F64A22E-2B43-4FC6-AF08-0CDB3F9E9269}"/>
          </ac:spMkLst>
        </pc:spChg>
        <pc:spChg chg="mod">
          <ac:chgData name="Batuhan Yildiz" userId="90f344fc-4655-4923-aeaf-697bba59c1a7" providerId="ADAL" clId="{280188D5-40FE-422E-A0E4-AFC6D08683F8}" dt="2020-04-03T18:37:56.896" v="160" actId="113"/>
          <ac:spMkLst>
            <pc:docMk/>
            <pc:sldMk cId="1487953619" sldId="574"/>
            <ac:spMk id="6" creationId="{637E159C-9ACF-48AE-927A-D5FB13695C7F}"/>
          </ac:spMkLst>
        </pc:spChg>
      </pc:sldChg>
      <pc:sldChg chg="modNotesTx">
        <pc:chgData name="Batuhan Yildiz" userId="90f344fc-4655-4923-aeaf-697bba59c1a7" providerId="ADAL" clId="{280188D5-40FE-422E-A0E4-AFC6D08683F8}" dt="2020-04-06T15:59:09.199" v="472"/>
        <pc:sldMkLst>
          <pc:docMk/>
          <pc:sldMk cId="3006523152" sldId="581"/>
        </pc:sldMkLst>
      </pc:sldChg>
      <pc:sldChg chg="modSp mod modNotesTx">
        <pc:chgData name="Batuhan Yildiz" userId="90f344fc-4655-4923-aeaf-697bba59c1a7" providerId="ADAL" clId="{280188D5-40FE-422E-A0E4-AFC6D08683F8}" dt="2020-04-06T16:01:38.227" v="485" actId="6549"/>
        <pc:sldMkLst>
          <pc:docMk/>
          <pc:sldMk cId="1564438252" sldId="588"/>
        </pc:sldMkLst>
        <pc:spChg chg="mod">
          <ac:chgData name="Batuhan Yildiz" userId="90f344fc-4655-4923-aeaf-697bba59c1a7" providerId="ADAL" clId="{280188D5-40FE-422E-A0E4-AFC6D08683F8}" dt="2020-04-03T19:27:28.233" v="286" actId="20577"/>
          <ac:spMkLst>
            <pc:docMk/>
            <pc:sldMk cId="1564438252" sldId="588"/>
            <ac:spMk id="3" creationId="{8F64A22E-2B43-4FC6-AF08-0CDB3F9E9269}"/>
          </ac:spMkLst>
        </pc:spChg>
        <pc:spChg chg="mod">
          <ac:chgData name="Batuhan Yildiz" userId="90f344fc-4655-4923-aeaf-697bba59c1a7" providerId="ADAL" clId="{280188D5-40FE-422E-A0E4-AFC6D08683F8}" dt="2020-04-03T19:27:37.163" v="289" actId="113"/>
          <ac:spMkLst>
            <pc:docMk/>
            <pc:sldMk cId="1564438252" sldId="588"/>
            <ac:spMk id="6" creationId="{637E159C-9ACF-48AE-927A-D5FB13695C7F}"/>
          </ac:spMkLst>
        </pc:spChg>
      </pc:sldChg>
      <pc:sldChg chg="modNotesTx">
        <pc:chgData name="Batuhan Yildiz" userId="90f344fc-4655-4923-aeaf-697bba59c1a7" providerId="ADAL" clId="{280188D5-40FE-422E-A0E4-AFC6D08683F8}" dt="2020-04-06T16:02:13.896" v="496" actId="20577"/>
        <pc:sldMkLst>
          <pc:docMk/>
          <pc:sldMk cId="2725246263" sldId="589"/>
        </pc:sldMkLst>
      </pc:sldChg>
      <pc:sldChg chg="modSp mod modNotesTx">
        <pc:chgData name="Batuhan Yildiz" userId="90f344fc-4655-4923-aeaf-697bba59c1a7" providerId="ADAL" clId="{280188D5-40FE-422E-A0E4-AFC6D08683F8}" dt="2020-04-06T16:08:53.583" v="548" actId="20577"/>
        <pc:sldMkLst>
          <pc:docMk/>
          <pc:sldMk cId="1274964080" sldId="596"/>
        </pc:sldMkLst>
        <pc:spChg chg="mod">
          <ac:chgData name="Batuhan Yildiz" userId="90f344fc-4655-4923-aeaf-697bba59c1a7" providerId="ADAL" clId="{280188D5-40FE-422E-A0E4-AFC6D08683F8}" dt="2020-04-03T21:02:56.985" v="404"/>
          <ac:spMkLst>
            <pc:docMk/>
            <pc:sldMk cId="1274964080" sldId="596"/>
            <ac:spMk id="2" creationId="{BC57B38C-8413-4861-A4F5-7DF656AEAD0D}"/>
          </ac:spMkLst>
        </pc:spChg>
      </pc:sldChg>
      <pc:sldChg chg="modSp mod modNotesTx">
        <pc:chgData name="Batuhan Yildiz" userId="90f344fc-4655-4923-aeaf-697bba59c1a7" providerId="ADAL" clId="{280188D5-40FE-422E-A0E4-AFC6D08683F8}" dt="2020-04-06T15:53:14.653" v="424"/>
        <pc:sldMkLst>
          <pc:docMk/>
          <pc:sldMk cId="3117416934" sldId="620"/>
        </pc:sldMkLst>
        <pc:spChg chg="mod">
          <ac:chgData name="Batuhan Yildiz" userId="90f344fc-4655-4923-aeaf-697bba59c1a7" providerId="ADAL" clId="{280188D5-40FE-422E-A0E4-AFC6D08683F8}" dt="2020-04-03T17:15:52.095" v="41" actId="20577"/>
          <ac:spMkLst>
            <pc:docMk/>
            <pc:sldMk cId="3117416934" sldId="620"/>
            <ac:spMk id="3" creationId="{8F64A22E-2B43-4FC6-AF08-0CDB3F9E9269}"/>
          </ac:spMkLst>
        </pc:spChg>
        <pc:spChg chg="mod">
          <ac:chgData name="Batuhan Yildiz" userId="90f344fc-4655-4923-aeaf-697bba59c1a7" providerId="ADAL" clId="{280188D5-40FE-422E-A0E4-AFC6D08683F8}" dt="2020-04-03T17:16:00.316" v="44" actId="113"/>
          <ac:spMkLst>
            <pc:docMk/>
            <pc:sldMk cId="3117416934" sldId="620"/>
            <ac:spMk id="6" creationId="{637E159C-9ACF-48AE-927A-D5FB13695C7F}"/>
          </ac:spMkLst>
        </pc:spChg>
      </pc:sldChg>
      <pc:sldChg chg="modSp mod modNotesTx">
        <pc:chgData name="Batuhan Yildiz" userId="90f344fc-4655-4923-aeaf-697bba59c1a7" providerId="ADAL" clId="{280188D5-40FE-422E-A0E4-AFC6D08683F8}" dt="2020-04-06T15:54:00.060" v="435" actId="20577"/>
        <pc:sldMkLst>
          <pc:docMk/>
          <pc:sldMk cId="1706074310" sldId="624"/>
        </pc:sldMkLst>
        <pc:spChg chg="mod">
          <ac:chgData name="Batuhan Yildiz" userId="90f344fc-4655-4923-aeaf-697bba59c1a7" providerId="ADAL" clId="{280188D5-40FE-422E-A0E4-AFC6D08683F8}" dt="2020-04-03T18:23:04.132" v="62" actId="20577"/>
          <ac:spMkLst>
            <pc:docMk/>
            <pc:sldMk cId="1706074310" sldId="624"/>
            <ac:spMk id="3" creationId="{8F64A22E-2B43-4FC6-AF08-0CDB3F9E9269}"/>
          </ac:spMkLst>
        </pc:spChg>
        <pc:spChg chg="mod">
          <ac:chgData name="Batuhan Yildiz" userId="90f344fc-4655-4923-aeaf-697bba59c1a7" providerId="ADAL" clId="{280188D5-40FE-422E-A0E4-AFC6D08683F8}" dt="2020-04-03T18:23:19.741" v="67" actId="113"/>
          <ac:spMkLst>
            <pc:docMk/>
            <pc:sldMk cId="1706074310" sldId="624"/>
            <ac:spMk id="6" creationId="{637E159C-9ACF-48AE-927A-D5FB13695C7F}"/>
          </ac:spMkLst>
        </pc:spChg>
      </pc:sldChg>
      <pc:sldChg chg="modSp mod modNotesTx">
        <pc:chgData name="Batuhan Yildiz" userId="90f344fc-4655-4923-aeaf-697bba59c1a7" providerId="ADAL" clId="{280188D5-40FE-422E-A0E4-AFC6D08683F8}" dt="2020-04-06T15:54:36.700" v="439"/>
        <pc:sldMkLst>
          <pc:docMk/>
          <pc:sldMk cId="840088110" sldId="630"/>
        </pc:sldMkLst>
        <pc:spChg chg="mod">
          <ac:chgData name="Batuhan Yildiz" userId="90f344fc-4655-4923-aeaf-697bba59c1a7" providerId="ADAL" clId="{280188D5-40FE-422E-A0E4-AFC6D08683F8}" dt="2020-04-03T18:27:16.122" v="84" actId="20577"/>
          <ac:spMkLst>
            <pc:docMk/>
            <pc:sldMk cId="840088110" sldId="630"/>
            <ac:spMk id="3" creationId="{8F64A22E-2B43-4FC6-AF08-0CDB3F9E9269}"/>
          </ac:spMkLst>
        </pc:spChg>
        <pc:spChg chg="mod">
          <ac:chgData name="Batuhan Yildiz" userId="90f344fc-4655-4923-aeaf-697bba59c1a7" providerId="ADAL" clId="{280188D5-40FE-422E-A0E4-AFC6D08683F8}" dt="2020-04-03T18:27:25.552" v="88" actId="113"/>
          <ac:spMkLst>
            <pc:docMk/>
            <pc:sldMk cId="840088110" sldId="630"/>
            <ac:spMk id="6" creationId="{637E159C-9ACF-48AE-927A-D5FB13695C7F}"/>
          </ac:spMkLst>
        </pc:spChg>
      </pc:sldChg>
      <pc:sldChg chg="modSp mod modNotesTx">
        <pc:chgData name="Batuhan Yildiz" userId="90f344fc-4655-4923-aeaf-697bba59c1a7" providerId="ADAL" clId="{280188D5-40FE-422E-A0E4-AFC6D08683F8}" dt="2020-04-06T15:55:52.497" v="447"/>
        <pc:sldMkLst>
          <pc:docMk/>
          <pc:sldMk cId="2114274025" sldId="633"/>
        </pc:sldMkLst>
        <pc:spChg chg="mod">
          <ac:chgData name="Batuhan Yildiz" userId="90f344fc-4655-4923-aeaf-697bba59c1a7" providerId="ADAL" clId="{280188D5-40FE-422E-A0E4-AFC6D08683F8}" dt="2020-04-03T18:34:06.167" v="149" actId="20577"/>
          <ac:spMkLst>
            <pc:docMk/>
            <pc:sldMk cId="2114274025" sldId="633"/>
            <ac:spMk id="3" creationId="{8F64A22E-2B43-4FC6-AF08-0CDB3F9E9269}"/>
          </ac:spMkLst>
        </pc:spChg>
        <pc:spChg chg="mod">
          <ac:chgData name="Batuhan Yildiz" userId="90f344fc-4655-4923-aeaf-697bba59c1a7" providerId="ADAL" clId="{280188D5-40FE-422E-A0E4-AFC6D08683F8}" dt="2020-04-03T18:34:19.938" v="152" actId="113"/>
          <ac:spMkLst>
            <pc:docMk/>
            <pc:sldMk cId="2114274025" sldId="633"/>
            <ac:spMk id="6" creationId="{637E159C-9ACF-48AE-927A-D5FB13695C7F}"/>
          </ac:spMkLst>
        </pc:spChg>
      </pc:sldChg>
      <pc:sldChg chg="modSp mod modNotesTx">
        <pc:chgData name="Batuhan Yildiz" userId="90f344fc-4655-4923-aeaf-697bba59c1a7" providerId="ADAL" clId="{280188D5-40FE-422E-A0E4-AFC6D08683F8}" dt="2020-04-06T16:00:03.173" v="476"/>
        <pc:sldMkLst>
          <pc:docMk/>
          <pc:sldMk cId="3912230581" sldId="658"/>
        </pc:sldMkLst>
        <pc:spChg chg="mod">
          <ac:chgData name="Batuhan Yildiz" userId="90f344fc-4655-4923-aeaf-697bba59c1a7" providerId="ADAL" clId="{280188D5-40FE-422E-A0E4-AFC6D08683F8}" dt="2020-04-03T19:03:28.220" v="222" actId="20577"/>
          <ac:spMkLst>
            <pc:docMk/>
            <pc:sldMk cId="3912230581" sldId="658"/>
            <ac:spMk id="3" creationId="{8F64A22E-2B43-4FC6-AF08-0CDB3F9E9269}"/>
          </ac:spMkLst>
        </pc:spChg>
        <pc:spChg chg="mod">
          <ac:chgData name="Batuhan Yildiz" userId="90f344fc-4655-4923-aeaf-697bba59c1a7" providerId="ADAL" clId="{280188D5-40FE-422E-A0E4-AFC6D08683F8}" dt="2020-04-03T19:03:37.081" v="225" actId="113"/>
          <ac:spMkLst>
            <pc:docMk/>
            <pc:sldMk cId="3912230581" sldId="658"/>
            <ac:spMk id="6" creationId="{637E159C-9ACF-48AE-927A-D5FB13695C7F}"/>
          </ac:spMkLst>
        </pc:spChg>
      </pc:sldChg>
      <pc:sldChg chg="modSp mod modNotesTx">
        <pc:chgData name="Batuhan Yildiz" userId="90f344fc-4655-4923-aeaf-697bba59c1a7" providerId="ADAL" clId="{280188D5-40FE-422E-A0E4-AFC6D08683F8}" dt="2020-04-06T16:00:51.524" v="480"/>
        <pc:sldMkLst>
          <pc:docMk/>
          <pc:sldMk cId="1838965179" sldId="661"/>
        </pc:sldMkLst>
        <pc:spChg chg="mod">
          <ac:chgData name="Batuhan Yildiz" userId="90f344fc-4655-4923-aeaf-697bba59c1a7" providerId="ADAL" clId="{280188D5-40FE-422E-A0E4-AFC6D08683F8}" dt="2020-04-03T19:24:39.580" v="265" actId="20577"/>
          <ac:spMkLst>
            <pc:docMk/>
            <pc:sldMk cId="1838965179" sldId="661"/>
            <ac:spMk id="3" creationId="{8F64A22E-2B43-4FC6-AF08-0CDB3F9E9269}"/>
          </ac:spMkLst>
        </pc:spChg>
        <pc:spChg chg="mod">
          <ac:chgData name="Batuhan Yildiz" userId="90f344fc-4655-4923-aeaf-697bba59c1a7" providerId="ADAL" clId="{280188D5-40FE-422E-A0E4-AFC6D08683F8}" dt="2020-04-03T19:24:49.341" v="268" actId="113"/>
          <ac:spMkLst>
            <pc:docMk/>
            <pc:sldMk cId="1838965179" sldId="661"/>
            <ac:spMk id="6" creationId="{637E159C-9ACF-48AE-927A-D5FB13695C7F}"/>
          </ac:spMkLst>
        </pc:spChg>
      </pc:sldChg>
      <pc:sldChg chg="modSp mod modNotesTx">
        <pc:chgData name="Batuhan Yildiz" userId="90f344fc-4655-4923-aeaf-697bba59c1a7" providerId="ADAL" clId="{280188D5-40FE-422E-A0E4-AFC6D08683F8}" dt="2020-04-06T15:57:40.487" v="468" actId="20577"/>
        <pc:sldMkLst>
          <pc:docMk/>
          <pc:sldMk cId="1523160996" sldId="664"/>
        </pc:sldMkLst>
        <pc:spChg chg="mod">
          <ac:chgData name="Batuhan Yildiz" userId="90f344fc-4655-4923-aeaf-697bba59c1a7" providerId="ADAL" clId="{280188D5-40FE-422E-A0E4-AFC6D08683F8}" dt="2020-04-03T18:44:44.207" v="205" actId="20577"/>
          <ac:spMkLst>
            <pc:docMk/>
            <pc:sldMk cId="1523160996" sldId="664"/>
            <ac:spMk id="2" creationId="{BC57B38C-8413-4861-A4F5-7DF656AEAD0D}"/>
          </ac:spMkLst>
        </pc:spChg>
      </pc:sldChg>
      <pc:sldChg chg="modSp mod modNotesTx">
        <pc:chgData name="Batuhan Yildiz" userId="90f344fc-4655-4923-aeaf-697bba59c1a7" providerId="ADAL" clId="{280188D5-40FE-422E-A0E4-AFC6D08683F8}" dt="2020-04-06T15:55:16.798" v="443"/>
        <pc:sldMkLst>
          <pc:docMk/>
          <pc:sldMk cId="2074685303" sldId="668"/>
        </pc:sldMkLst>
        <pc:spChg chg="mod">
          <ac:chgData name="Batuhan Yildiz" userId="90f344fc-4655-4923-aeaf-697bba59c1a7" providerId="ADAL" clId="{280188D5-40FE-422E-A0E4-AFC6D08683F8}" dt="2020-04-03T18:28:46.711" v="105" actId="20577"/>
          <ac:spMkLst>
            <pc:docMk/>
            <pc:sldMk cId="2074685303" sldId="668"/>
            <ac:spMk id="3" creationId="{8F64A22E-2B43-4FC6-AF08-0CDB3F9E9269}"/>
          </ac:spMkLst>
        </pc:spChg>
        <pc:spChg chg="mod">
          <ac:chgData name="Batuhan Yildiz" userId="90f344fc-4655-4923-aeaf-697bba59c1a7" providerId="ADAL" clId="{280188D5-40FE-422E-A0E4-AFC6D08683F8}" dt="2020-04-03T18:29:04.242" v="110" actId="255"/>
          <ac:spMkLst>
            <pc:docMk/>
            <pc:sldMk cId="2074685303" sldId="668"/>
            <ac:spMk id="6" creationId="{637E159C-9ACF-48AE-927A-D5FB13695C7F}"/>
          </ac:spMkLst>
        </pc:spChg>
      </pc:sldChg>
      <pc:sldChg chg="modNotesTx">
        <pc:chgData name="Batuhan Yildiz" userId="90f344fc-4655-4923-aeaf-697bba59c1a7" providerId="ADAL" clId="{280188D5-40FE-422E-A0E4-AFC6D08683F8}" dt="2020-04-06T16:06:46.203" v="523"/>
        <pc:sldMkLst>
          <pc:docMk/>
          <pc:sldMk cId="3179011032" sldId="680"/>
        </pc:sldMkLst>
      </pc:sldChg>
      <pc:sldChg chg="modSp mod modNotesTx">
        <pc:chgData name="Batuhan Yildiz" userId="90f344fc-4655-4923-aeaf-697bba59c1a7" providerId="ADAL" clId="{280188D5-40FE-422E-A0E4-AFC6D08683F8}" dt="2020-04-06T16:05:20.539" v="512"/>
        <pc:sldMkLst>
          <pc:docMk/>
          <pc:sldMk cId="936353458" sldId="682"/>
        </pc:sldMkLst>
        <pc:spChg chg="mod">
          <ac:chgData name="Batuhan Yildiz" userId="90f344fc-4655-4923-aeaf-697bba59c1a7" providerId="ADAL" clId="{280188D5-40FE-422E-A0E4-AFC6D08683F8}" dt="2020-04-03T19:53:00.165" v="339" actId="113"/>
          <ac:spMkLst>
            <pc:docMk/>
            <pc:sldMk cId="936353458" sldId="682"/>
            <ac:spMk id="6" creationId="{637E159C-9ACF-48AE-927A-D5FB13695C7F}"/>
          </ac:spMkLst>
        </pc:spChg>
      </pc:sldChg>
      <pc:sldChg chg="modSp mod">
        <pc:chgData name="Batuhan Yildiz" userId="90f344fc-4655-4923-aeaf-697bba59c1a7" providerId="ADAL" clId="{280188D5-40FE-422E-A0E4-AFC6D08683F8}" dt="2020-04-10T08:30:59.986" v="550" actId="6549"/>
        <pc:sldMkLst>
          <pc:docMk/>
          <pc:sldMk cId="2843153520" sldId="1422"/>
        </pc:sldMkLst>
        <pc:spChg chg="mod">
          <ac:chgData name="Batuhan Yildiz" userId="90f344fc-4655-4923-aeaf-697bba59c1a7" providerId="ADAL" clId="{280188D5-40FE-422E-A0E4-AFC6D08683F8}" dt="2020-04-10T08:30:59.986" v="550" actId="6549"/>
          <ac:spMkLst>
            <pc:docMk/>
            <pc:sldMk cId="2843153520" sldId="1422"/>
            <ac:spMk id="9" creationId="{00000000-0000-0000-0000-000000000000}"/>
          </ac:spMkLst>
        </pc:spChg>
      </pc:sldChg>
      <pc:sldChg chg="modNotesTx">
        <pc:chgData name="Batuhan Yildiz" userId="90f344fc-4655-4923-aeaf-697bba59c1a7" providerId="ADAL" clId="{280188D5-40FE-422E-A0E4-AFC6D08683F8}" dt="2020-04-06T16:06:13.224" v="519"/>
        <pc:sldMkLst>
          <pc:docMk/>
          <pc:sldMk cId="2597649565" sldId="1483"/>
        </pc:sldMkLst>
      </pc:sldChg>
      <pc:sldChg chg="modNotesTx">
        <pc:chgData name="Batuhan Yildiz" userId="90f344fc-4655-4923-aeaf-697bba59c1a7" providerId="ADAL" clId="{280188D5-40FE-422E-A0E4-AFC6D08683F8}" dt="2020-04-06T16:07:55.662" v="532"/>
        <pc:sldMkLst>
          <pc:docMk/>
          <pc:sldMk cId="1619754780" sldId="1486"/>
        </pc:sldMkLst>
      </pc:sldChg>
      <pc:sldChg chg="modNotesTx">
        <pc:chgData name="Batuhan Yildiz" userId="90f344fc-4655-4923-aeaf-697bba59c1a7" providerId="ADAL" clId="{280188D5-40FE-422E-A0E4-AFC6D08683F8}" dt="2020-04-06T16:08:17.459" v="536"/>
        <pc:sldMkLst>
          <pc:docMk/>
          <pc:sldMk cId="1932756397" sldId="1490"/>
        </pc:sldMkLst>
      </pc:sldChg>
      <pc:sldChg chg="modSp add mod modNotesTx">
        <pc:chgData name="Batuhan Yildiz" userId="90f344fc-4655-4923-aeaf-697bba59c1a7" providerId="ADAL" clId="{280188D5-40FE-422E-A0E4-AFC6D08683F8}" dt="2020-04-06T16:02:55.423" v="499" actId="20577"/>
        <pc:sldMkLst>
          <pc:docMk/>
          <pc:sldMk cId="865064506" sldId="1498"/>
        </pc:sldMkLst>
        <pc:spChg chg="mod">
          <ac:chgData name="Batuhan Yildiz" userId="90f344fc-4655-4923-aeaf-697bba59c1a7" providerId="ADAL" clId="{280188D5-40FE-422E-A0E4-AFC6D08683F8}" dt="2020-04-03T20:39:05.965" v="390"/>
          <ac:spMkLst>
            <pc:docMk/>
            <pc:sldMk cId="865064506" sldId="1498"/>
            <ac:spMk id="2" creationId="{BC57B38C-8413-4861-A4F5-7DF656AEAD0D}"/>
          </ac:spMkLst>
        </pc:spChg>
        <pc:spChg chg="mod">
          <ac:chgData name="Batuhan Yildiz" userId="90f344fc-4655-4923-aeaf-697bba59c1a7" providerId="ADAL" clId="{280188D5-40FE-422E-A0E4-AFC6D08683F8}" dt="2020-04-03T20:40:11.138" v="391"/>
          <ac:spMkLst>
            <pc:docMk/>
            <pc:sldMk cId="865064506" sldId="1498"/>
            <ac:spMk id="3" creationId="{4897B8F8-26DF-42FB-ACB0-59929F1C2344}"/>
          </ac:spMkLst>
        </pc:spChg>
      </pc:sldChg>
      <pc:sldMasterChg chg="modSldLayout">
        <pc:chgData name="Batuhan Yildiz" userId="90f344fc-4655-4923-aeaf-697bba59c1a7" providerId="ADAL" clId="{280188D5-40FE-422E-A0E4-AFC6D08683F8}" dt="2020-04-10T08:31:17.011" v="551" actId="478"/>
        <pc:sldMasterMkLst>
          <pc:docMk/>
          <pc:sldMasterMk cId="1044402230" sldId="2147483706"/>
        </pc:sldMasterMkLst>
        <pc:sldLayoutChg chg="delSp mod">
          <pc:chgData name="Batuhan Yildiz" userId="90f344fc-4655-4923-aeaf-697bba59c1a7" providerId="ADAL" clId="{280188D5-40FE-422E-A0E4-AFC6D08683F8}" dt="2020-04-10T08:31:17.011" v="551" actId="478"/>
          <pc:sldLayoutMkLst>
            <pc:docMk/>
            <pc:sldMasterMk cId="1044402230" sldId="2147483706"/>
            <pc:sldLayoutMk cId="137331162" sldId="2147483756"/>
          </pc:sldLayoutMkLst>
          <pc:spChg chg="del">
            <ac:chgData name="Batuhan Yildiz" userId="90f344fc-4655-4923-aeaf-697bba59c1a7" providerId="ADAL" clId="{280188D5-40FE-422E-A0E4-AFC6D08683F8}" dt="2020-04-10T08:31:17.011" v="551" actId="478"/>
            <ac:spMkLst>
              <pc:docMk/>
              <pc:sldMasterMk cId="1044402230" sldId="2147483706"/>
              <pc:sldLayoutMk cId="137331162" sldId="2147483756"/>
              <ac:spMk id="7" creationId="{00000000-0000-0000-0000-000000000000}"/>
            </ac:spMkLst>
          </pc:spChg>
          <pc:spChg chg="del">
            <ac:chgData name="Batuhan Yildiz" userId="90f344fc-4655-4923-aeaf-697bba59c1a7" providerId="ADAL" clId="{280188D5-40FE-422E-A0E4-AFC6D08683F8}" dt="2020-04-10T08:30:40.668" v="549" actId="478"/>
            <ac:spMkLst>
              <pc:docMk/>
              <pc:sldMasterMk cId="1044402230" sldId="2147483706"/>
              <pc:sldLayoutMk cId="137331162" sldId="2147483756"/>
              <ac:spMk id="8" creationId="{00000000-0000-0000-0000-000000000000}"/>
            </ac:spMkLst>
          </pc:spChg>
        </pc:sldLayoutChg>
      </pc:sldMasterChg>
    </pc:docChg>
  </pc:docChgLst>
  <pc:docChgLst>
    <pc:chgData name="boB Taylor" userId="2ac94156-0040-455f-a13f-091fd330254d" providerId="ADAL" clId="{30E028F2-F2D4-489D-8E27-1FB81C11D2DE}"/>
    <pc:docChg chg="undo redo custSel mod addSld delSld modSld modMainMaster modSection">
      <pc:chgData name="boB Taylor" userId="2ac94156-0040-455f-a13f-091fd330254d" providerId="ADAL" clId="{30E028F2-F2D4-489D-8E27-1FB81C11D2DE}" dt="2020-03-17T19:48:32.357" v="1168" actId="20577"/>
      <pc:docMkLst>
        <pc:docMk/>
      </pc:docMkLst>
      <pc:sldChg chg="modSp">
        <pc:chgData name="boB Taylor" userId="2ac94156-0040-455f-a13f-091fd330254d" providerId="ADAL" clId="{30E028F2-F2D4-489D-8E27-1FB81C11D2DE}" dt="2020-03-17T14:12:49.229" v="176" actId="20577"/>
        <pc:sldMkLst>
          <pc:docMk/>
          <pc:sldMk cId="3424530645" sldId="579"/>
        </pc:sldMkLst>
        <pc:spChg chg="mod">
          <ac:chgData name="boB Taylor" userId="2ac94156-0040-455f-a13f-091fd330254d" providerId="ADAL" clId="{30E028F2-F2D4-489D-8E27-1FB81C11D2DE}" dt="2020-03-17T14:12:49.229" v="176" actId="20577"/>
          <ac:spMkLst>
            <pc:docMk/>
            <pc:sldMk cId="3424530645" sldId="579"/>
            <ac:spMk id="5" creationId="{55182462-DFDF-4D48-A92C-42FD52821C4E}"/>
          </ac:spMkLst>
        </pc:spChg>
      </pc:sldChg>
      <pc:sldChg chg="addSp delSp modSp mod modClrScheme chgLayout">
        <pc:chgData name="boB Taylor" userId="2ac94156-0040-455f-a13f-091fd330254d" providerId="ADAL" clId="{30E028F2-F2D4-489D-8E27-1FB81C11D2DE}" dt="2020-03-17T15:55:01.548" v="656"/>
        <pc:sldMkLst>
          <pc:docMk/>
          <pc:sldMk cId="2551646555" sldId="580"/>
        </pc:sldMkLst>
        <pc:spChg chg="mod">
          <ac:chgData name="boB Taylor" userId="2ac94156-0040-455f-a13f-091fd330254d" providerId="ADAL" clId="{30E028F2-F2D4-489D-8E27-1FB81C11D2DE}" dt="2020-03-17T15:54:45.007" v="653" actId="26606"/>
          <ac:spMkLst>
            <pc:docMk/>
            <pc:sldMk cId="2551646555" sldId="580"/>
            <ac:spMk id="2" creationId="{EB67312A-9819-43C6-8D84-D9136E6CFFCC}"/>
          </ac:spMkLst>
        </pc:spChg>
        <pc:spChg chg="add del">
          <ac:chgData name="boB Taylor" userId="2ac94156-0040-455f-a13f-091fd330254d" providerId="ADAL" clId="{30E028F2-F2D4-489D-8E27-1FB81C11D2DE}" dt="2020-03-17T15:54:45.007" v="653" actId="26606"/>
          <ac:spMkLst>
            <pc:docMk/>
            <pc:sldMk cId="2551646555" sldId="580"/>
            <ac:spMk id="3" creationId="{F35E8CBB-5A7D-4DEF-BAF7-8DD5D042F9E0}"/>
          </ac:spMkLst>
        </pc:spChg>
        <pc:spChg chg="add del mod">
          <ac:chgData name="boB Taylor" userId="2ac94156-0040-455f-a13f-091fd330254d" providerId="ADAL" clId="{30E028F2-F2D4-489D-8E27-1FB81C11D2DE}" dt="2020-03-17T15:54:45.007" v="653" actId="26606"/>
          <ac:spMkLst>
            <pc:docMk/>
            <pc:sldMk cId="2551646555" sldId="580"/>
            <ac:spMk id="4" creationId="{F3616A99-090F-45E1-9334-58D58B148205}"/>
          </ac:spMkLst>
        </pc:spChg>
        <pc:spChg chg="add del">
          <ac:chgData name="boB Taylor" userId="2ac94156-0040-455f-a13f-091fd330254d" providerId="ADAL" clId="{30E028F2-F2D4-489D-8E27-1FB81C11D2DE}" dt="2020-03-17T15:54:44.978" v="652" actId="26606"/>
          <ac:spMkLst>
            <pc:docMk/>
            <pc:sldMk cId="2551646555" sldId="580"/>
            <ac:spMk id="11" creationId="{66BD7A27-84B2-43CF-9917-648902C78139}"/>
          </ac:spMkLst>
        </pc:spChg>
        <pc:graphicFrameChg chg="add del">
          <ac:chgData name="boB Taylor" userId="2ac94156-0040-455f-a13f-091fd330254d" providerId="ADAL" clId="{30E028F2-F2D4-489D-8E27-1FB81C11D2DE}" dt="2020-03-17T15:54:44.978" v="652" actId="26606"/>
          <ac:graphicFrameMkLst>
            <pc:docMk/>
            <pc:sldMk cId="2551646555" sldId="580"/>
            <ac:graphicFrameMk id="6" creationId="{01EBBA6D-67D3-4128-B711-84E068717830}"/>
          </ac:graphicFrameMkLst>
        </pc:graphicFrameChg>
        <pc:graphicFrameChg chg="add mod">
          <ac:chgData name="boB Taylor" userId="2ac94156-0040-455f-a13f-091fd330254d" providerId="ADAL" clId="{30E028F2-F2D4-489D-8E27-1FB81C11D2DE}" dt="2020-03-17T15:55:01.548" v="656"/>
          <ac:graphicFrameMkLst>
            <pc:docMk/>
            <pc:sldMk cId="2551646555" sldId="580"/>
            <ac:graphicFrameMk id="13" creationId="{9EAD8C7B-06ED-4564-A856-55E63E551DB1}"/>
          </ac:graphicFrameMkLst>
        </pc:graphicFrameChg>
      </pc:sldChg>
      <pc:sldChg chg="modSp modNotesTx">
        <pc:chgData name="boB Taylor" userId="2ac94156-0040-455f-a13f-091fd330254d" providerId="ADAL" clId="{30E028F2-F2D4-489D-8E27-1FB81C11D2DE}" dt="2020-03-17T19:45:43.696" v="697" actId="20577"/>
        <pc:sldMkLst>
          <pc:docMk/>
          <pc:sldMk cId="3006523152" sldId="581"/>
        </pc:sldMkLst>
        <pc:spChg chg="mod">
          <ac:chgData name="boB Taylor" userId="2ac94156-0040-455f-a13f-091fd330254d" providerId="ADAL" clId="{30E028F2-F2D4-489D-8E27-1FB81C11D2DE}" dt="2020-03-17T15:55:28.997" v="678" actId="20577"/>
          <ac:spMkLst>
            <pc:docMk/>
            <pc:sldMk cId="3006523152" sldId="581"/>
            <ac:spMk id="6" creationId="{637E159C-9ACF-48AE-927A-D5FB13695C7F}"/>
          </ac:spMkLst>
        </pc:spChg>
      </pc:sldChg>
      <pc:sldChg chg="del">
        <pc:chgData name="boB Taylor" userId="2ac94156-0040-455f-a13f-091fd330254d" providerId="ADAL" clId="{30E028F2-F2D4-489D-8E27-1FB81C11D2DE}" dt="2020-03-17T15:55:34.978" v="679" actId="47"/>
        <pc:sldMkLst>
          <pc:docMk/>
          <pc:sldMk cId="1528516655" sldId="582"/>
        </pc:sldMkLst>
      </pc:sldChg>
      <pc:sldChg chg="modSp modNotesTx">
        <pc:chgData name="boB Taylor" userId="2ac94156-0040-455f-a13f-091fd330254d" providerId="ADAL" clId="{30E028F2-F2D4-489D-8E27-1FB81C11D2DE}" dt="2020-03-17T19:48:32.357" v="1168" actId="20577"/>
        <pc:sldMkLst>
          <pc:docMk/>
          <pc:sldMk cId="2444463328" sldId="584"/>
        </pc:sldMkLst>
        <pc:graphicFrameChg chg="mod">
          <ac:chgData name="boB Taylor" userId="2ac94156-0040-455f-a13f-091fd330254d" providerId="ADAL" clId="{30E028F2-F2D4-489D-8E27-1FB81C11D2DE}" dt="2020-03-17T19:48:05.342" v="1058" actId="20577"/>
          <ac:graphicFrameMkLst>
            <pc:docMk/>
            <pc:sldMk cId="2444463328" sldId="584"/>
            <ac:graphicFrameMk id="3" creationId="{9484E1FE-7534-495E-863C-657A46F5E628}"/>
          </ac:graphicFrameMkLst>
        </pc:graphicFrameChg>
      </pc:sldChg>
      <pc:sldChg chg="addSp delSp modSp del modTransition">
        <pc:chgData name="boB Taylor" userId="2ac94156-0040-455f-a13f-091fd330254d" providerId="ADAL" clId="{30E028F2-F2D4-489D-8E27-1FB81C11D2DE}" dt="2020-03-17T19:45:05.556" v="680" actId="2696"/>
        <pc:sldMkLst>
          <pc:docMk/>
          <pc:sldMk cId="2256472167" sldId="602"/>
        </pc:sldMkLst>
        <pc:spChg chg="add del mod">
          <ac:chgData name="boB Taylor" userId="2ac94156-0040-455f-a13f-091fd330254d" providerId="ADAL" clId="{30E028F2-F2D4-489D-8E27-1FB81C11D2DE}" dt="2020-03-17T15:15:09.706" v="644" actId="478"/>
          <ac:spMkLst>
            <pc:docMk/>
            <pc:sldMk cId="2256472167" sldId="602"/>
            <ac:spMk id="4" creationId="{F3616A99-090F-45E1-9334-58D58B148205}"/>
          </ac:spMkLst>
        </pc:spChg>
        <pc:spChg chg="mod">
          <ac:chgData name="boB Taylor" userId="2ac94156-0040-455f-a13f-091fd330254d" providerId="ADAL" clId="{30E028F2-F2D4-489D-8E27-1FB81C11D2DE}" dt="2020-03-17T15:15:24.095" v="646" actId="14100"/>
          <ac:spMkLst>
            <pc:docMk/>
            <pc:sldMk cId="2256472167" sldId="602"/>
            <ac:spMk id="6" creationId="{5BEE3541-3FB8-4584-8442-720F972358C6}"/>
          </ac:spMkLst>
        </pc:spChg>
        <pc:spChg chg="add del mod">
          <ac:chgData name="boB Taylor" userId="2ac94156-0040-455f-a13f-091fd330254d" providerId="ADAL" clId="{30E028F2-F2D4-489D-8E27-1FB81C11D2DE}" dt="2020-03-17T15:15:09.706" v="644" actId="478"/>
          <ac:spMkLst>
            <pc:docMk/>
            <pc:sldMk cId="2256472167" sldId="602"/>
            <ac:spMk id="7" creationId="{EEE25936-3BEB-4AA4-8200-F426EDFFDCFF}"/>
          </ac:spMkLst>
        </pc:spChg>
      </pc:sldChg>
      <pc:sldChg chg="modSp setBg">
        <pc:chgData name="boB Taylor" userId="2ac94156-0040-455f-a13f-091fd330254d" providerId="ADAL" clId="{30E028F2-F2D4-489D-8E27-1FB81C11D2DE}" dt="2020-03-17T15:05:45.231" v="504" actId="20577"/>
        <pc:sldMkLst>
          <pc:docMk/>
          <pc:sldMk cId="1667766974" sldId="1397"/>
        </pc:sldMkLst>
        <pc:spChg chg="mod">
          <ac:chgData name="boB Taylor" userId="2ac94156-0040-455f-a13f-091fd330254d" providerId="ADAL" clId="{30E028F2-F2D4-489D-8E27-1FB81C11D2DE}" dt="2020-03-17T14:15:09.969" v="206" actId="20577"/>
          <ac:spMkLst>
            <pc:docMk/>
            <pc:sldMk cId="1667766974" sldId="1397"/>
            <ac:spMk id="2" creationId="{00000000-0000-0000-0000-000000000000}"/>
          </ac:spMkLst>
        </pc:spChg>
        <pc:spChg chg="mod">
          <ac:chgData name="boB Taylor" userId="2ac94156-0040-455f-a13f-091fd330254d" providerId="ADAL" clId="{30E028F2-F2D4-489D-8E27-1FB81C11D2DE}" dt="2020-03-17T14:18:18.728" v="223" actId="207"/>
          <ac:spMkLst>
            <pc:docMk/>
            <pc:sldMk cId="1667766974" sldId="1397"/>
            <ac:spMk id="6" creationId="{00000000-0000-0000-0000-000000000000}"/>
          </ac:spMkLst>
        </pc:spChg>
        <pc:spChg chg="mod">
          <ac:chgData name="boB Taylor" userId="2ac94156-0040-455f-a13f-091fd330254d" providerId="ADAL" clId="{30E028F2-F2D4-489D-8E27-1FB81C11D2DE}" dt="2020-03-17T15:05:45.231" v="504" actId="20577"/>
          <ac:spMkLst>
            <pc:docMk/>
            <pc:sldMk cId="1667766974" sldId="1397"/>
            <ac:spMk id="15" creationId="{00000000-0000-0000-0000-000000000000}"/>
          </ac:spMkLst>
        </pc:spChg>
      </pc:sldChg>
      <pc:sldChg chg="modSp del setBg">
        <pc:chgData name="boB Taylor" userId="2ac94156-0040-455f-a13f-091fd330254d" providerId="ADAL" clId="{30E028F2-F2D4-489D-8E27-1FB81C11D2DE}" dt="2020-03-17T14:26:18.883" v="254" actId="14100"/>
        <pc:sldMkLst>
          <pc:docMk/>
          <pc:sldMk cId="3087139904" sldId="1402"/>
        </pc:sldMkLst>
        <pc:spChg chg="mod">
          <ac:chgData name="boB Taylor" userId="2ac94156-0040-455f-a13f-091fd330254d" providerId="ADAL" clId="{30E028F2-F2D4-489D-8E27-1FB81C11D2DE}" dt="2020-03-17T14:26:18.883" v="254" actId="14100"/>
          <ac:spMkLst>
            <pc:docMk/>
            <pc:sldMk cId="3087139904" sldId="1402"/>
            <ac:spMk id="30" creationId="{00000000-0000-0000-0000-000000000000}"/>
          </ac:spMkLst>
        </pc:spChg>
        <pc:spChg chg="mod">
          <ac:chgData name="boB Taylor" userId="2ac94156-0040-455f-a13f-091fd330254d" providerId="ADAL" clId="{30E028F2-F2D4-489D-8E27-1FB81C11D2DE}" dt="2020-03-17T14:18:33.783" v="224" actId="207"/>
          <ac:spMkLst>
            <pc:docMk/>
            <pc:sldMk cId="3087139904" sldId="1402"/>
            <ac:spMk id="31" creationId="{00000000-0000-0000-0000-000000000000}"/>
          </ac:spMkLst>
        </pc:spChg>
      </pc:sldChg>
      <pc:sldChg chg="modSp setBg">
        <pc:chgData name="boB Taylor" userId="2ac94156-0040-455f-a13f-091fd330254d" providerId="ADAL" clId="{30E028F2-F2D4-489D-8E27-1FB81C11D2DE}" dt="2020-03-17T15:03:53.107" v="454" actId="1076"/>
        <pc:sldMkLst>
          <pc:docMk/>
          <pc:sldMk cId="1483710239" sldId="1403"/>
        </pc:sldMkLst>
        <pc:spChg chg="mod">
          <ac:chgData name="boB Taylor" userId="2ac94156-0040-455f-a13f-091fd330254d" providerId="ADAL" clId="{30E028F2-F2D4-489D-8E27-1FB81C11D2DE}" dt="2020-03-17T14:22:57.403" v="244" actId="1076"/>
          <ac:spMkLst>
            <pc:docMk/>
            <pc:sldMk cId="1483710239" sldId="1403"/>
            <ac:spMk id="2" creationId="{00000000-0000-0000-0000-000000000000}"/>
          </ac:spMkLst>
        </pc:spChg>
        <pc:spChg chg="mod">
          <ac:chgData name="boB Taylor" userId="2ac94156-0040-455f-a13f-091fd330254d" providerId="ADAL" clId="{30E028F2-F2D4-489D-8E27-1FB81C11D2DE}" dt="2020-03-17T15:03:53.107" v="454" actId="1076"/>
          <ac:spMkLst>
            <pc:docMk/>
            <pc:sldMk cId="1483710239" sldId="1403"/>
            <ac:spMk id="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1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4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4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0" creationId="{00000000-0000-0000-0000-000000000000}"/>
          </ac:spMkLst>
        </pc:spChg>
        <pc:spChg chg="mod">
          <ac:chgData name="boB Taylor" userId="2ac94156-0040-455f-a13f-091fd330254d" providerId="ADAL" clId="{30E028F2-F2D4-489D-8E27-1FB81C11D2DE}" dt="2020-03-17T14:21:40.678" v="234" actId="207"/>
          <ac:spMkLst>
            <pc:docMk/>
            <pc:sldMk cId="1483710239" sldId="1403"/>
            <ac:spMk id="5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6"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7"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8" creationId="{00000000-0000-0000-0000-000000000000}"/>
          </ac:spMkLst>
        </pc:spChg>
        <pc:spChg chg="mod">
          <ac:chgData name="boB Taylor" userId="2ac94156-0040-455f-a13f-091fd330254d" providerId="ADAL" clId="{30E028F2-F2D4-489D-8E27-1FB81C11D2DE}" dt="2020-03-17T14:21:46.935" v="235" actId="207"/>
          <ac:spMkLst>
            <pc:docMk/>
            <pc:sldMk cId="1483710239" sldId="1403"/>
            <ac:spMk id="5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0"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4"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5"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6" creationId="{00000000-0000-0000-0000-000000000000}"/>
          </ac:spMkLst>
        </pc:spChg>
        <pc:spChg chg="mod">
          <ac:chgData name="boB Taylor" userId="2ac94156-0040-455f-a13f-091fd330254d" providerId="ADAL" clId="{30E028F2-F2D4-489D-8E27-1FB81C11D2DE}" dt="2020-03-17T14:21:50.437" v="236" actId="207"/>
          <ac:spMkLst>
            <pc:docMk/>
            <pc:sldMk cId="1483710239" sldId="1403"/>
            <ac:spMk id="67"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0"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4" creationId="{00000000-0000-0000-0000-000000000000}"/>
          </ac:spMkLst>
        </pc:spChg>
        <pc:spChg chg="mod">
          <ac:chgData name="boB Taylor" userId="2ac94156-0040-455f-a13f-091fd330254d" providerId="ADAL" clId="{30E028F2-F2D4-489D-8E27-1FB81C11D2DE}" dt="2020-03-17T14:21:54.342" v="237" actId="207"/>
          <ac:spMkLst>
            <pc:docMk/>
            <pc:sldMk cId="1483710239" sldId="1403"/>
            <ac:spMk id="75"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6"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7"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0"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2" creationId="{00000000-0000-0000-0000-000000000000}"/>
          </ac:spMkLst>
        </pc:spChg>
        <pc:spChg chg="mod">
          <ac:chgData name="boB Taylor" userId="2ac94156-0040-455f-a13f-091fd330254d" providerId="ADAL" clId="{30E028F2-F2D4-489D-8E27-1FB81C11D2DE}" dt="2020-03-17T14:21:58.437" v="238" actId="207"/>
          <ac:spMkLst>
            <pc:docMk/>
            <pc:sldMk cId="1483710239" sldId="1403"/>
            <ac:spMk id="8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4"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5"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6"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0" creationId="{00000000-0000-0000-0000-000000000000}"/>
          </ac:spMkLst>
        </pc:spChg>
        <pc:spChg chg="mod">
          <ac:chgData name="boB Taylor" userId="2ac94156-0040-455f-a13f-091fd330254d" providerId="ADAL" clId="{30E028F2-F2D4-489D-8E27-1FB81C11D2DE}" dt="2020-03-17T14:22:08.066" v="239" actId="207"/>
          <ac:spMkLst>
            <pc:docMk/>
            <pc:sldMk cId="1483710239" sldId="1403"/>
            <ac:spMk id="9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4" creationId="{00000000-0000-0000-0000-000000000000}"/>
          </ac:spMkLst>
        </pc:spChg>
        <pc:grpChg chg="mod">
          <ac:chgData name="boB Taylor" userId="2ac94156-0040-455f-a13f-091fd330254d" providerId="ADAL" clId="{30E028F2-F2D4-489D-8E27-1FB81C11D2DE}" dt="2020-03-17T14:21:09.724" v="233" actId="207"/>
          <ac:grpSpMkLst>
            <pc:docMk/>
            <pc:sldMk cId="1483710239" sldId="1403"/>
            <ac:grpSpMk id="4"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55"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63"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71"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79"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87" creationId="{00000000-0000-0000-0000-000000000000}"/>
          </ac:grpSpMkLst>
        </pc:grpChg>
      </pc:sldChg>
      <pc:sldChg chg="addSp delSp modSp">
        <pc:chgData name="boB Taylor" userId="2ac94156-0040-455f-a13f-091fd330254d" providerId="ADAL" clId="{30E028F2-F2D4-489D-8E27-1FB81C11D2DE}" dt="2020-03-17T14:33:04.911" v="310" actId="207"/>
        <pc:sldMkLst>
          <pc:docMk/>
          <pc:sldMk cId="235990786" sldId="1420"/>
        </pc:sldMkLst>
        <pc:spChg chg="mod">
          <ac:chgData name="boB Taylor" userId="2ac94156-0040-455f-a13f-091fd330254d" providerId="ADAL" clId="{30E028F2-F2D4-489D-8E27-1FB81C11D2DE}" dt="2020-03-17T14:27:51.035" v="261" actId="1076"/>
          <ac:spMkLst>
            <pc:docMk/>
            <pc:sldMk cId="235990786" sldId="1420"/>
            <ac:spMk id="2" creationId="{00000000-0000-0000-0000-000000000000}"/>
          </ac:spMkLst>
        </pc:spChg>
        <pc:spChg chg="mod">
          <ac:chgData name="boB Taylor" userId="2ac94156-0040-455f-a13f-091fd330254d" providerId="ADAL" clId="{30E028F2-F2D4-489D-8E27-1FB81C11D2DE}" dt="2020-03-17T14:29:03.915" v="270" actId="1076"/>
          <ac:spMkLst>
            <pc:docMk/>
            <pc:sldMk cId="235990786" sldId="1420"/>
            <ac:spMk id="3"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11"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48" creationId="{00000000-0000-0000-0000-000000000000}"/>
          </ac:spMkLst>
        </pc:spChg>
        <pc:spChg chg="mod">
          <ac:chgData name="boB Taylor" userId="2ac94156-0040-455f-a13f-091fd330254d" providerId="ADAL" clId="{30E028F2-F2D4-489D-8E27-1FB81C11D2DE}" dt="2020-03-17T14:32:43.110" v="305" actId="207"/>
          <ac:spMkLst>
            <pc:docMk/>
            <pc:sldMk cId="235990786" sldId="1420"/>
            <ac:spMk id="49" creationId="{00000000-0000-0000-0000-000000000000}"/>
          </ac:spMkLst>
        </pc:spChg>
        <pc:spChg chg="mod">
          <ac:chgData name="boB Taylor" userId="2ac94156-0040-455f-a13f-091fd330254d" providerId="ADAL" clId="{30E028F2-F2D4-489D-8E27-1FB81C11D2DE}" dt="2020-03-17T14:32:47.729" v="306" actId="207"/>
          <ac:spMkLst>
            <pc:docMk/>
            <pc:sldMk cId="235990786" sldId="1420"/>
            <ac:spMk id="50"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51"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52"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53"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56" creationId="{00000000-0000-0000-0000-000000000000}"/>
          </ac:spMkLst>
        </pc:spChg>
        <pc:spChg chg="mod">
          <ac:chgData name="boB Taylor" userId="2ac94156-0040-455f-a13f-091fd330254d" providerId="ADAL" clId="{30E028F2-F2D4-489D-8E27-1FB81C11D2DE}" dt="2020-03-17T14:32:38.677" v="304" actId="207"/>
          <ac:spMkLst>
            <pc:docMk/>
            <pc:sldMk cId="235990786" sldId="1420"/>
            <ac:spMk id="57" creationId="{00000000-0000-0000-0000-000000000000}"/>
          </ac:spMkLst>
        </pc:spChg>
        <pc:spChg chg="mod">
          <ac:chgData name="boB Taylor" userId="2ac94156-0040-455f-a13f-091fd330254d" providerId="ADAL" clId="{30E028F2-F2D4-489D-8E27-1FB81C11D2DE}" dt="2020-03-17T14:32:51.963" v="307" actId="207"/>
          <ac:spMkLst>
            <pc:docMk/>
            <pc:sldMk cId="235990786" sldId="1420"/>
            <ac:spMk id="58"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59"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60"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61"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62"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4" creationId="{00000000-0000-0000-0000-000000000000}"/>
          </ac:spMkLst>
        </pc:spChg>
        <pc:spChg chg="mod">
          <ac:chgData name="boB Taylor" userId="2ac94156-0040-455f-a13f-091fd330254d" providerId="ADAL" clId="{30E028F2-F2D4-489D-8E27-1FB81C11D2DE}" dt="2020-03-17T14:32:34.018" v="303" actId="207"/>
          <ac:spMkLst>
            <pc:docMk/>
            <pc:sldMk cId="235990786" sldId="1420"/>
            <ac:spMk id="65" creationId="{00000000-0000-0000-0000-000000000000}"/>
          </ac:spMkLst>
        </pc:spChg>
        <pc:spChg chg="mod">
          <ac:chgData name="boB Taylor" userId="2ac94156-0040-455f-a13f-091fd330254d" providerId="ADAL" clId="{30E028F2-F2D4-489D-8E27-1FB81C11D2DE}" dt="2020-03-17T14:32:55.778" v="308" actId="207"/>
          <ac:spMkLst>
            <pc:docMk/>
            <pc:sldMk cId="235990786" sldId="1420"/>
            <ac:spMk id="66"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7"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8"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9"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70"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2" creationId="{00000000-0000-0000-0000-000000000000}"/>
          </ac:spMkLst>
        </pc:spChg>
        <pc:spChg chg="mod">
          <ac:chgData name="boB Taylor" userId="2ac94156-0040-455f-a13f-091fd330254d" providerId="ADAL" clId="{30E028F2-F2D4-489D-8E27-1FB81C11D2DE}" dt="2020-03-17T14:32:30.809" v="302" actId="207"/>
          <ac:spMkLst>
            <pc:docMk/>
            <pc:sldMk cId="235990786" sldId="1420"/>
            <ac:spMk id="73" creationId="{00000000-0000-0000-0000-000000000000}"/>
          </ac:spMkLst>
        </pc:spChg>
        <pc:spChg chg="mod">
          <ac:chgData name="boB Taylor" userId="2ac94156-0040-455f-a13f-091fd330254d" providerId="ADAL" clId="{30E028F2-F2D4-489D-8E27-1FB81C11D2DE}" dt="2020-03-17T14:33:00.811" v="309" actId="207"/>
          <ac:spMkLst>
            <pc:docMk/>
            <pc:sldMk cId="235990786" sldId="1420"/>
            <ac:spMk id="74"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5"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6"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7"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8"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0" creationId="{00000000-0000-0000-0000-000000000000}"/>
          </ac:spMkLst>
        </pc:spChg>
        <pc:spChg chg="mod">
          <ac:chgData name="boB Taylor" userId="2ac94156-0040-455f-a13f-091fd330254d" providerId="ADAL" clId="{30E028F2-F2D4-489D-8E27-1FB81C11D2DE}" dt="2020-03-17T14:32:27.089" v="301" actId="207"/>
          <ac:spMkLst>
            <pc:docMk/>
            <pc:sldMk cId="235990786" sldId="1420"/>
            <ac:spMk id="81" creationId="{00000000-0000-0000-0000-000000000000}"/>
          </ac:spMkLst>
        </pc:spChg>
        <pc:spChg chg="mod">
          <ac:chgData name="boB Taylor" userId="2ac94156-0040-455f-a13f-091fd330254d" providerId="ADAL" clId="{30E028F2-F2D4-489D-8E27-1FB81C11D2DE}" dt="2020-03-17T14:33:04.911" v="310" actId="207"/>
          <ac:spMkLst>
            <pc:docMk/>
            <pc:sldMk cId="235990786" sldId="1420"/>
            <ac:spMk id="82"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3"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4"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5"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6"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88"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89"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0"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1"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2"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3"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4" creationId="{00000000-0000-0000-0000-000000000000}"/>
          </ac:spMkLst>
        </pc:spChg>
        <pc:grpChg chg="add del mod">
          <ac:chgData name="boB Taylor" userId="2ac94156-0040-455f-a13f-091fd330254d" providerId="ADAL" clId="{30E028F2-F2D4-489D-8E27-1FB81C11D2DE}" dt="2020-03-17T14:31:23.225" v="293"/>
          <ac:grpSpMkLst>
            <pc:docMk/>
            <pc:sldMk cId="235990786" sldId="1420"/>
            <ac:grpSpMk id="98" creationId="{1324376D-A05C-4915-83C5-F623D17284F7}"/>
          </ac:grpSpMkLst>
        </pc:grpChg>
      </pc:sldChg>
      <pc:sldChg chg="modSp setBg">
        <pc:chgData name="boB Taylor" userId="2ac94156-0040-455f-a13f-091fd330254d" providerId="ADAL" clId="{30E028F2-F2D4-489D-8E27-1FB81C11D2DE}" dt="2020-03-17T14:34:59.548" v="316" actId="1076"/>
        <pc:sldMkLst>
          <pc:docMk/>
          <pc:sldMk cId="996256290" sldId="1421"/>
        </pc:sldMkLst>
        <pc:spChg chg="mod">
          <ac:chgData name="boB Taylor" userId="2ac94156-0040-455f-a13f-091fd330254d" providerId="ADAL" clId="{30E028F2-F2D4-489D-8E27-1FB81C11D2DE}" dt="2020-03-17T14:34:59.548" v="316" actId="1076"/>
          <ac:spMkLst>
            <pc:docMk/>
            <pc:sldMk cId="996256290" sldId="1421"/>
            <ac:spMk id="2" creationId="{00000000-0000-0000-0000-000000000000}"/>
          </ac:spMkLst>
        </pc:spChg>
      </pc:sldChg>
      <pc:sldChg chg="modSp setBg">
        <pc:chgData name="boB Taylor" userId="2ac94156-0040-455f-a13f-091fd330254d" providerId="ADAL" clId="{30E028F2-F2D4-489D-8E27-1FB81C11D2DE}" dt="2020-03-17T14:36:57.957" v="326" actId="1076"/>
        <pc:sldMkLst>
          <pc:docMk/>
          <pc:sldMk cId="2843153520" sldId="1422"/>
        </pc:sldMkLst>
        <pc:spChg chg="mod">
          <ac:chgData name="boB Taylor" userId="2ac94156-0040-455f-a13f-091fd330254d" providerId="ADAL" clId="{30E028F2-F2D4-489D-8E27-1FB81C11D2DE}" dt="2020-03-17T14:36:57.957" v="326" actId="1076"/>
          <ac:spMkLst>
            <pc:docMk/>
            <pc:sldMk cId="2843153520" sldId="1422"/>
            <ac:spMk id="2" creationId="{00000000-0000-0000-0000-000000000000}"/>
          </ac:spMkLst>
        </pc:spChg>
      </pc:sldChg>
      <pc:sldChg chg="modSp setBg">
        <pc:chgData name="boB Taylor" userId="2ac94156-0040-455f-a13f-091fd330254d" providerId="ADAL" clId="{30E028F2-F2D4-489D-8E27-1FB81C11D2DE}" dt="2020-03-17T14:37:17.656" v="328" actId="1076"/>
        <pc:sldMkLst>
          <pc:docMk/>
          <pc:sldMk cId="4231764735" sldId="1423"/>
        </pc:sldMkLst>
        <pc:spChg chg="mod">
          <ac:chgData name="boB Taylor" userId="2ac94156-0040-455f-a13f-091fd330254d" providerId="ADAL" clId="{30E028F2-F2D4-489D-8E27-1FB81C11D2DE}" dt="2020-03-17T14:37:17.656" v="328" actId="1076"/>
          <ac:spMkLst>
            <pc:docMk/>
            <pc:sldMk cId="4231764735" sldId="1423"/>
            <ac:spMk id="2" creationId="{00000000-0000-0000-0000-000000000000}"/>
          </ac:spMkLst>
        </pc:spChg>
      </pc:sldChg>
      <pc:sldChg chg="modSp setBg">
        <pc:chgData name="boB Taylor" userId="2ac94156-0040-455f-a13f-091fd330254d" providerId="ADAL" clId="{30E028F2-F2D4-489D-8E27-1FB81C11D2DE}" dt="2020-03-17T14:37:41.020" v="332" actId="20577"/>
        <pc:sldMkLst>
          <pc:docMk/>
          <pc:sldMk cId="4030353435" sldId="1424"/>
        </pc:sldMkLst>
        <pc:spChg chg="mod">
          <ac:chgData name="boB Taylor" userId="2ac94156-0040-455f-a13f-091fd330254d" providerId="ADAL" clId="{30E028F2-F2D4-489D-8E27-1FB81C11D2DE}" dt="2020-03-17T14:37:41.020" v="332" actId="20577"/>
          <ac:spMkLst>
            <pc:docMk/>
            <pc:sldMk cId="4030353435" sldId="1424"/>
            <ac:spMk id="2" creationId="{00000000-0000-0000-0000-000000000000}"/>
          </ac:spMkLst>
        </pc:spChg>
      </pc:sldChg>
      <pc:sldChg chg="delSp">
        <pc:chgData name="boB Taylor" userId="2ac94156-0040-455f-a13f-091fd330254d" providerId="ADAL" clId="{30E028F2-F2D4-489D-8E27-1FB81C11D2DE}" dt="2020-03-17T14:56:30.818" v="419" actId="478"/>
        <pc:sldMkLst>
          <pc:docMk/>
          <pc:sldMk cId="1726345108" sldId="1438"/>
        </pc:sldMkLst>
        <pc:spChg chg="del">
          <ac:chgData name="boB Taylor" userId="2ac94156-0040-455f-a13f-091fd330254d" providerId="ADAL" clId="{30E028F2-F2D4-489D-8E27-1FB81C11D2DE}" dt="2020-03-17T14:56:30.818" v="419" actId="478"/>
          <ac:spMkLst>
            <pc:docMk/>
            <pc:sldMk cId="1726345108" sldId="1438"/>
            <ac:spMk id="9" creationId="{00000000-0000-0000-0000-000000000000}"/>
          </ac:spMkLst>
        </pc:spChg>
      </pc:sldChg>
      <pc:sldChg chg="delSp modSp">
        <pc:chgData name="boB Taylor" userId="2ac94156-0040-455f-a13f-091fd330254d" providerId="ADAL" clId="{30E028F2-F2D4-489D-8E27-1FB81C11D2DE}" dt="2020-03-17T15:01:46.506" v="444" actId="166"/>
        <pc:sldMkLst>
          <pc:docMk/>
          <pc:sldMk cId="1479834307" sldId="1439"/>
        </pc:sldMkLst>
        <pc:spChg chg="del">
          <ac:chgData name="boB Taylor" userId="2ac94156-0040-455f-a13f-091fd330254d" providerId="ADAL" clId="{30E028F2-F2D4-489D-8E27-1FB81C11D2DE}" dt="2020-03-17T14:56:35.216" v="420" actId="478"/>
          <ac:spMkLst>
            <pc:docMk/>
            <pc:sldMk cId="1479834307" sldId="1439"/>
            <ac:spMk id="9" creationId="{00000000-0000-0000-0000-000000000000}"/>
          </ac:spMkLst>
        </pc:spChg>
        <pc:spChg chg="mod ord">
          <ac:chgData name="boB Taylor" userId="2ac94156-0040-455f-a13f-091fd330254d" providerId="ADAL" clId="{30E028F2-F2D4-489D-8E27-1FB81C11D2DE}" dt="2020-03-17T15:01:46.506" v="444" actId="166"/>
          <ac:spMkLst>
            <pc:docMk/>
            <pc:sldMk cId="1479834307" sldId="1439"/>
            <ac:spMk id="27" creationId="{00000000-0000-0000-0000-000000000000}"/>
          </ac:spMkLst>
        </pc:spChg>
      </pc:sldChg>
      <pc:sldChg chg="del">
        <pc:chgData name="boB Taylor" userId="2ac94156-0040-455f-a13f-091fd330254d" providerId="ADAL" clId="{30E028F2-F2D4-489D-8E27-1FB81C11D2DE}" dt="2020-03-17T15:02:13.193" v="445" actId="47"/>
        <pc:sldMkLst>
          <pc:docMk/>
          <pc:sldMk cId="3139057077" sldId="1440"/>
        </pc:sldMkLst>
      </pc:sldChg>
      <pc:sldChg chg="addSp delSp modSp modTransition">
        <pc:chgData name="boB Taylor" userId="2ac94156-0040-455f-a13f-091fd330254d" providerId="ADAL" clId="{30E028F2-F2D4-489D-8E27-1FB81C11D2DE}" dt="2020-03-17T14:39:12.908" v="340" actId="26606"/>
        <pc:sldMkLst>
          <pc:docMk/>
          <pc:sldMk cId="1674344459" sldId="1467"/>
        </pc:sldMkLst>
        <pc:spChg chg="mod">
          <ac:chgData name="boB Taylor" userId="2ac94156-0040-455f-a13f-091fd330254d" providerId="ADAL" clId="{30E028F2-F2D4-489D-8E27-1FB81C11D2DE}" dt="2020-03-17T14:39:12.908" v="340" actId="26606"/>
          <ac:spMkLst>
            <pc:docMk/>
            <pc:sldMk cId="1674344459" sldId="1467"/>
            <ac:spMk id="2" creationId="{00000000-0000-0000-0000-000000000000}"/>
          </ac:spMkLst>
        </pc:spChg>
        <pc:spChg chg="add del mod">
          <ac:chgData name="boB Taylor" userId="2ac94156-0040-455f-a13f-091fd330254d" providerId="ADAL" clId="{30E028F2-F2D4-489D-8E27-1FB81C11D2DE}" dt="2020-03-17T14:38:29.447" v="334"/>
          <ac:spMkLst>
            <pc:docMk/>
            <pc:sldMk cId="1674344459" sldId="1467"/>
            <ac:spMk id="3" creationId="{FCBC1F13-985A-47CB-8AFC-5FBC3B9CE79A}"/>
          </ac:spMkLst>
        </pc:spChg>
        <pc:spChg chg="add del mod">
          <ac:chgData name="boB Taylor" userId="2ac94156-0040-455f-a13f-091fd330254d" providerId="ADAL" clId="{30E028F2-F2D4-489D-8E27-1FB81C11D2DE}" dt="2020-03-17T14:38:29.447" v="334"/>
          <ac:spMkLst>
            <pc:docMk/>
            <pc:sldMk cId="1674344459" sldId="1467"/>
            <ac:spMk id="4" creationId="{391D2DC3-DD7A-4DC4-A316-0C8D9FC79C9A}"/>
          </ac:spMkLst>
        </pc:spChg>
        <pc:spChg chg="del">
          <ac:chgData name="boB Taylor" userId="2ac94156-0040-455f-a13f-091fd330254d" providerId="ADAL" clId="{30E028F2-F2D4-489D-8E27-1FB81C11D2DE}" dt="2020-03-17T14:39:12.908" v="340" actId="26606"/>
          <ac:spMkLst>
            <pc:docMk/>
            <pc:sldMk cId="1674344459" sldId="1467"/>
            <ac:spMk id="5" creationId="{00000000-0000-0000-0000-000000000000}"/>
          </ac:spMkLst>
        </pc:spChg>
        <pc:graphicFrameChg chg="add">
          <ac:chgData name="boB Taylor" userId="2ac94156-0040-455f-a13f-091fd330254d" providerId="ADAL" clId="{30E028F2-F2D4-489D-8E27-1FB81C11D2DE}" dt="2020-03-17T14:39:12.908" v="340" actId="26606"/>
          <ac:graphicFrameMkLst>
            <pc:docMk/>
            <pc:sldMk cId="1674344459" sldId="1467"/>
            <ac:graphicFrameMk id="7" creationId="{7CF0440A-AB0B-4B21-A641-603244ADB1B5}"/>
          </ac:graphicFrameMkLst>
        </pc:graphicFrameChg>
      </pc:sldChg>
      <pc:sldChg chg="addSp delSp modSp modTransition">
        <pc:chgData name="boB Taylor" userId="2ac94156-0040-455f-a13f-091fd330254d" providerId="ADAL" clId="{30E028F2-F2D4-489D-8E27-1FB81C11D2DE}" dt="2020-03-17T14:42:59.229" v="389" actId="6549"/>
        <pc:sldMkLst>
          <pc:docMk/>
          <pc:sldMk cId="3723203944" sldId="1468"/>
        </pc:sldMkLst>
        <pc:spChg chg="add del mod">
          <ac:chgData name="boB Taylor" userId="2ac94156-0040-455f-a13f-091fd330254d" providerId="ADAL" clId="{30E028F2-F2D4-489D-8E27-1FB81C11D2DE}" dt="2020-03-17T14:38:29.447" v="334"/>
          <ac:spMkLst>
            <pc:docMk/>
            <pc:sldMk cId="3723203944" sldId="1468"/>
            <ac:spMk id="2" creationId="{D56F0481-DA70-47C7-A887-1F4CCB5B6589}"/>
          </ac:spMkLst>
        </pc:spChg>
        <pc:spChg chg="add del mod">
          <ac:chgData name="boB Taylor" userId="2ac94156-0040-455f-a13f-091fd330254d" providerId="ADAL" clId="{30E028F2-F2D4-489D-8E27-1FB81C11D2DE}" dt="2020-03-17T14:38:29.447" v="334"/>
          <ac:spMkLst>
            <pc:docMk/>
            <pc:sldMk cId="3723203944" sldId="1468"/>
            <ac:spMk id="3" creationId="{FC81E55D-E2FD-429D-B324-D14EE8342D59}"/>
          </ac:spMkLst>
        </pc:spChg>
        <pc:spChg chg="add del mod">
          <ac:chgData name="boB Taylor" userId="2ac94156-0040-455f-a13f-091fd330254d" providerId="ADAL" clId="{30E028F2-F2D4-489D-8E27-1FB81C11D2DE}" dt="2020-03-17T14:38:29.447" v="334"/>
          <ac:spMkLst>
            <pc:docMk/>
            <pc:sldMk cId="3723203944" sldId="1468"/>
            <ac:spMk id="4" creationId="{21F04BD5-0FDC-409B-9A0C-21CD6BB9A63D}"/>
          </ac:spMkLst>
        </pc:spChg>
        <pc:spChg chg="add del mod">
          <ac:chgData name="boB Taylor" userId="2ac94156-0040-455f-a13f-091fd330254d" providerId="ADAL" clId="{30E028F2-F2D4-489D-8E27-1FB81C11D2DE}" dt="2020-03-17T14:38:29.447" v="334"/>
          <ac:spMkLst>
            <pc:docMk/>
            <pc:sldMk cId="3723203944" sldId="1468"/>
            <ac:spMk id="5" creationId="{B89C7F11-ED68-4BB4-A0CE-EE92513C5177}"/>
          </ac:spMkLst>
        </pc:spChg>
        <pc:spChg chg="add mod">
          <ac:chgData name="boB Taylor" userId="2ac94156-0040-455f-a13f-091fd330254d" providerId="ADAL" clId="{30E028F2-F2D4-489D-8E27-1FB81C11D2DE}" dt="2020-03-17T14:40:50.446" v="362" actId="14100"/>
          <ac:spMkLst>
            <pc:docMk/>
            <pc:sldMk cId="3723203944" sldId="1468"/>
            <ac:spMk id="6" creationId="{8FD9690B-4CC7-4BCC-8A6D-E5C2ABDCD174}"/>
          </ac:spMkLst>
        </pc:spChg>
        <pc:spChg chg="add del mod">
          <ac:chgData name="boB Taylor" userId="2ac94156-0040-455f-a13f-091fd330254d" providerId="ADAL" clId="{30E028F2-F2D4-489D-8E27-1FB81C11D2DE}" dt="2020-03-17T14:41:01.814" v="363" actId="478"/>
          <ac:spMkLst>
            <pc:docMk/>
            <pc:sldMk cId="3723203944" sldId="1468"/>
            <ac:spMk id="7" creationId="{B9888635-7AC2-458B-A6F9-FDF776715A98}"/>
          </ac:spMkLst>
        </pc:spChg>
        <pc:spChg chg="mod">
          <ac:chgData name="boB Taylor" userId="2ac94156-0040-455f-a13f-091fd330254d" providerId="ADAL" clId="{30E028F2-F2D4-489D-8E27-1FB81C11D2DE}" dt="2020-03-17T14:42:59.229" v="389" actId="6549"/>
          <ac:spMkLst>
            <pc:docMk/>
            <pc:sldMk cId="3723203944" sldId="1468"/>
            <ac:spMk id="76" creationId="{00000000-0000-0000-0000-000000000000}"/>
          </ac:spMkLst>
        </pc:spChg>
      </pc:sldChg>
      <pc:sldChg chg="addSp delSp modSp modTransition">
        <pc:chgData name="boB Taylor" userId="2ac94156-0040-455f-a13f-091fd330254d" providerId="ADAL" clId="{30E028F2-F2D4-489D-8E27-1FB81C11D2DE}" dt="2020-03-17T14:47:37.214" v="405" actId="207"/>
        <pc:sldMkLst>
          <pc:docMk/>
          <pc:sldMk cId="572847463" sldId="1469"/>
        </pc:sldMkLst>
        <pc:spChg chg="mod">
          <ac:chgData name="boB Taylor" userId="2ac94156-0040-455f-a13f-091fd330254d" providerId="ADAL" clId="{30E028F2-F2D4-489D-8E27-1FB81C11D2DE}" dt="2020-03-17T14:47:21.161" v="402" actId="207"/>
          <ac:spMkLst>
            <pc:docMk/>
            <pc:sldMk cId="572847463" sldId="1469"/>
            <ac:spMk id="2" creationId="{00000000-0000-0000-0000-000000000000}"/>
          </ac:spMkLst>
        </pc:spChg>
        <pc:spChg chg="add del mod">
          <ac:chgData name="boB Taylor" userId="2ac94156-0040-455f-a13f-091fd330254d" providerId="ADAL" clId="{30E028F2-F2D4-489D-8E27-1FB81C11D2DE}" dt="2020-03-17T14:38:29.447" v="334"/>
          <ac:spMkLst>
            <pc:docMk/>
            <pc:sldMk cId="572847463" sldId="1469"/>
            <ac:spMk id="3" creationId="{2B229D27-0A90-416D-A15E-B066471A1AED}"/>
          </ac:spMkLst>
        </pc:spChg>
        <pc:spChg chg="mod">
          <ac:chgData name="boB Taylor" userId="2ac94156-0040-455f-a13f-091fd330254d" providerId="ADAL" clId="{30E028F2-F2D4-489D-8E27-1FB81C11D2DE}" dt="2020-03-17T14:44:51.403" v="396" actId="255"/>
          <ac:spMkLst>
            <pc:docMk/>
            <pc:sldMk cId="572847463" sldId="1469"/>
            <ac:spMk id="30" creationId="{00000000-0000-0000-0000-000000000000}"/>
          </ac:spMkLst>
        </pc:spChg>
        <pc:spChg chg="mod">
          <ac:chgData name="boB Taylor" userId="2ac94156-0040-455f-a13f-091fd330254d" providerId="ADAL" clId="{30E028F2-F2D4-489D-8E27-1FB81C11D2DE}" dt="2020-03-17T14:47:30.748" v="404" actId="207"/>
          <ac:spMkLst>
            <pc:docMk/>
            <pc:sldMk cId="572847463" sldId="1469"/>
            <ac:spMk id="214" creationId="{00000000-0000-0000-0000-000000000000}"/>
          </ac:spMkLst>
        </pc:spChg>
        <pc:spChg chg="mod">
          <ac:chgData name="boB Taylor" userId="2ac94156-0040-455f-a13f-091fd330254d" providerId="ADAL" clId="{30E028F2-F2D4-489D-8E27-1FB81C11D2DE}" dt="2020-03-17T14:47:37.214" v="405" actId="207"/>
          <ac:spMkLst>
            <pc:docMk/>
            <pc:sldMk cId="572847463" sldId="1469"/>
            <ac:spMk id="215" creationId="{00000000-0000-0000-0000-000000000000}"/>
          </ac:spMkLst>
        </pc:spChg>
        <pc:spChg chg="add del mod">
          <ac:chgData name="boB Taylor" userId="2ac94156-0040-455f-a13f-091fd330254d" providerId="ADAL" clId="{30E028F2-F2D4-489D-8E27-1FB81C11D2DE}" dt="2020-03-17T14:38:29.447" v="334"/>
          <ac:spMkLst>
            <pc:docMk/>
            <pc:sldMk cId="572847463" sldId="1469"/>
            <ac:spMk id="216" creationId="{822B639E-AF52-4A43-8012-A28597F386A8}"/>
          </ac:spMkLst>
        </pc:spChg>
        <pc:spChg chg="add del mod">
          <ac:chgData name="boB Taylor" userId="2ac94156-0040-455f-a13f-091fd330254d" providerId="ADAL" clId="{30E028F2-F2D4-489D-8E27-1FB81C11D2DE}" dt="2020-03-17T14:38:29.447" v="334"/>
          <ac:spMkLst>
            <pc:docMk/>
            <pc:sldMk cId="572847463" sldId="1469"/>
            <ac:spMk id="217" creationId="{94FF3A82-B890-4E00-B9D9-0E6B45FB4551}"/>
          </ac:spMkLst>
        </pc:spChg>
        <pc:spChg chg="add del mod">
          <ac:chgData name="boB Taylor" userId="2ac94156-0040-455f-a13f-091fd330254d" providerId="ADAL" clId="{30E028F2-F2D4-489D-8E27-1FB81C11D2DE}" dt="2020-03-17T14:38:29.447" v="334"/>
          <ac:spMkLst>
            <pc:docMk/>
            <pc:sldMk cId="572847463" sldId="1469"/>
            <ac:spMk id="218" creationId="{8E77F96A-31AF-4DE6-A5DA-D8926CF86429}"/>
          </ac:spMkLst>
        </pc:spChg>
        <pc:spChg chg="add del mod">
          <ac:chgData name="boB Taylor" userId="2ac94156-0040-455f-a13f-091fd330254d" providerId="ADAL" clId="{30E028F2-F2D4-489D-8E27-1FB81C11D2DE}" dt="2020-03-17T14:43:34.675" v="391" actId="478"/>
          <ac:spMkLst>
            <pc:docMk/>
            <pc:sldMk cId="572847463" sldId="1469"/>
            <ac:spMk id="219" creationId="{91F0FDE1-D0C4-45A6-AB05-297F9EC3B7E6}"/>
          </ac:spMkLst>
        </pc:spChg>
        <pc:spChg chg="add del mod">
          <ac:chgData name="boB Taylor" userId="2ac94156-0040-455f-a13f-091fd330254d" providerId="ADAL" clId="{30E028F2-F2D4-489D-8E27-1FB81C11D2DE}" dt="2020-03-17T14:43:20.376" v="390" actId="478"/>
          <ac:spMkLst>
            <pc:docMk/>
            <pc:sldMk cId="572847463" sldId="1469"/>
            <ac:spMk id="220" creationId="{EDE4B76E-E42C-4C3C-B190-8E231B61399D}"/>
          </ac:spMkLst>
        </pc:spChg>
      </pc:sldChg>
      <pc:sldChg chg="addSp delSp modSp mod modClrScheme chgLayout">
        <pc:chgData name="boB Taylor" userId="2ac94156-0040-455f-a13f-091fd330254d" providerId="ADAL" clId="{30E028F2-F2D4-489D-8E27-1FB81C11D2DE}" dt="2020-03-17T14:46:28.487" v="400" actId="26606"/>
        <pc:sldMkLst>
          <pc:docMk/>
          <pc:sldMk cId="3837107871" sldId="1470"/>
        </pc:sldMkLst>
        <pc:spChg chg="del">
          <ac:chgData name="boB Taylor" userId="2ac94156-0040-455f-a13f-091fd330254d" providerId="ADAL" clId="{30E028F2-F2D4-489D-8E27-1FB81C11D2DE}" dt="2020-03-17T14:46:28.487" v="400" actId="26606"/>
          <ac:spMkLst>
            <pc:docMk/>
            <pc:sldMk cId="3837107871" sldId="1470"/>
            <ac:spMk id="4" creationId="{00000000-0000-0000-0000-000000000000}"/>
          </ac:spMkLst>
        </pc:spChg>
        <pc:spChg chg="mod">
          <ac:chgData name="boB Taylor" userId="2ac94156-0040-455f-a13f-091fd330254d" providerId="ADAL" clId="{30E028F2-F2D4-489D-8E27-1FB81C11D2DE}" dt="2020-03-17T14:46:28.487" v="400" actId="26606"/>
          <ac:spMkLst>
            <pc:docMk/>
            <pc:sldMk cId="3837107871" sldId="1470"/>
            <ac:spMk id="30" creationId="{00000000-0000-0000-0000-000000000000}"/>
          </ac:spMkLst>
        </pc:spChg>
        <pc:graphicFrameChg chg="add">
          <ac:chgData name="boB Taylor" userId="2ac94156-0040-455f-a13f-091fd330254d" providerId="ADAL" clId="{30E028F2-F2D4-489D-8E27-1FB81C11D2DE}" dt="2020-03-17T14:46:28.487" v="400" actId="26606"/>
          <ac:graphicFrameMkLst>
            <pc:docMk/>
            <pc:sldMk cId="3837107871" sldId="1470"/>
            <ac:graphicFrameMk id="32" creationId="{F51D10F5-C1EE-42D4-81CB-39B1964BEC29}"/>
          </ac:graphicFrameMkLst>
        </pc:graphicFrameChg>
      </pc:sldChg>
      <pc:sldChg chg="addSp delSp modSp mod modClrScheme chgLayout">
        <pc:chgData name="boB Taylor" userId="2ac94156-0040-455f-a13f-091fd330254d" providerId="ADAL" clId="{30E028F2-F2D4-489D-8E27-1FB81C11D2DE}" dt="2020-03-17T14:57:27.463" v="427" actId="26606"/>
        <pc:sldMkLst>
          <pc:docMk/>
          <pc:sldMk cId="3747374180" sldId="1473"/>
        </pc:sldMkLst>
        <pc:spChg chg="add del mod">
          <ac:chgData name="boB Taylor" userId="2ac94156-0040-455f-a13f-091fd330254d" providerId="ADAL" clId="{30E028F2-F2D4-489D-8E27-1FB81C11D2DE}" dt="2020-03-17T14:57:05.761" v="425" actId="26606"/>
          <ac:spMkLst>
            <pc:docMk/>
            <pc:sldMk cId="3747374180" sldId="1473"/>
            <ac:spMk id="3" creationId="{00000000-0000-0000-0000-000000000000}"/>
          </ac:spMkLst>
        </pc:spChg>
        <pc:spChg chg="del">
          <ac:chgData name="boB Taylor" userId="2ac94156-0040-455f-a13f-091fd330254d" providerId="ADAL" clId="{30E028F2-F2D4-489D-8E27-1FB81C11D2DE}" dt="2020-03-17T14:56:26.290" v="418" actId="478"/>
          <ac:spMkLst>
            <pc:docMk/>
            <pc:sldMk cId="3747374180" sldId="1473"/>
            <ac:spMk id="4" creationId="{00000000-0000-0000-0000-000000000000}"/>
          </ac:spMkLst>
        </pc:spChg>
        <pc:spChg chg="mod">
          <ac:chgData name="boB Taylor" userId="2ac94156-0040-455f-a13f-091fd330254d" providerId="ADAL" clId="{30E028F2-F2D4-489D-8E27-1FB81C11D2DE}" dt="2020-03-17T14:57:27.463" v="427" actId="26606"/>
          <ac:spMkLst>
            <pc:docMk/>
            <pc:sldMk cId="3747374180" sldId="1473"/>
            <ac:spMk id="5" creationId="{00000000-0000-0000-0000-000000000000}"/>
          </ac:spMkLst>
        </pc:spChg>
        <pc:spChg chg="add del mod">
          <ac:chgData name="boB Taylor" userId="2ac94156-0040-455f-a13f-091fd330254d" providerId="ADAL" clId="{30E028F2-F2D4-489D-8E27-1FB81C11D2DE}" dt="2020-03-17T14:57:27.463" v="427" actId="26606"/>
          <ac:spMkLst>
            <pc:docMk/>
            <pc:sldMk cId="3747374180" sldId="1473"/>
            <ac:spMk id="11" creationId="{00000000-0000-0000-0000-000000000000}"/>
          </ac:spMkLst>
        </pc:spChg>
        <pc:graphicFrameChg chg="add del mod">
          <ac:chgData name="boB Taylor" userId="2ac94156-0040-455f-a13f-091fd330254d" providerId="ADAL" clId="{30E028F2-F2D4-489D-8E27-1FB81C11D2DE}" dt="2020-03-17T14:56:59.317" v="422" actId="26606"/>
          <ac:graphicFrameMkLst>
            <pc:docMk/>
            <pc:sldMk cId="3747374180" sldId="1473"/>
            <ac:graphicFrameMk id="7" creationId="{D7E5FAF1-77BC-4D99-A60E-08C1E92A4C01}"/>
          </ac:graphicFrameMkLst>
        </pc:graphicFrameChg>
        <pc:graphicFrameChg chg="add del mod">
          <ac:chgData name="boB Taylor" userId="2ac94156-0040-455f-a13f-091fd330254d" providerId="ADAL" clId="{30E028F2-F2D4-489D-8E27-1FB81C11D2DE}" dt="2020-03-17T14:57:05.738" v="424" actId="26606"/>
          <ac:graphicFrameMkLst>
            <pc:docMk/>
            <pc:sldMk cId="3747374180" sldId="1473"/>
            <ac:graphicFrameMk id="9" creationId="{89F70642-13CF-43F4-9BFF-38F36FD52CA0}"/>
          </ac:graphicFrameMkLst>
        </pc:graphicFrameChg>
        <pc:graphicFrameChg chg="add">
          <ac:chgData name="boB Taylor" userId="2ac94156-0040-455f-a13f-091fd330254d" providerId="ADAL" clId="{30E028F2-F2D4-489D-8E27-1FB81C11D2DE}" dt="2020-03-17T14:57:27.463" v="427" actId="26606"/>
          <ac:graphicFrameMkLst>
            <pc:docMk/>
            <pc:sldMk cId="3747374180" sldId="1473"/>
            <ac:graphicFrameMk id="13" creationId="{AFFE2C62-3A58-4E44-8D21-2B705CD81B97}"/>
          </ac:graphicFrameMkLst>
        </pc:graphicFrameChg>
      </pc:sldChg>
      <pc:sldChg chg="addSp delSp modSp mod modTransition modClrScheme chgLayout">
        <pc:chgData name="boB Taylor" userId="2ac94156-0040-455f-a13f-091fd330254d" providerId="ADAL" clId="{30E028F2-F2D4-489D-8E27-1FB81C11D2DE}" dt="2020-03-17T15:00:33.380" v="441"/>
        <pc:sldMkLst>
          <pc:docMk/>
          <pc:sldMk cId="2189172121" sldId="1474"/>
        </pc:sldMkLst>
        <pc:spChg chg="del mod">
          <ac:chgData name="boB Taylor" userId="2ac94156-0040-455f-a13f-091fd330254d" providerId="ADAL" clId="{30E028F2-F2D4-489D-8E27-1FB81C11D2DE}" dt="2020-03-17T14:59:06.603" v="437" actId="26606"/>
          <ac:spMkLst>
            <pc:docMk/>
            <pc:sldMk cId="2189172121" sldId="1474"/>
            <ac:spMk id="3" creationId="{00000000-0000-0000-0000-000000000000}"/>
          </ac:spMkLst>
        </pc:spChg>
        <pc:spChg chg="del">
          <ac:chgData name="boB Taylor" userId="2ac94156-0040-455f-a13f-091fd330254d" providerId="ADAL" clId="{30E028F2-F2D4-489D-8E27-1FB81C11D2DE}" dt="2020-03-17T14:58:11.042" v="433" actId="478"/>
          <ac:spMkLst>
            <pc:docMk/>
            <pc:sldMk cId="2189172121" sldId="1474"/>
            <ac:spMk id="4" creationId="{00000000-0000-0000-0000-000000000000}"/>
          </ac:spMkLst>
        </pc:spChg>
        <pc:spChg chg="mod">
          <ac:chgData name="boB Taylor" userId="2ac94156-0040-455f-a13f-091fd330254d" providerId="ADAL" clId="{30E028F2-F2D4-489D-8E27-1FB81C11D2DE}" dt="2020-03-17T14:59:06.603" v="437" actId="26606"/>
          <ac:spMkLst>
            <pc:docMk/>
            <pc:sldMk cId="2189172121" sldId="1474"/>
            <ac:spMk id="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2"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3"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9" creationId="{00000000-0000-0000-0000-000000000000}"/>
          </ac:spMkLst>
        </pc:spChg>
        <pc:spChg chg="mod">
          <ac:chgData name="boB Taylor" userId="2ac94156-0040-455f-a13f-091fd330254d" providerId="ADAL" clId="{30E028F2-F2D4-489D-8E27-1FB81C11D2DE}" dt="2020-03-17T14:58:06.962" v="432" actId="692"/>
          <ac:spMkLst>
            <pc:docMk/>
            <pc:sldMk cId="2189172121" sldId="1474"/>
            <ac:spMk id="3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2"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3"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2"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3"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7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71" creationId="{00000000-0000-0000-0000-000000000000}"/>
          </ac:spMkLst>
        </pc:spChg>
        <pc:spChg chg="add mod">
          <ac:chgData name="boB Taylor" userId="2ac94156-0040-455f-a13f-091fd330254d" providerId="ADAL" clId="{30E028F2-F2D4-489D-8E27-1FB81C11D2DE}" dt="2020-03-17T14:59:06.603" v="437" actId="26606"/>
          <ac:spMkLst>
            <pc:docMk/>
            <pc:sldMk cId="2189172121" sldId="1474"/>
            <ac:spMk id="72" creationId="{C6D2AA96-DAE3-40A7-998A-F09B8BADA559}"/>
          </ac:spMkLst>
        </pc:spChg>
        <pc:grpChg chg="add del mod">
          <ac:chgData name="boB Taylor" userId="2ac94156-0040-455f-a13f-091fd330254d" providerId="ADAL" clId="{30E028F2-F2D4-489D-8E27-1FB81C11D2DE}" dt="2020-03-17T14:58:56.370" v="436" actId="478"/>
          <ac:grpSpMkLst>
            <pc:docMk/>
            <pc:sldMk cId="2189172121" sldId="1474"/>
            <ac:grpSpMk id="2" creationId="{49C5D8D5-E15B-419C-9365-7EAD5EE9EC11}"/>
          </ac:grpSpMkLst>
        </pc:grpChg>
        <pc:grpChg chg="mod">
          <ac:chgData name="boB Taylor" userId="2ac94156-0040-455f-a13f-091fd330254d" providerId="ADAL" clId="{30E028F2-F2D4-489D-8E27-1FB81C11D2DE}" dt="2020-03-17T14:55:35.072" v="414" actId="164"/>
          <ac:grpSpMkLst>
            <pc:docMk/>
            <pc:sldMk cId="2189172121" sldId="1474"/>
            <ac:grpSpMk id="10" creationId="{00000000-0000-0000-0000-000000000000}"/>
          </ac:grpSpMkLst>
        </pc:grpChg>
        <pc:grpChg chg="mod">
          <ac:chgData name="boB Taylor" userId="2ac94156-0040-455f-a13f-091fd330254d" providerId="ADAL" clId="{30E028F2-F2D4-489D-8E27-1FB81C11D2DE}" dt="2020-03-17T14:55:35.072" v="414" actId="164"/>
          <ac:grpSpMkLst>
            <pc:docMk/>
            <pc:sldMk cId="2189172121" sldId="1474"/>
            <ac:grpSpMk id="32" creationId="{00000000-0000-0000-0000-000000000000}"/>
          </ac:grpSpMkLst>
        </pc:grpChg>
        <pc:grpChg chg="mod">
          <ac:chgData name="boB Taylor" userId="2ac94156-0040-455f-a13f-091fd330254d" providerId="ADAL" clId="{30E028F2-F2D4-489D-8E27-1FB81C11D2DE}" dt="2020-03-17T14:55:35.072" v="414" actId="164"/>
          <ac:grpSpMkLst>
            <pc:docMk/>
            <pc:sldMk cId="2189172121" sldId="1474"/>
            <ac:grpSpMk id="52" creationId="{00000000-0000-0000-0000-000000000000}"/>
          </ac:grpSpMkLst>
        </pc:grpChg>
        <pc:graphicFrameChg chg="add mod">
          <ac:chgData name="boB Taylor" userId="2ac94156-0040-455f-a13f-091fd330254d" providerId="ADAL" clId="{30E028F2-F2D4-489D-8E27-1FB81C11D2DE}" dt="2020-03-17T14:59:26.010" v="440" actId="20577"/>
          <ac:graphicFrameMkLst>
            <pc:docMk/>
            <pc:sldMk cId="2189172121" sldId="1474"/>
            <ac:graphicFrameMk id="7" creationId="{ABD57352-C2AF-419B-B8C3-FCD9744EE404}"/>
          </ac:graphicFrameMkLst>
        </pc:graphicFrameChg>
      </pc:sldChg>
      <pc:sldChg chg="addSp delSp modSp add mod modClrScheme chgLayout modNotesTx">
        <pc:chgData name="boB Taylor" userId="2ac94156-0040-455f-a13f-091fd330254d" providerId="ADAL" clId="{30E028F2-F2D4-489D-8E27-1FB81C11D2DE}" dt="2020-03-17T15:09:02.829" v="529" actId="12"/>
        <pc:sldMkLst>
          <pc:docMk/>
          <pc:sldMk cId="4194733795" sldId="1475"/>
        </pc:sldMkLst>
        <pc:spChg chg="del">
          <ac:chgData name="boB Taylor" userId="2ac94156-0040-455f-a13f-091fd330254d" providerId="ADAL" clId="{30E028F2-F2D4-489D-8E27-1FB81C11D2DE}" dt="2020-03-17T15:06:05.300" v="506"/>
          <ac:spMkLst>
            <pc:docMk/>
            <pc:sldMk cId="4194733795" sldId="1475"/>
            <ac:spMk id="2" creationId="{4EF3E480-B7ED-4D60-BFEC-F621F5151B71}"/>
          </ac:spMkLst>
        </pc:spChg>
        <pc:spChg chg="del">
          <ac:chgData name="boB Taylor" userId="2ac94156-0040-455f-a13f-091fd330254d" providerId="ADAL" clId="{30E028F2-F2D4-489D-8E27-1FB81C11D2DE}" dt="2020-03-17T15:06:05.300" v="506"/>
          <ac:spMkLst>
            <pc:docMk/>
            <pc:sldMk cId="4194733795" sldId="1475"/>
            <ac:spMk id="3" creationId="{57189E1C-006C-40E5-8DED-3861199EF7BD}"/>
          </ac:spMkLst>
        </pc:spChg>
        <pc:spChg chg="add mod">
          <ac:chgData name="boB Taylor" userId="2ac94156-0040-455f-a13f-091fd330254d" providerId="ADAL" clId="{30E028F2-F2D4-489D-8E27-1FB81C11D2DE}" dt="2020-03-17T15:08:58.736" v="528" actId="26606"/>
          <ac:spMkLst>
            <pc:docMk/>
            <pc:sldMk cId="4194733795" sldId="1475"/>
            <ac:spMk id="4" creationId="{D0A85AF3-31C4-498A-B822-6989BB131ACB}"/>
          </ac:spMkLst>
        </pc:spChg>
        <pc:spChg chg="add del mod">
          <ac:chgData name="boB Taylor" userId="2ac94156-0040-455f-a13f-091fd330254d" providerId="ADAL" clId="{30E028F2-F2D4-489D-8E27-1FB81C11D2DE}" dt="2020-03-17T15:08:58.736" v="528" actId="26606"/>
          <ac:spMkLst>
            <pc:docMk/>
            <pc:sldMk cId="4194733795" sldId="1475"/>
            <ac:spMk id="5" creationId="{74AA2E77-A34A-463A-B7D3-70216E9F3BED}"/>
          </ac:spMkLst>
        </pc:spChg>
        <pc:spChg chg="add mod">
          <ac:chgData name="boB Taylor" userId="2ac94156-0040-455f-a13f-091fd330254d" providerId="ADAL" clId="{30E028F2-F2D4-489D-8E27-1FB81C11D2DE}" dt="2020-03-17T15:09:02.829" v="529" actId="12"/>
          <ac:spMkLst>
            <pc:docMk/>
            <pc:sldMk cId="4194733795" sldId="1475"/>
            <ac:spMk id="11" creationId="{74AA2E77-A34A-463A-B7D3-70216E9F3BED}"/>
          </ac:spMkLst>
        </pc:spChg>
        <pc:graphicFrameChg chg="add del mod">
          <ac:chgData name="boB Taylor" userId="2ac94156-0040-455f-a13f-091fd330254d" providerId="ADAL" clId="{30E028F2-F2D4-489D-8E27-1FB81C11D2DE}" dt="2020-03-17T15:08:51.735" v="525" actId="26606"/>
          <ac:graphicFrameMkLst>
            <pc:docMk/>
            <pc:sldMk cId="4194733795" sldId="1475"/>
            <ac:graphicFrameMk id="7" creationId="{7E92D178-EAD6-445D-A33D-0BACF72C094E}"/>
          </ac:graphicFrameMkLst>
        </pc:graphicFrameChg>
        <pc:graphicFrameChg chg="add del mod">
          <ac:chgData name="boB Taylor" userId="2ac94156-0040-455f-a13f-091fd330254d" providerId="ADAL" clId="{30E028F2-F2D4-489D-8E27-1FB81C11D2DE}" dt="2020-03-17T15:08:58.727" v="527" actId="26606"/>
          <ac:graphicFrameMkLst>
            <pc:docMk/>
            <pc:sldMk cId="4194733795" sldId="1475"/>
            <ac:graphicFrameMk id="9" creationId="{5E15479D-1BEB-4F7C-A244-C8E3719BCA49}"/>
          </ac:graphicFrameMkLst>
        </pc:graphicFrameChg>
      </pc:sldChg>
      <pc:sldChg chg="addSp delSp modSp add mod modClrScheme chgLayout">
        <pc:chgData name="boB Taylor" userId="2ac94156-0040-455f-a13f-091fd330254d" providerId="ADAL" clId="{30E028F2-F2D4-489D-8E27-1FB81C11D2DE}" dt="2020-03-17T15:10:36.902" v="578" actId="20577"/>
        <pc:sldMkLst>
          <pc:docMk/>
          <pc:sldMk cId="1951336761" sldId="1476"/>
        </pc:sldMkLst>
        <pc:spChg chg="mod">
          <ac:chgData name="boB Taylor" userId="2ac94156-0040-455f-a13f-091fd330254d" providerId="ADAL" clId="{30E028F2-F2D4-489D-8E27-1FB81C11D2DE}" dt="2020-03-17T15:10:36.902" v="578" actId="20577"/>
          <ac:spMkLst>
            <pc:docMk/>
            <pc:sldMk cId="1951336761" sldId="1476"/>
            <ac:spMk id="2" creationId="{DB8CADE1-709D-4D38-B42A-B8361B4F37FA}"/>
          </ac:spMkLst>
        </pc:spChg>
        <pc:spChg chg="add del mod">
          <ac:chgData name="boB Taylor" userId="2ac94156-0040-455f-a13f-091fd330254d" providerId="ADAL" clId="{30E028F2-F2D4-489D-8E27-1FB81C11D2DE}" dt="2020-03-17T15:10:29.955" v="577" actId="26606"/>
          <ac:spMkLst>
            <pc:docMk/>
            <pc:sldMk cId="1951336761" sldId="1476"/>
            <ac:spMk id="3" creationId="{3B43D614-5386-4716-8C5D-430F4FE76D17}"/>
          </ac:spMkLst>
        </pc:spChg>
        <pc:graphicFrameChg chg="add del">
          <ac:chgData name="boB Taylor" userId="2ac94156-0040-455f-a13f-091fd330254d" providerId="ADAL" clId="{30E028F2-F2D4-489D-8E27-1FB81C11D2DE}" dt="2020-03-17T15:10:16.874" v="574" actId="26606"/>
          <ac:graphicFrameMkLst>
            <pc:docMk/>
            <pc:sldMk cId="1951336761" sldId="1476"/>
            <ac:graphicFrameMk id="5" creationId="{B7D25272-154E-46BF-B0DF-2CF9F77FF2EB}"/>
          </ac:graphicFrameMkLst>
        </pc:graphicFrameChg>
        <pc:graphicFrameChg chg="add del">
          <ac:chgData name="boB Taylor" userId="2ac94156-0040-455f-a13f-091fd330254d" providerId="ADAL" clId="{30E028F2-F2D4-489D-8E27-1FB81C11D2DE}" dt="2020-03-17T15:10:29.854" v="576" actId="26606"/>
          <ac:graphicFrameMkLst>
            <pc:docMk/>
            <pc:sldMk cId="1951336761" sldId="1476"/>
            <ac:graphicFrameMk id="7" creationId="{EEA67896-E73A-43B0-A40B-5DECF2CBF174}"/>
          </ac:graphicFrameMkLst>
        </pc:graphicFrameChg>
        <pc:graphicFrameChg chg="add">
          <ac:chgData name="boB Taylor" userId="2ac94156-0040-455f-a13f-091fd330254d" providerId="ADAL" clId="{30E028F2-F2D4-489D-8E27-1FB81C11D2DE}" dt="2020-03-17T15:10:29.955" v="577" actId="26606"/>
          <ac:graphicFrameMkLst>
            <pc:docMk/>
            <pc:sldMk cId="1951336761" sldId="1476"/>
            <ac:graphicFrameMk id="9" creationId="{B7D25272-154E-46BF-B0DF-2CF9F77FF2EB}"/>
          </ac:graphicFrameMkLst>
        </pc:graphicFrameChg>
      </pc:sldChg>
      <pc:sldMasterChg chg="modSldLayout">
        <pc:chgData name="boB Taylor" userId="2ac94156-0040-455f-a13f-091fd330254d" providerId="ADAL" clId="{30E028F2-F2D4-489D-8E27-1FB81C11D2DE}" dt="2020-03-17T14:23:34.661" v="247" actId="478"/>
        <pc:sldMasterMkLst>
          <pc:docMk/>
          <pc:sldMasterMk cId="1044402230" sldId="2147483706"/>
        </pc:sldMasterMkLst>
        <pc:sldLayoutChg chg="delSp modSp">
          <pc:chgData name="boB Taylor" userId="2ac94156-0040-455f-a13f-091fd330254d" providerId="ADAL" clId="{30E028F2-F2D4-489D-8E27-1FB81C11D2DE}" dt="2020-03-17T14:23:34.661" v="247" actId="478"/>
          <pc:sldLayoutMkLst>
            <pc:docMk/>
            <pc:sldMasterMk cId="1044402230" sldId="2147483706"/>
            <pc:sldLayoutMk cId="2514656948" sldId="2147483754"/>
          </pc:sldLayoutMkLst>
          <pc:spChg chg="del">
            <ac:chgData name="boB Taylor" userId="2ac94156-0040-455f-a13f-091fd330254d" providerId="ADAL" clId="{30E028F2-F2D4-489D-8E27-1FB81C11D2DE}" dt="2020-03-17T14:23:34.661" v="247" actId="478"/>
            <ac:spMkLst>
              <pc:docMk/>
              <pc:sldMasterMk cId="1044402230" sldId="2147483706"/>
              <pc:sldLayoutMk cId="2514656948" sldId="2147483754"/>
              <ac:spMk id="5" creationId="{00000000-0000-0000-0000-000000000000}"/>
            </ac:spMkLst>
          </pc:spChg>
          <pc:spChg chg="del mod">
            <ac:chgData name="boB Taylor" userId="2ac94156-0040-455f-a13f-091fd330254d" providerId="ADAL" clId="{30E028F2-F2D4-489D-8E27-1FB81C11D2DE}" dt="2020-03-17T14:23:31.876" v="246" actId="478"/>
            <ac:spMkLst>
              <pc:docMk/>
              <pc:sldMasterMk cId="1044402230" sldId="2147483706"/>
              <pc:sldLayoutMk cId="2514656948" sldId="2147483754"/>
              <ac:spMk id="8" creationId="{00000000-0000-0000-0000-000000000000}"/>
            </ac:spMkLst>
          </pc:spChg>
        </pc:sldLayoutChg>
      </pc:sldMasterChg>
    </pc:docChg>
  </pc:docChgLst>
  <pc:docChgLst>
    <pc:chgData name="Leo Martin Johnson" userId="dab44b59-57bd-4bfd-94f1-2057ecac4675" providerId="ADAL" clId="{17458E0C-029A-443A-AAAD-6B72D8CE20AF}"/>
    <pc:docChg chg="modSld">
      <pc:chgData name="Leo Martin Johnson" userId="dab44b59-57bd-4bfd-94f1-2057ecac4675" providerId="ADAL" clId="{17458E0C-029A-443A-AAAD-6B72D8CE20AF}" dt="2020-03-20T18:11:42.717" v="11" actId="20577"/>
      <pc:docMkLst>
        <pc:docMk/>
      </pc:docMkLst>
      <pc:sldChg chg="modNotesTx">
        <pc:chgData name="Leo Martin Johnson" userId="dab44b59-57bd-4bfd-94f1-2057ecac4675" providerId="ADAL" clId="{17458E0C-029A-443A-AAAD-6B72D8CE20AF}" dt="2020-03-19T22:53:05.147" v="1" actId="400"/>
        <pc:sldMkLst>
          <pc:docMk/>
          <pc:sldMk cId="1985242486" sldId="669"/>
        </pc:sldMkLst>
      </pc:sldChg>
      <pc:sldChg chg="modNotesTx">
        <pc:chgData name="Leo Martin Johnson" userId="dab44b59-57bd-4bfd-94f1-2057ecac4675" providerId="ADAL" clId="{17458E0C-029A-443A-AAAD-6B72D8CE20AF}" dt="2020-03-19T22:57:57.611" v="6" actId="400"/>
        <pc:sldMkLst>
          <pc:docMk/>
          <pc:sldMk cId="2873864563" sldId="695"/>
        </pc:sldMkLst>
      </pc:sldChg>
      <pc:sldChg chg="modNotesTx">
        <pc:chgData name="Leo Martin Johnson" userId="dab44b59-57bd-4bfd-94f1-2057ecac4675" providerId="ADAL" clId="{17458E0C-029A-443A-AAAD-6B72D8CE20AF}" dt="2020-03-19T22:58:08.628" v="8" actId="400"/>
        <pc:sldMkLst>
          <pc:docMk/>
          <pc:sldMk cId="94860651" sldId="696"/>
        </pc:sldMkLst>
      </pc:sldChg>
      <pc:sldChg chg="modNotesTx">
        <pc:chgData name="Leo Martin Johnson" userId="dab44b59-57bd-4bfd-94f1-2057ecac4675" providerId="ADAL" clId="{17458E0C-029A-443A-AAAD-6B72D8CE20AF}" dt="2020-03-19T22:56:10.251" v="4" actId="400"/>
        <pc:sldMkLst>
          <pc:docMk/>
          <pc:sldMk cId="1716151462" sldId="1480"/>
        </pc:sldMkLst>
      </pc:sldChg>
      <pc:sldChg chg="modNotesTx">
        <pc:chgData name="Leo Martin Johnson" userId="dab44b59-57bd-4bfd-94f1-2057ecac4675" providerId="ADAL" clId="{17458E0C-029A-443A-AAAD-6B72D8CE20AF}" dt="2020-03-19T22:58:20.795" v="9" actId="400"/>
        <pc:sldMkLst>
          <pc:docMk/>
          <pc:sldMk cId="3385827956" sldId="1484"/>
        </pc:sldMkLst>
      </pc:sldChg>
      <pc:sldChg chg="modSp">
        <pc:chgData name="Leo Martin Johnson" userId="dab44b59-57bd-4bfd-94f1-2057ecac4675" providerId="ADAL" clId="{17458E0C-029A-443A-AAAD-6B72D8CE20AF}" dt="2020-03-20T18:11:42.717" v="11" actId="20577"/>
        <pc:sldMkLst>
          <pc:docMk/>
          <pc:sldMk cId="594598944" sldId="1494"/>
        </pc:sldMkLst>
        <pc:graphicFrameChg chg="mod">
          <ac:chgData name="Leo Martin Johnson" userId="dab44b59-57bd-4bfd-94f1-2057ecac4675" providerId="ADAL" clId="{17458E0C-029A-443A-AAAD-6B72D8CE20AF}" dt="2020-03-20T18:11:42.717" v="11" actId="20577"/>
          <ac:graphicFrameMkLst>
            <pc:docMk/>
            <pc:sldMk cId="594598944" sldId="1494"/>
            <ac:graphicFrameMk id="6" creationId="{ECD4F830-3F57-4416-97C9-3E857291381E}"/>
          </ac:graphicFrameMkLst>
        </pc:graphicFrameChg>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41556ACD-E1A5-4B29-9504-D8AEB7027567}">
      <dgm:prSet/>
      <dgm:spPr/>
      <dgm:t>
        <a:bodyPr/>
        <a:lstStyle/>
        <a:p>
          <a:r>
            <a:rPr lang="en-US" b="0" i="0" dirty="0"/>
            <a:t>An index is an on-disk structure associated with a table that speeds retrieval of rows.</a:t>
          </a:r>
          <a:endParaRPr lang="en-US" dirty="0"/>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0" i="0" dirty="0"/>
            <a:t>An index contains keys built from one or more columns in the table.</a:t>
          </a:r>
          <a:endParaRPr lang="en-US" dirty="0"/>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A448D31-C715-4C25-A937-6668123F7A8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C0371A71-8227-4A1D-BDBF-7B0C92AF2576}">
      <dgm:prSet/>
      <dgm:spPr/>
      <dgm:t>
        <a:bodyPr/>
        <a:lstStyle/>
        <a:p>
          <a:r>
            <a:rPr lang="en-US" dirty="0"/>
            <a:t>Narrow</a:t>
          </a:r>
        </a:p>
      </dgm:t>
    </dgm:pt>
    <dgm:pt modelId="{2D656315-13CF-4C01-AA11-248F57538071}" type="parTrans" cxnId="{4D4047AF-CE64-429F-965D-CB64EBF5948B}">
      <dgm:prSet/>
      <dgm:spPr/>
      <dgm:t>
        <a:bodyPr/>
        <a:lstStyle/>
        <a:p>
          <a:endParaRPr lang="en-US"/>
        </a:p>
      </dgm:t>
    </dgm:pt>
    <dgm:pt modelId="{FB1FD7B5-2ABC-477D-8B4B-09B69103F2C0}" type="sibTrans" cxnId="{4D4047AF-CE64-429F-965D-CB64EBF5948B}">
      <dgm:prSet/>
      <dgm:spPr/>
      <dgm:t>
        <a:bodyPr/>
        <a:lstStyle/>
        <a:p>
          <a:endParaRPr lang="en-US"/>
        </a:p>
      </dgm:t>
    </dgm:pt>
    <dgm:pt modelId="{05CC7C58-5E8E-4DB2-8DAE-6B81D9124208}">
      <dgm:prSet/>
      <dgm:spPr/>
      <dgm:t>
        <a:bodyPr/>
        <a:lstStyle/>
        <a:p>
          <a:r>
            <a:rPr lang="en-US" dirty="0"/>
            <a:t>Unique</a:t>
          </a:r>
        </a:p>
      </dgm:t>
    </dgm:pt>
    <dgm:pt modelId="{1EF37DE7-9BD7-45A0-83AD-F27AAA8E516A}" type="parTrans" cxnId="{5AFBADDD-0E51-4D82-8D21-9A69B7D73141}">
      <dgm:prSet/>
      <dgm:spPr/>
      <dgm:t>
        <a:bodyPr/>
        <a:lstStyle/>
        <a:p>
          <a:endParaRPr lang="en-US"/>
        </a:p>
      </dgm:t>
    </dgm:pt>
    <dgm:pt modelId="{BD3138C6-7DA8-42D6-B377-E84659E87311}" type="sibTrans" cxnId="{5AFBADDD-0E51-4D82-8D21-9A69B7D73141}">
      <dgm:prSet/>
      <dgm:spPr/>
      <dgm:t>
        <a:bodyPr/>
        <a:lstStyle/>
        <a:p>
          <a:endParaRPr lang="en-US"/>
        </a:p>
      </dgm:t>
    </dgm:pt>
    <dgm:pt modelId="{662C5D3D-0665-42EE-97A9-A2C92B9EFB9E}">
      <dgm:prSet/>
      <dgm:spPr/>
      <dgm:t>
        <a:bodyPr/>
        <a:lstStyle/>
        <a:p>
          <a:r>
            <a:rPr lang="en-US" dirty="0"/>
            <a:t>Static</a:t>
          </a:r>
        </a:p>
      </dgm:t>
    </dgm:pt>
    <dgm:pt modelId="{BA6D6B89-AC46-4E2E-849C-A899AC8B78CD}" type="parTrans" cxnId="{F1831D9B-6397-4396-AE16-86EE913DF3E8}">
      <dgm:prSet/>
      <dgm:spPr/>
      <dgm:t>
        <a:bodyPr/>
        <a:lstStyle/>
        <a:p>
          <a:endParaRPr lang="en-US"/>
        </a:p>
      </dgm:t>
    </dgm:pt>
    <dgm:pt modelId="{A269DC89-F8C8-4BC6-BBD4-777E7BD14620}" type="sibTrans" cxnId="{F1831D9B-6397-4396-AE16-86EE913DF3E8}">
      <dgm:prSet/>
      <dgm:spPr/>
      <dgm:t>
        <a:bodyPr/>
        <a:lstStyle/>
        <a:p>
          <a:endParaRPr lang="en-US"/>
        </a:p>
      </dgm:t>
    </dgm:pt>
    <dgm:pt modelId="{215ECA4E-6BED-40CC-AF21-0A5D146341F1}">
      <dgm:prSet/>
      <dgm:spPr/>
      <dgm:t>
        <a:bodyPr/>
        <a:lstStyle/>
        <a:p>
          <a:r>
            <a:rPr lang="en-US" dirty="0"/>
            <a:t>Increasing</a:t>
          </a:r>
        </a:p>
      </dgm:t>
    </dgm:pt>
    <dgm:pt modelId="{2EBEF36C-1454-467B-B216-499EB0E3F2ED}" type="parTrans" cxnId="{6DCFEE13-01C2-408A-8114-AD1114AAFE20}">
      <dgm:prSet/>
      <dgm:spPr/>
      <dgm:t>
        <a:bodyPr/>
        <a:lstStyle/>
        <a:p>
          <a:endParaRPr lang="en-US"/>
        </a:p>
      </dgm:t>
    </dgm:pt>
    <dgm:pt modelId="{D4CBD46E-BB11-4E91-B801-06DFFC90822F}" type="sibTrans" cxnId="{6DCFEE13-01C2-408A-8114-AD1114AAFE20}">
      <dgm:prSet/>
      <dgm:spPr/>
      <dgm:t>
        <a:bodyPr/>
        <a:lstStyle/>
        <a:p>
          <a:endParaRPr lang="en-US"/>
        </a:p>
      </dgm:t>
    </dgm:pt>
    <dgm:pt modelId="{90FC4E6A-9CC1-47BF-8031-A7B464137FD1}">
      <dgm:prSet/>
      <dgm:spPr/>
      <dgm:t>
        <a:bodyPr/>
        <a:lstStyle/>
        <a:p>
          <a:r>
            <a:rPr lang="en-US" dirty="0"/>
            <a:t>Use a data type with a small number of bytes to conserve space in tables and indexes</a:t>
          </a:r>
        </a:p>
      </dgm:t>
    </dgm:pt>
    <dgm:pt modelId="{C4A42051-0465-45D7-83E3-9AFEBD03CDE4}" type="parTrans" cxnId="{241FCBA3-6D3A-4BC1-BC1E-7D24D867F99A}">
      <dgm:prSet/>
      <dgm:spPr/>
      <dgm:t>
        <a:bodyPr/>
        <a:lstStyle/>
        <a:p>
          <a:endParaRPr lang="en-US"/>
        </a:p>
      </dgm:t>
    </dgm:pt>
    <dgm:pt modelId="{4A7339F3-7E8B-460C-8FE7-A96DC028B0B8}" type="sibTrans" cxnId="{241FCBA3-6D3A-4BC1-BC1E-7D24D867F99A}">
      <dgm:prSet/>
      <dgm:spPr/>
      <dgm:t>
        <a:bodyPr/>
        <a:lstStyle/>
        <a:p>
          <a:endParaRPr lang="en-US"/>
        </a:p>
      </dgm:t>
    </dgm:pt>
    <dgm:pt modelId="{0C51D566-3829-4877-8A55-59F9DB6BA9EA}">
      <dgm:prSet/>
      <dgm:spPr/>
      <dgm:t>
        <a:bodyPr/>
        <a:lstStyle/>
        <a:p>
          <a:r>
            <a:rPr lang="en-US"/>
            <a:t>To avoid SQL adding a 4-byte uniquifier</a:t>
          </a:r>
          <a:endParaRPr lang="en-US" dirty="0"/>
        </a:p>
      </dgm:t>
    </dgm:pt>
    <dgm:pt modelId="{C7AC1F09-F590-49C0-BF6D-6955BF4A45D2}" type="parTrans" cxnId="{B273D146-35D1-485B-9613-6E8D3B2C1F98}">
      <dgm:prSet/>
      <dgm:spPr/>
      <dgm:t>
        <a:bodyPr/>
        <a:lstStyle/>
        <a:p>
          <a:endParaRPr lang="en-US"/>
        </a:p>
      </dgm:t>
    </dgm:pt>
    <dgm:pt modelId="{54724024-5EC3-4292-9A2B-9721470E4EFB}" type="sibTrans" cxnId="{B273D146-35D1-485B-9613-6E8D3B2C1F98}">
      <dgm:prSet/>
      <dgm:spPr/>
      <dgm:t>
        <a:bodyPr/>
        <a:lstStyle/>
        <a:p>
          <a:endParaRPr lang="en-US"/>
        </a:p>
      </dgm:t>
    </dgm:pt>
    <dgm:pt modelId="{CD1FD60E-97BA-40AA-9683-C95AD6289CAC}">
      <dgm:prSet/>
      <dgm:spPr/>
      <dgm:t>
        <a:bodyPr/>
        <a:lstStyle/>
        <a:p>
          <a:r>
            <a:rPr lang="en-US"/>
            <a:t>Allows data to stay constant without constant changes which could lead to page splits</a:t>
          </a:r>
          <a:endParaRPr lang="en-US" dirty="0"/>
        </a:p>
      </dgm:t>
    </dgm:pt>
    <dgm:pt modelId="{CDC9AC7D-6045-490F-A18D-148592DB69C1}" type="parTrans" cxnId="{F2B92B18-7D28-47A1-B28A-32528AF8978C}">
      <dgm:prSet/>
      <dgm:spPr/>
      <dgm:t>
        <a:bodyPr/>
        <a:lstStyle/>
        <a:p>
          <a:endParaRPr lang="en-US"/>
        </a:p>
      </dgm:t>
    </dgm:pt>
    <dgm:pt modelId="{E7EF35AA-35DC-47FE-BBF8-0FE5ECEE9566}" type="sibTrans" cxnId="{F2B92B18-7D28-47A1-B28A-32528AF8978C}">
      <dgm:prSet/>
      <dgm:spPr/>
      <dgm:t>
        <a:bodyPr/>
        <a:lstStyle/>
        <a:p>
          <a:endParaRPr lang="en-US"/>
        </a:p>
      </dgm:t>
    </dgm:pt>
    <dgm:pt modelId="{EDF77BD5-F53D-4028-9B5C-2C0F3FCBDE7E}">
      <dgm:prSet/>
      <dgm:spPr/>
      <dgm:t>
        <a:bodyPr/>
        <a:lstStyle/>
        <a:p>
          <a:r>
            <a:rPr lang="en-US"/>
            <a:t>Allows better write performance and reduces fragmentation issues</a:t>
          </a:r>
          <a:endParaRPr lang="en-US" dirty="0"/>
        </a:p>
      </dgm:t>
    </dgm:pt>
    <dgm:pt modelId="{0F0334B8-6FD8-4E7D-BCEE-259D33BD1EC1}" type="parTrans" cxnId="{3F0A83D7-6757-4353-819D-73652EC1A30D}">
      <dgm:prSet/>
      <dgm:spPr/>
      <dgm:t>
        <a:bodyPr/>
        <a:lstStyle/>
        <a:p>
          <a:endParaRPr lang="en-US"/>
        </a:p>
      </dgm:t>
    </dgm:pt>
    <dgm:pt modelId="{F91CD8F3-230C-4CA9-9AE6-1384EF655549}" type="sibTrans" cxnId="{3F0A83D7-6757-4353-819D-73652EC1A30D}">
      <dgm:prSet/>
      <dgm:spPr/>
      <dgm:t>
        <a:bodyPr/>
        <a:lstStyle/>
        <a:p>
          <a:endParaRPr lang="en-US"/>
        </a:p>
      </dgm:t>
    </dgm:pt>
    <dgm:pt modelId="{586E5153-0484-4F6F-BC44-C3BF5C929FDF}" type="pres">
      <dgm:prSet presAssocID="{1A448D31-C715-4C25-A937-6668123F7A8B}" presName="Name0" presStyleCnt="0">
        <dgm:presLayoutVars>
          <dgm:dir/>
          <dgm:animLvl val="lvl"/>
          <dgm:resizeHandles val="exact"/>
        </dgm:presLayoutVars>
      </dgm:prSet>
      <dgm:spPr/>
    </dgm:pt>
    <dgm:pt modelId="{C548EB57-F384-461B-8E2B-A7FAC29EBA6A}" type="pres">
      <dgm:prSet presAssocID="{C0371A71-8227-4A1D-BDBF-7B0C92AF2576}" presName="composite" presStyleCnt="0"/>
      <dgm:spPr/>
    </dgm:pt>
    <dgm:pt modelId="{F3E41B4A-DFAD-4E95-9962-2C093565E9BF}" type="pres">
      <dgm:prSet presAssocID="{C0371A71-8227-4A1D-BDBF-7B0C92AF2576}" presName="parTx" presStyleLbl="alignNode1" presStyleIdx="0" presStyleCnt="4">
        <dgm:presLayoutVars>
          <dgm:chMax val="0"/>
          <dgm:chPref val="0"/>
          <dgm:bulletEnabled val="1"/>
        </dgm:presLayoutVars>
      </dgm:prSet>
      <dgm:spPr/>
    </dgm:pt>
    <dgm:pt modelId="{3054F010-4FBC-416B-9ABF-97AD6E9C8F0D}" type="pres">
      <dgm:prSet presAssocID="{C0371A71-8227-4A1D-BDBF-7B0C92AF2576}" presName="desTx" presStyleLbl="alignAccFollowNode1" presStyleIdx="0" presStyleCnt="4">
        <dgm:presLayoutVars>
          <dgm:bulletEnabled val="1"/>
        </dgm:presLayoutVars>
      </dgm:prSet>
      <dgm:spPr/>
    </dgm:pt>
    <dgm:pt modelId="{014A359F-251E-4FDC-9EA4-5F7CDF8F5809}" type="pres">
      <dgm:prSet presAssocID="{FB1FD7B5-2ABC-477D-8B4B-09B69103F2C0}" presName="space" presStyleCnt="0"/>
      <dgm:spPr/>
    </dgm:pt>
    <dgm:pt modelId="{FC382FAA-574E-4E24-A8CA-18596325EECF}" type="pres">
      <dgm:prSet presAssocID="{05CC7C58-5E8E-4DB2-8DAE-6B81D9124208}" presName="composite" presStyleCnt="0"/>
      <dgm:spPr/>
    </dgm:pt>
    <dgm:pt modelId="{763147AF-1FF9-485A-9729-4A680B954A40}" type="pres">
      <dgm:prSet presAssocID="{05CC7C58-5E8E-4DB2-8DAE-6B81D9124208}" presName="parTx" presStyleLbl="alignNode1" presStyleIdx="1" presStyleCnt="4">
        <dgm:presLayoutVars>
          <dgm:chMax val="0"/>
          <dgm:chPref val="0"/>
          <dgm:bulletEnabled val="1"/>
        </dgm:presLayoutVars>
      </dgm:prSet>
      <dgm:spPr/>
    </dgm:pt>
    <dgm:pt modelId="{BD48AE27-377F-404D-87E4-1FBB0CF4A686}" type="pres">
      <dgm:prSet presAssocID="{05CC7C58-5E8E-4DB2-8DAE-6B81D9124208}" presName="desTx" presStyleLbl="alignAccFollowNode1" presStyleIdx="1" presStyleCnt="4">
        <dgm:presLayoutVars>
          <dgm:bulletEnabled val="1"/>
        </dgm:presLayoutVars>
      </dgm:prSet>
      <dgm:spPr/>
    </dgm:pt>
    <dgm:pt modelId="{B44909F6-07C4-46FB-B31C-5EF8E0EE82EA}" type="pres">
      <dgm:prSet presAssocID="{BD3138C6-7DA8-42D6-B377-E84659E87311}" presName="space" presStyleCnt="0"/>
      <dgm:spPr/>
    </dgm:pt>
    <dgm:pt modelId="{BA9C574A-6F91-4B49-8F50-E2929848BE84}" type="pres">
      <dgm:prSet presAssocID="{662C5D3D-0665-42EE-97A9-A2C92B9EFB9E}" presName="composite" presStyleCnt="0"/>
      <dgm:spPr/>
    </dgm:pt>
    <dgm:pt modelId="{34B2FABE-8128-4E75-B0F4-F292E9EA6E19}" type="pres">
      <dgm:prSet presAssocID="{662C5D3D-0665-42EE-97A9-A2C92B9EFB9E}" presName="parTx" presStyleLbl="alignNode1" presStyleIdx="2" presStyleCnt="4">
        <dgm:presLayoutVars>
          <dgm:chMax val="0"/>
          <dgm:chPref val="0"/>
          <dgm:bulletEnabled val="1"/>
        </dgm:presLayoutVars>
      </dgm:prSet>
      <dgm:spPr/>
    </dgm:pt>
    <dgm:pt modelId="{BB2779C5-2B1E-4DDB-AC32-7413C221669E}" type="pres">
      <dgm:prSet presAssocID="{662C5D3D-0665-42EE-97A9-A2C92B9EFB9E}" presName="desTx" presStyleLbl="alignAccFollowNode1" presStyleIdx="2" presStyleCnt="4">
        <dgm:presLayoutVars>
          <dgm:bulletEnabled val="1"/>
        </dgm:presLayoutVars>
      </dgm:prSet>
      <dgm:spPr/>
    </dgm:pt>
    <dgm:pt modelId="{2AA6173B-C9C6-493E-91F8-7189213CA1B1}" type="pres">
      <dgm:prSet presAssocID="{A269DC89-F8C8-4BC6-BBD4-777E7BD14620}" presName="space" presStyleCnt="0"/>
      <dgm:spPr/>
    </dgm:pt>
    <dgm:pt modelId="{821CEA09-272C-42E2-9C17-CAB01C0B06C7}" type="pres">
      <dgm:prSet presAssocID="{215ECA4E-6BED-40CC-AF21-0A5D146341F1}" presName="composite" presStyleCnt="0"/>
      <dgm:spPr/>
    </dgm:pt>
    <dgm:pt modelId="{6B9C340A-4C2D-4897-B4C9-C697ACEFEFF6}" type="pres">
      <dgm:prSet presAssocID="{215ECA4E-6BED-40CC-AF21-0A5D146341F1}" presName="parTx" presStyleLbl="alignNode1" presStyleIdx="3" presStyleCnt="4">
        <dgm:presLayoutVars>
          <dgm:chMax val="0"/>
          <dgm:chPref val="0"/>
          <dgm:bulletEnabled val="1"/>
        </dgm:presLayoutVars>
      </dgm:prSet>
      <dgm:spPr/>
    </dgm:pt>
    <dgm:pt modelId="{FF30CCCE-2AE3-4D84-8D37-03DD4AB19273}" type="pres">
      <dgm:prSet presAssocID="{215ECA4E-6BED-40CC-AF21-0A5D146341F1}" presName="desTx" presStyleLbl="alignAccFollowNode1" presStyleIdx="3" presStyleCnt="4">
        <dgm:presLayoutVars>
          <dgm:bulletEnabled val="1"/>
        </dgm:presLayoutVars>
      </dgm:prSet>
      <dgm:spPr/>
    </dgm:pt>
  </dgm:ptLst>
  <dgm:cxnLst>
    <dgm:cxn modelId="{6DCFEE13-01C2-408A-8114-AD1114AAFE20}" srcId="{1A448D31-C715-4C25-A937-6668123F7A8B}" destId="{215ECA4E-6BED-40CC-AF21-0A5D146341F1}" srcOrd="3" destOrd="0" parTransId="{2EBEF36C-1454-467B-B216-499EB0E3F2ED}" sibTransId="{D4CBD46E-BB11-4E91-B801-06DFFC90822F}"/>
    <dgm:cxn modelId="{F2B92B18-7D28-47A1-B28A-32528AF8978C}" srcId="{662C5D3D-0665-42EE-97A9-A2C92B9EFB9E}" destId="{CD1FD60E-97BA-40AA-9683-C95AD6289CAC}" srcOrd="0" destOrd="0" parTransId="{CDC9AC7D-6045-490F-A18D-148592DB69C1}" sibTransId="{E7EF35AA-35DC-47FE-BBF8-0FE5ECEE9566}"/>
    <dgm:cxn modelId="{1F7E2B36-9622-4EE9-855A-E837FE8C392C}" type="presOf" srcId="{05CC7C58-5E8E-4DB2-8DAE-6B81D9124208}" destId="{763147AF-1FF9-485A-9729-4A680B954A40}" srcOrd="0" destOrd="0" presId="urn:microsoft.com/office/officeart/2005/8/layout/hList1"/>
    <dgm:cxn modelId="{B273D146-35D1-485B-9613-6E8D3B2C1F98}" srcId="{05CC7C58-5E8E-4DB2-8DAE-6B81D9124208}" destId="{0C51D566-3829-4877-8A55-59F9DB6BA9EA}" srcOrd="0" destOrd="0" parTransId="{C7AC1F09-F590-49C0-BF6D-6955BF4A45D2}" sibTransId="{54724024-5EC3-4292-9A2B-9721470E4EFB}"/>
    <dgm:cxn modelId="{FB350C83-76C7-4D60-BFF3-B5496A5603CC}" type="presOf" srcId="{C0371A71-8227-4A1D-BDBF-7B0C92AF2576}" destId="{F3E41B4A-DFAD-4E95-9962-2C093565E9BF}" srcOrd="0" destOrd="0" presId="urn:microsoft.com/office/officeart/2005/8/layout/hList1"/>
    <dgm:cxn modelId="{F1831D9B-6397-4396-AE16-86EE913DF3E8}" srcId="{1A448D31-C715-4C25-A937-6668123F7A8B}" destId="{662C5D3D-0665-42EE-97A9-A2C92B9EFB9E}" srcOrd="2" destOrd="0" parTransId="{BA6D6B89-AC46-4E2E-849C-A899AC8B78CD}" sibTransId="{A269DC89-F8C8-4BC6-BBD4-777E7BD14620}"/>
    <dgm:cxn modelId="{241FCBA3-6D3A-4BC1-BC1E-7D24D867F99A}" srcId="{C0371A71-8227-4A1D-BDBF-7B0C92AF2576}" destId="{90FC4E6A-9CC1-47BF-8031-A7B464137FD1}" srcOrd="0" destOrd="0" parTransId="{C4A42051-0465-45D7-83E3-9AFEBD03CDE4}" sibTransId="{4A7339F3-7E8B-460C-8FE7-A96DC028B0B8}"/>
    <dgm:cxn modelId="{4D4047AF-CE64-429F-965D-CB64EBF5948B}" srcId="{1A448D31-C715-4C25-A937-6668123F7A8B}" destId="{C0371A71-8227-4A1D-BDBF-7B0C92AF2576}" srcOrd="0" destOrd="0" parTransId="{2D656315-13CF-4C01-AA11-248F57538071}" sibTransId="{FB1FD7B5-2ABC-477D-8B4B-09B69103F2C0}"/>
    <dgm:cxn modelId="{48CAF2B1-22F7-490D-9080-69B656E285F3}" type="presOf" srcId="{662C5D3D-0665-42EE-97A9-A2C92B9EFB9E}" destId="{34B2FABE-8128-4E75-B0F4-F292E9EA6E19}" srcOrd="0" destOrd="0" presId="urn:microsoft.com/office/officeart/2005/8/layout/hList1"/>
    <dgm:cxn modelId="{035565B9-D9CC-47B7-9B3A-1C4273CC4EE0}" type="presOf" srcId="{1A448D31-C715-4C25-A937-6668123F7A8B}" destId="{586E5153-0484-4F6F-BC44-C3BF5C929FDF}" srcOrd="0" destOrd="0" presId="urn:microsoft.com/office/officeart/2005/8/layout/hList1"/>
    <dgm:cxn modelId="{4FB14ACD-51BA-478D-A46F-76890FA627F6}" type="presOf" srcId="{0C51D566-3829-4877-8A55-59F9DB6BA9EA}" destId="{BD48AE27-377F-404D-87E4-1FBB0CF4A686}" srcOrd="0" destOrd="0" presId="urn:microsoft.com/office/officeart/2005/8/layout/hList1"/>
    <dgm:cxn modelId="{3F0A83D7-6757-4353-819D-73652EC1A30D}" srcId="{215ECA4E-6BED-40CC-AF21-0A5D146341F1}" destId="{EDF77BD5-F53D-4028-9B5C-2C0F3FCBDE7E}" srcOrd="0" destOrd="0" parTransId="{0F0334B8-6FD8-4E7D-BCEE-259D33BD1EC1}" sibTransId="{F91CD8F3-230C-4CA9-9AE6-1384EF655549}"/>
    <dgm:cxn modelId="{935F1CDC-577C-4478-B591-64AB84083553}" type="presOf" srcId="{CD1FD60E-97BA-40AA-9683-C95AD6289CAC}" destId="{BB2779C5-2B1E-4DDB-AC32-7413C221669E}" srcOrd="0" destOrd="0" presId="urn:microsoft.com/office/officeart/2005/8/layout/hList1"/>
    <dgm:cxn modelId="{97B251DD-0E80-46D0-8E67-63505A6ADB69}" type="presOf" srcId="{EDF77BD5-F53D-4028-9B5C-2C0F3FCBDE7E}" destId="{FF30CCCE-2AE3-4D84-8D37-03DD4AB19273}" srcOrd="0" destOrd="0" presId="urn:microsoft.com/office/officeart/2005/8/layout/hList1"/>
    <dgm:cxn modelId="{5AFBADDD-0E51-4D82-8D21-9A69B7D73141}" srcId="{1A448D31-C715-4C25-A937-6668123F7A8B}" destId="{05CC7C58-5E8E-4DB2-8DAE-6B81D9124208}" srcOrd="1" destOrd="0" parTransId="{1EF37DE7-9BD7-45A0-83AD-F27AAA8E516A}" sibTransId="{BD3138C6-7DA8-42D6-B377-E84659E87311}"/>
    <dgm:cxn modelId="{6D8ADDF7-292B-412D-A20C-82979941C8D9}" type="presOf" srcId="{90FC4E6A-9CC1-47BF-8031-A7B464137FD1}" destId="{3054F010-4FBC-416B-9ABF-97AD6E9C8F0D}" srcOrd="0" destOrd="0" presId="urn:microsoft.com/office/officeart/2005/8/layout/hList1"/>
    <dgm:cxn modelId="{7DD744FD-BBD2-4655-9216-574EC898C000}" type="presOf" srcId="{215ECA4E-6BED-40CC-AF21-0A5D146341F1}" destId="{6B9C340A-4C2D-4897-B4C9-C697ACEFEFF6}" srcOrd="0" destOrd="0" presId="urn:microsoft.com/office/officeart/2005/8/layout/hList1"/>
    <dgm:cxn modelId="{3153035A-1D11-4151-BCD9-D7C4C87C8C40}" type="presParOf" srcId="{586E5153-0484-4F6F-BC44-C3BF5C929FDF}" destId="{C548EB57-F384-461B-8E2B-A7FAC29EBA6A}" srcOrd="0" destOrd="0" presId="urn:microsoft.com/office/officeart/2005/8/layout/hList1"/>
    <dgm:cxn modelId="{6EDEB3D4-3F13-422F-9CDC-FFA8E65C05EC}" type="presParOf" srcId="{C548EB57-F384-461B-8E2B-A7FAC29EBA6A}" destId="{F3E41B4A-DFAD-4E95-9962-2C093565E9BF}" srcOrd="0" destOrd="0" presId="urn:microsoft.com/office/officeart/2005/8/layout/hList1"/>
    <dgm:cxn modelId="{6968D1F9-1505-437B-B90E-D5F68FFEB6C9}" type="presParOf" srcId="{C548EB57-F384-461B-8E2B-A7FAC29EBA6A}" destId="{3054F010-4FBC-416B-9ABF-97AD6E9C8F0D}" srcOrd="1" destOrd="0" presId="urn:microsoft.com/office/officeart/2005/8/layout/hList1"/>
    <dgm:cxn modelId="{EE614A14-F1EF-4387-B2D6-1C73D3AF2D5C}" type="presParOf" srcId="{586E5153-0484-4F6F-BC44-C3BF5C929FDF}" destId="{014A359F-251E-4FDC-9EA4-5F7CDF8F5809}" srcOrd="1" destOrd="0" presId="urn:microsoft.com/office/officeart/2005/8/layout/hList1"/>
    <dgm:cxn modelId="{9AD67C64-2064-45BE-B9D7-7DA1B0926509}" type="presParOf" srcId="{586E5153-0484-4F6F-BC44-C3BF5C929FDF}" destId="{FC382FAA-574E-4E24-A8CA-18596325EECF}" srcOrd="2" destOrd="0" presId="urn:microsoft.com/office/officeart/2005/8/layout/hList1"/>
    <dgm:cxn modelId="{DF4E9BD4-58A5-449D-90AA-8F72A4FFB872}" type="presParOf" srcId="{FC382FAA-574E-4E24-A8CA-18596325EECF}" destId="{763147AF-1FF9-485A-9729-4A680B954A40}" srcOrd="0" destOrd="0" presId="urn:microsoft.com/office/officeart/2005/8/layout/hList1"/>
    <dgm:cxn modelId="{9A7D0896-C75C-4C74-AF21-54A543A6B596}" type="presParOf" srcId="{FC382FAA-574E-4E24-A8CA-18596325EECF}" destId="{BD48AE27-377F-404D-87E4-1FBB0CF4A686}" srcOrd="1" destOrd="0" presId="urn:microsoft.com/office/officeart/2005/8/layout/hList1"/>
    <dgm:cxn modelId="{419B4E19-BC62-441C-A8C4-B2513E06180A}" type="presParOf" srcId="{586E5153-0484-4F6F-BC44-C3BF5C929FDF}" destId="{B44909F6-07C4-46FB-B31C-5EF8E0EE82EA}" srcOrd="3" destOrd="0" presId="urn:microsoft.com/office/officeart/2005/8/layout/hList1"/>
    <dgm:cxn modelId="{9E59A2B2-B691-4FEB-BAE7-FD837798B016}" type="presParOf" srcId="{586E5153-0484-4F6F-BC44-C3BF5C929FDF}" destId="{BA9C574A-6F91-4B49-8F50-E2929848BE84}" srcOrd="4" destOrd="0" presId="urn:microsoft.com/office/officeart/2005/8/layout/hList1"/>
    <dgm:cxn modelId="{68EA1A1C-9BA2-4F34-8ED1-52B53D949A0D}" type="presParOf" srcId="{BA9C574A-6F91-4B49-8F50-E2929848BE84}" destId="{34B2FABE-8128-4E75-B0F4-F292E9EA6E19}" srcOrd="0" destOrd="0" presId="urn:microsoft.com/office/officeart/2005/8/layout/hList1"/>
    <dgm:cxn modelId="{11243C66-D2D8-4E9E-BDBC-E237C123DB0F}" type="presParOf" srcId="{BA9C574A-6F91-4B49-8F50-E2929848BE84}" destId="{BB2779C5-2B1E-4DDB-AC32-7413C221669E}" srcOrd="1" destOrd="0" presId="urn:microsoft.com/office/officeart/2005/8/layout/hList1"/>
    <dgm:cxn modelId="{F70B092E-7B4F-4028-9432-A93837B706BD}" type="presParOf" srcId="{586E5153-0484-4F6F-BC44-C3BF5C929FDF}" destId="{2AA6173B-C9C6-493E-91F8-7189213CA1B1}" srcOrd="5" destOrd="0" presId="urn:microsoft.com/office/officeart/2005/8/layout/hList1"/>
    <dgm:cxn modelId="{66E1B0DC-E4BC-4141-8AEB-7C7E12355346}" type="presParOf" srcId="{586E5153-0484-4F6F-BC44-C3BF5C929FDF}" destId="{821CEA09-272C-42E2-9C17-CAB01C0B06C7}" srcOrd="6" destOrd="0" presId="urn:microsoft.com/office/officeart/2005/8/layout/hList1"/>
    <dgm:cxn modelId="{D08A84AF-3677-461F-8C6A-7CA72072D0EA}" type="presParOf" srcId="{821CEA09-272C-42E2-9C17-CAB01C0B06C7}" destId="{6B9C340A-4C2D-4897-B4C9-C697ACEFEFF6}" srcOrd="0" destOrd="0" presId="urn:microsoft.com/office/officeart/2005/8/layout/hList1"/>
    <dgm:cxn modelId="{70E3C2D1-12E0-4DE3-B038-E9EE7EC65112}" type="presParOf" srcId="{821CEA09-272C-42E2-9C17-CAB01C0B06C7}" destId="{FF30CCCE-2AE3-4D84-8D37-03DD4AB1927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9F295D1-9495-434A-ACDE-B09239C271C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DD1C4F13-9FC4-486B-91FB-D2E3781CFB6C}">
      <dgm:prSet custT="1"/>
      <dgm:spPr/>
      <dgm:t>
        <a:bodyPr/>
        <a:lstStyle/>
        <a:p>
          <a:r>
            <a:rPr lang="en-US" sz="2400" baseline="0" dirty="0"/>
            <a:t>Frequently, clustering on the primary key supports the clustered index best practices </a:t>
          </a:r>
          <a:endParaRPr lang="en-US" sz="2400" dirty="0"/>
        </a:p>
      </dgm:t>
    </dgm:pt>
    <dgm:pt modelId="{64CC6276-EE0E-4816-9172-152B5B247414}" type="parTrans" cxnId="{49D5AC7D-AF2F-49BA-9207-56C52A9C988F}">
      <dgm:prSet/>
      <dgm:spPr/>
      <dgm:t>
        <a:bodyPr/>
        <a:lstStyle/>
        <a:p>
          <a:endParaRPr lang="en-US"/>
        </a:p>
      </dgm:t>
    </dgm:pt>
    <dgm:pt modelId="{1B4874DD-54E1-4EE9-A7E7-2C4662B25B82}" type="sibTrans" cxnId="{49D5AC7D-AF2F-49BA-9207-56C52A9C988F}">
      <dgm:prSet/>
      <dgm:spPr/>
      <dgm:t>
        <a:bodyPr/>
        <a:lstStyle/>
        <a:p>
          <a:endParaRPr lang="en-US"/>
        </a:p>
      </dgm:t>
    </dgm:pt>
    <dgm:pt modelId="{2D42EFAF-3975-4A3A-B5A2-2077753EE229}">
      <dgm:prSet custT="1"/>
      <dgm:spPr/>
      <dgm:t>
        <a:bodyPr/>
        <a:lstStyle/>
        <a:p>
          <a:r>
            <a:rPr lang="en-US" sz="2000" baseline="0" dirty="0"/>
            <a:t>Primary keys are involved in joins to foreign keys</a:t>
          </a:r>
          <a:endParaRPr lang="en-US" sz="2000" dirty="0"/>
        </a:p>
      </dgm:t>
    </dgm:pt>
    <dgm:pt modelId="{6D9D9BED-EF60-4FB5-8E3C-7106D19470DB}" type="parTrans" cxnId="{7114ED15-35F6-4D36-9142-8CE86206E879}">
      <dgm:prSet/>
      <dgm:spPr/>
      <dgm:t>
        <a:bodyPr/>
        <a:lstStyle/>
        <a:p>
          <a:endParaRPr lang="en-US"/>
        </a:p>
      </dgm:t>
    </dgm:pt>
    <dgm:pt modelId="{0FC9CB30-2DC0-4138-9390-2A50E002690E}" type="sibTrans" cxnId="{7114ED15-35F6-4D36-9142-8CE86206E879}">
      <dgm:prSet/>
      <dgm:spPr/>
      <dgm:t>
        <a:bodyPr/>
        <a:lstStyle/>
        <a:p>
          <a:endParaRPr lang="en-US"/>
        </a:p>
      </dgm:t>
    </dgm:pt>
    <dgm:pt modelId="{0239D5E1-3BBD-4386-9395-F1AF465C356D}">
      <dgm:prSet custT="1"/>
      <dgm:spPr/>
      <dgm:t>
        <a:bodyPr/>
        <a:lstStyle/>
        <a:p>
          <a:r>
            <a:rPr lang="en-US" sz="2000" baseline="0" dirty="0"/>
            <a:t>Primary keys are unique</a:t>
          </a:r>
          <a:endParaRPr lang="en-US" sz="2000" dirty="0"/>
        </a:p>
      </dgm:t>
    </dgm:pt>
    <dgm:pt modelId="{CBDAA1F9-4092-4277-847D-0E6773FD2C84}" type="parTrans" cxnId="{44C2D8E8-CCEE-4B57-8656-1D77264E4028}">
      <dgm:prSet/>
      <dgm:spPr/>
      <dgm:t>
        <a:bodyPr/>
        <a:lstStyle/>
        <a:p>
          <a:endParaRPr lang="en-US"/>
        </a:p>
      </dgm:t>
    </dgm:pt>
    <dgm:pt modelId="{53E3366E-CAC7-4C89-9FA8-59ADDCBD6A08}" type="sibTrans" cxnId="{44C2D8E8-CCEE-4B57-8656-1D77264E4028}">
      <dgm:prSet/>
      <dgm:spPr/>
      <dgm:t>
        <a:bodyPr/>
        <a:lstStyle/>
        <a:p>
          <a:endParaRPr lang="en-US"/>
        </a:p>
      </dgm:t>
    </dgm:pt>
    <dgm:pt modelId="{9C6ADCDC-715E-4235-BC0A-4E380E60CA57}">
      <dgm:prSet custT="1"/>
      <dgm:spPr/>
      <dgm:t>
        <a:bodyPr/>
        <a:lstStyle/>
        <a:p>
          <a:r>
            <a:rPr lang="en-US" sz="2000" baseline="0" dirty="0"/>
            <a:t>Primary keys are typically ascending</a:t>
          </a:r>
          <a:endParaRPr lang="en-US" sz="2000" dirty="0"/>
        </a:p>
      </dgm:t>
    </dgm:pt>
    <dgm:pt modelId="{D5F2B347-2211-4F6E-8342-7E4431B8558E}" type="parTrans" cxnId="{8431FBA7-A20C-4BB7-9790-89512FF7FA31}">
      <dgm:prSet/>
      <dgm:spPr/>
      <dgm:t>
        <a:bodyPr/>
        <a:lstStyle/>
        <a:p>
          <a:endParaRPr lang="en-US"/>
        </a:p>
      </dgm:t>
    </dgm:pt>
    <dgm:pt modelId="{FF33BD2F-D60A-4F23-B375-11572ACD4CA1}" type="sibTrans" cxnId="{8431FBA7-A20C-4BB7-9790-89512FF7FA31}">
      <dgm:prSet/>
      <dgm:spPr/>
      <dgm:t>
        <a:bodyPr/>
        <a:lstStyle/>
        <a:p>
          <a:endParaRPr lang="en-US"/>
        </a:p>
      </dgm:t>
    </dgm:pt>
    <dgm:pt modelId="{A1065AE8-CB36-4F21-878D-A464BB548BBB}">
      <dgm:prSet custT="1"/>
      <dgm:spPr/>
      <dgm:t>
        <a:bodyPr/>
        <a:lstStyle/>
        <a:p>
          <a:r>
            <a:rPr lang="en-US" sz="2000" baseline="0" dirty="0"/>
            <a:t>Primary keys are typically not updated</a:t>
          </a:r>
          <a:endParaRPr lang="en-US" sz="2000" dirty="0"/>
        </a:p>
      </dgm:t>
    </dgm:pt>
    <dgm:pt modelId="{40746178-96B7-4178-BA54-791C9FD039AA}" type="parTrans" cxnId="{71A75A16-24B2-4B43-894E-B226AEC37543}">
      <dgm:prSet/>
      <dgm:spPr/>
      <dgm:t>
        <a:bodyPr/>
        <a:lstStyle/>
        <a:p>
          <a:endParaRPr lang="en-US"/>
        </a:p>
      </dgm:t>
    </dgm:pt>
    <dgm:pt modelId="{B6B8D920-632B-48A4-AE02-63B1AAAE9DD5}" type="sibTrans" cxnId="{71A75A16-24B2-4B43-894E-B226AEC37543}">
      <dgm:prSet/>
      <dgm:spPr/>
      <dgm:t>
        <a:bodyPr/>
        <a:lstStyle/>
        <a:p>
          <a:endParaRPr lang="en-US"/>
        </a:p>
      </dgm:t>
    </dgm:pt>
    <dgm:pt modelId="{371D3977-141F-4BF0-B9EA-633D5BB69409}">
      <dgm:prSet custT="1"/>
      <dgm:spPr/>
      <dgm:t>
        <a:bodyPr/>
        <a:lstStyle/>
        <a:p>
          <a:r>
            <a:rPr lang="en-US" sz="2400" baseline="0" dirty="0"/>
            <a:t>Do not cluster on the Primary key IF:</a:t>
          </a:r>
          <a:endParaRPr lang="en-US" sz="2400" dirty="0"/>
        </a:p>
      </dgm:t>
    </dgm:pt>
    <dgm:pt modelId="{50FDAC76-F8FF-4045-A528-B019CB297FBE}" type="parTrans" cxnId="{1AD3CE01-A084-478F-B173-D8F4FE644C2F}">
      <dgm:prSet/>
      <dgm:spPr/>
      <dgm:t>
        <a:bodyPr/>
        <a:lstStyle/>
        <a:p>
          <a:endParaRPr lang="en-US"/>
        </a:p>
      </dgm:t>
    </dgm:pt>
    <dgm:pt modelId="{F52CDA41-6081-42B4-A6AA-C51B619A7F6B}" type="sibTrans" cxnId="{1AD3CE01-A084-478F-B173-D8F4FE644C2F}">
      <dgm:prSet/>
      <dgm:spPr/>
      <dgm:t>
        <a:bodyPr/>
        <a:lstStyle/>
        <a:p>
          <a:endParaRPr lang="en-US"/>
        </a:p>
      </dgm:t>
    </dgm:pt>
    <dgm:pt modelId="{048D4CC5-ED7C-4310-B812-228484C5207A}">
      <dgm:prSet custT="1"/>
      <dgm:spPr/>
      <dgm:t>
        <a:bodyPr/>
        <a:lstStyle/>
        <a:p>
          <a:r>
            <a:rPr lang="en-US" sz="2000" baseline="0" dirty="0"/>
            <a:t>When table is accessed by other keys than the primary key</a:t>
          </a:r>
          <a:endParaRPr lang="en-US" sz="2000" dirty="0"/>
        </a:p>
      </dgm:t>
    </dgm:pt>
    <dgm:pt modelId="{975F103A-4E35-4AC6-AD19-4694D08DCCF2}" type="parTrans" cxnId="{B899F9B1-04FB-430F-86AD-088CAC7B886F}">
      <dgm:prSet/>
      <dgm:spPr/>
      <dgm:t>
        <a:bodyPr/>
        <a:lstStyle/>
        <a:p>
          <a:endParaRPr lang="en-US"/>
        </a:p>
      </dgm:t>
    </dgm:pt>
    <dgm:pt modelId="{E487A8B6-1A5D-405C-B048-CE528E7FF69E}" type="sibTrans" cxnId="{B899F9B1-04FB-430F-86AD-088CAC7B886F}">
      <dgm:prSet/>
      <dgm:spPr/>
      <dgm:t>
        <a:bodyPr/>
        <a:lstStyle/>
        <a:p>
          <a:endParaRPr lang="en-US"/>
        </a:p>
      </dgm:t>
    </dgm:pt>
    <dgm:pt modelId="{1609C9F7-F4B3-44BB-BBB0-F3652566417F}">
      <dgm:prSet custT="1"/>
      <dgm:spPr/>
      <dgm:t>
        <a:bodyPr/>
        <a:lstStyle/>
        <a:p>
          <a:r>
            <a:rPr lang="en-US" sz="2000" dirty="0"/>
            <a:t>Query predicate use Primary Key</a:t>
          </a:r>
        </a:p>
      </dgm:t>
    </dgm:pt>
    <dgm:pt modelId="{7F4A7DE5-3685-48B9-95E1-11520F9090D7}" type="parTrans" cxnId="{8E954427-1E32-498D-BA2C-878880E64212}">
      <dgm:prSet/>
      <dgm:spPr/>
      <dgm:t>
        <a:bodyPr/>
        <a:lstStyle/>
        <a:p>
          <a:endParaRPr lang="en-US"/>
        </a:p>
      </dgm:t>
    </dgm:pt>
    <dgm:pt modelId="{56B78EF2-8DAB-403D-9668-FBE36ABE0E5E}" type="sibTrans" cxnId="{8E954427-1E32-498D-BA2C-878880E64212}">
      <dgm:prSet/>
      <dgm:spPr/>
      <dgm:t>
        <a:bodyPr/>
        <a:lstStyle/>
        <a:p>
          <a:endParaRPr lang="en-US"/>
        </a:p>
      </dgm:t>
    </dgm:pt>
    <dgm:pt modelId="{FB81EDA5-4273-45DF-9E09-869D5B2A71D5}">
      <dgm:prSet custT="1"/>
      <dgm:spPr/>
      <dgm:t>
        <a:bodyPr/>
        <a:lstStyle/>
        <a:p>
          <a:r>
            <a:rPr lang="en-US" sz="2000" dirty="0"/>
            <a:t>Common issue accessing association or child table, when these tables require different primary key than parent table</a:t>
          </a:r>
        </a:p>
      </dgm:t>
    </dgm:pt>
    <dgm:pt modelId="{A62B411E-F6D5-4F92-83D3-6F2B8486B777}" type="parTrans" cxnId="{22ECD1D3-DF05-4CBB-94CE-19E409781003}">
      <dgm:prSet/>
      <dgm:spPr/>
      <dgm:t>
        <a:bodyPr/>
        <a:lstStyle/>
        <a:p>
          <a:endParaRPr lang="en-US"/>
        </a:p>
      </dgm:t>
    </dgm:pt>
    <dgm:pt modelId="{0A65757F-5C77-4CB8-B9B3-1C46F2E8060F}" type="sibTrans" cxnId="{22ECD1D3-DF05-4CBB-94CE-19E409781003}">
      <dgm:prSet/>
      <dgm:spPr/>
      <dgm:t>
        <a:bodyPr/>
        <a:lstStyle/>
        <a:p>
          <a:endParaRPr lang="en-US"/>
        </a:p>
      </dgm:t>
    </dgm:pt>
    <dgm:pt modelId="{66704821-7248-43BE-B82A-87EC2C1731B6}">
      <dgm:prSet custT="1"/>
      <dgm:spPr/>
      <dgm:t>
        <a:bodyPr/>
        <a:lstStyle/>
        <a:p>
          <a:r>
            <a:rPr lang="en-US" sz="2000" baseline="0"/>
            <a:t>Use sys.dm_db_index_usage_stats to review data access patterns of index</a:t>
          </a:r>
          <a:endParaRPr lang="en-US" sz="2000" dirty="0"/>
        </a:p>
      </dgm:t>
    </dgm:pt>
    <dgm:pt modelId="{8A74600B-7385-4A3E-A2DC-3C1448B158CD}" type="parTrans" cxnId="{BB61EE6E-1AD7-4CA1-A918-FEF6E1861C99}">
      <dgm:prSet/>
      <dgm:spPr/>
      <dgm:t>
        <a:bodyPr/>
        <a:lstStyle/>
        <a:p>
          <a:endParaRPr lang="en-US"/>
        </a:p>
      </dgm:t>
    </dgm:pt>
    <dgm:pt modelId="{0BC50B3F-ECF6-49FD-BF75-74D690A9EA59}" type="sibTrans" cxnId="{BB61EE6E-1AD7-4CA1-A918-FEF6E1861C99}">
      <dgm:prSet/>
      <dgm:spPr/>
      <dgm:t>
        <a:bodyPr/>
        <a:lstStyle/>
        <a:p>
          <a:endParaRPr lang="en-US"/>
        </a:p>
      </dgm:t>
    </dgm:pt>
    <dgm:pt modelId="{1F3A83D4-6249-49E9-9B7E-09B9B0FA5858}" type="pres">
      <dgm:prSet presAssocID="{69F295D1-9495-434A-ACDE-B09239C271C2}" presName="Name0" presStyleCnt="0">
        <dgm:presLayoutVars>
          <dgm:dir/>
          <dgm:animLvl val="lvl"/>
          <dgm:resizeHandles val="exact"/>
        </dgm:presLayoutVars>
      </dgm:prSet>
      <dgm:spPr/>
    </dgm:pt>
    <dgm:pt modelId="{0ED41FA7-CF40-41A8-8478-61A100DA76A2}" type="pres">
      <dgm:prSet presAssocID="{DD1C4F13-9FC4-486B-91FB-D2E3781CFB6C}" presName="composite" presStyleCnt="0"/>
      <dgm:spPr/>
    </dgm:pt>
    <dgm:pt modelId="{860BFC81-22E8-45D4-901A-23C691F6DEB9}" type="pres">
      <dgm:prSet presAssocID="{DD1C4F13-9FC4-486B-91FB-D2E3781CFB6C}" presName="parTx" presStyleLbl="alignNode1" presStyleIdx="0" presStyleCnt="2">
        <dgm:presLayoutVars>
          <dgm:chMax val="0"/>
          <dgm:chPref val="0"/>
          <dgm:bulletEnabled val="1"/>
        </dgm:presLayoutVars>
      </dgm:prSet>
      <dgm:spPr/>
    </dgm:pt>
    <dgm:pt modelId="{6AF58ACC-1A49-4713-A8CF-20B66EAA09E8}" type="pres">
      <dgm:prSet presAssocID="{DD1C4F13-9FC4-486B-91FB-D2E3781CFB6C}" presName="desTx" presStyleLbl="alignAccFollowNode1" presStyleIdx="0" presStyleCnt="2">
        <dgm:presLayoutVars>
          <dgm:bulletEnabled val="1"/>
        </dgm:presLayoutVars>
      </dgm:prSet>
      <dgm:spPr/>
    </dgm:pt>
    <dgm:pt modelId="{05F6E754-1249-41A9-8521-CC943A994D34}" type="pres">
      <dgm:prSet presAssocID="{1B4874DD-54E1-4EE9-A7E7-2C4662B25B82}" presName="space" presStyleCnt="0"/>
      <dgm:spPr/>
    </dgm:pt>
    <dgm:pt modelId="{50E9CBC8-1370-4E73-AF3B-03E9242989B0}" type="pres">
      <dgm:prSet presAssocID="{371D3977-141F-4BF0-B9EA-633D5BB69409}" presName="composite" presStyleCnt="0"/>
      <dgm:spPr/>
    </dgm:pt>
    <dgm:pt modelId="{C2D0EB96-AF50-4A35-A3DE-D8C7A53C0B87}" type="pres">
      <dgm:prSet presAssocID="{371D3977-141F-4BF0-B9EA-633D5BB69409}" presName="parTx" presStyleLbl="alignNode1" presStyleIdx="1" presStyleCnt="2">
        <dgm:presLayoutVars>
          <dgm:chMax val="0"/>
          <dgm:chPref val="0"/>
          <dgm:bulletEnabled val="1"/>
        </dgm:presLayoutVars>
      </dgm:prSet>
      <dgm:spPr/>
    </dgm:pt>
    <dgm:pt modelId="{EC2D2716-7AE0-4C46-9709-86BA3F5024B8}" type="pres">
      <dgm:prSet presAssocID="{371D3977-141F-4BF0-B9EA-633D5BB69409}" presName="desTx" presStyleLbl="alignAccFollowNode1" presStyleIdx="1" presStyleCnt="2">
        <dgm:presLayoutVars>
          <dgm:bulletEnabled val="1"/>
        </dgm:presLayoutVars>
      </dgm:prSet>
      <dgm:spPr/>
    </dgm:pt>
  </dgm:ptLst>
  <dgm:cxnLst>
    <dgm:cxn modelId="{1AD3CE01-A084-478F-B173-D8F4FE644C2F}" srcId="{69F295D1-9495-434A-ACDE-B09239C271C2}" destId="{371D3977-141F-4BF0-B9EA-633D5BB69409}" srcOrd="1" destOrd="0" parTransId="{50FDAC76-F8FF-4045-A528-B019CB297FBE}" sibTransId="{F52CDA41-6081-42B4-A6AA-C51B619A7F6B}"/>
    <dgm:cxn modelId="{7E5FF513-45C0-45BC-AB30-4FA942476594}" type="presOf" srcId="{048D4CC5-ED7C-4310-B812-228484C5207A}" destId="{EC2D2716-7AE0-4C46-9709-86BA3F5024B8}" srcOrd="0" destOrd="0" presId="urn:microsoft.com/office/officeart/2005/8/layout/hList1"/>
    <dgm:cxn modelId="{7114ED15-35F6-4D36-9142-8CE86206E879}" srcId="{DD1C4F13-9FC4-486B-91FB-D2E3781CFB6C}" destId="{2D42EFAF-3975-4A3A-B5A2-2077753EE229}" srcOrd="1" destOrd="0" parTransId="{6D9D9BED-EF60-4FB5-8E3C-7106D19470DB}" sibTransId="{0FC9CB30-2DC0-4138-9390-2A50E002690E}"/>
    <dgm:cxn modelId="{71A75A16-24B2-4B43-894E-B226AEC37543}" srcId="{DD1C4F13-9FC4-486B-91FB-D2E3781CFB6C}" destId="{A1065AE8-CB36-4F21-878D-A464BB548BBB}" srcOrd="4" destOrd="0" parTransId="{40746178-96B7-4178-BA54-791C9FD039AA}" sibTransId="{B6B8D920-632B-48A4-AE02-63B1AAAE9DD5}"/>
    <dgm:cxn modelId="{8E954427-1E32-498D-BA2C-878880E64212}" srcId="{DD1C4F13-9FC4-486B-91FB-D2E3781CFB6C}" destId="{1609C9F7-F4B3-44BB-BBB0-F3652566417F}" srcOrd="0" destOrd="0" parTransId="{7F4A7DE5-3685-48B9-95E1-11520F9090D7}" sibTransId="{56B78EF2-8DAB-403D-9668-FBE36ABE0E5E}"/>
    <dgm:cxn modelId="{FD01F45E-61B4-4DBE-A742-CFC26C5275E6}" type="presOf" srcId="{69F295D1-9495-434A-ACDE-B09239C271C2}" destId="{1F3A83D4-6249-49E9-9B7E-09B9B0FA5858}" srcOrd="0" destOrd="0" presId="urn:microsoft.com/office/officeart/2005/8/layout/hList1"/>
    <dgm:cxn modelId="{E7DEFE41-28B9-42B7-9172-6253F0C27CB7}" type="presOf" srcId="{371D3977-141F-4BF0-B9EA-633D5BB69409}" destId="{C2D0EB96-AF50-4A35-A3DE-D8C7A53C0B87}" srcOrd="0" destOrd="0" presId="urn:microsoft.com/office/officeart/2005/8/layout/hList1"/>
    <dgm:cxn modelId="{BB61EE6E-1AD7-4CA1-A918-FEF6E1861C99}" srcId="{371D3977-141F-4BF0-B9EA-633D5BB69409}" destId="{66704821-7248-43BE-B82A-87EC2C1731B6}" srcOrd="2" destOrd="0" parTransId="{8A74600B-7385-4A3E-A2DC-3C1448B158CD}" sibTransId="{0BC50B3F-ECF6-49FD-BF75-74D690A9EA59}"/>
    <dgm:cxn modelId="{FEC87B78-E446-4065-BA8C-1A6D42DA74D1}" type="presOf" srcId="{0239D5E1-3BBD-4386-9395-F1AF465C356D}" destId="{6AF58ACC-1A49-4713-A8CF-20B66EAA09E8}" srcOrd="0" destOrd="2" presId="urn:microsoft.com/office/officeart/2005/8/layout/hList1"/>
    <dgm:cxn modelId="{49D5AC7D-AF2F-49BA-9207-56C52A9C988F}" srcId="{69F295D1-9495-434A-ACDE-B09239C271C2}" destId="{DD1C4F13-9FC4-486B-91FB-D2E3781CFB6C}" srcOrd="0" destOrd="0" parTransId="{64CC6276-EE0E-4816-9172-152B5B247414}" sibTransId="{1B4874DD-54E1-4EE9-A7E7-2C4662B25B82}"/>
    <dgm:cxn modelId="{E3CB4282-1185-401C-ABBC-855B7C2A63DD}" type="presOf" srcId="{9C6ADCDC-715E-4235-BC0A-4E380E60CA57}" destId="{6AF58ACC-1A49-4713-A8CF-20B66EAA09E8}" srcOrd="0" destOrd="3" presId="urn:microsoft.com/office/officeart/2005/8/layout/hList1"/>
    <dgm:cxn modelId="{960E4F95-325B-4BF3-BF3C-F093C6DCFE31}" type="presOf" srcId="{DD1C4F13-9FC4-486B-91FB-D2E3781CFB6C}" destId="{860BFC81-22E8-45D4-901A-23C691F6DEB9}" srcOrd="0" destOrd="0" presId="urn:microsoft.com/office/officeart/2005/8/layout/hList1"/>
    <dgm:cxn modelId="{8431FBA7-A20C-4BB7-9790-89512FF7FA31}" srcId="{DD1C4F13-9FC4-486B-91FB-D2E3781CFB6C}" destId="{9C6ADCDC-715E-4235-BC0A-4E380E60CA57}" srcOrd="3" destOrd="0" parTransId="{D5F2B347-2211-4F6E-8342-7E4431B8558E}" sibTransId="{FF33BD2F-D60A-4F23-B375-11572ACD4CA1}"/>
    <dgm:cxn modelId="{A2085BAF-ED15-47A5-A34B-4249EB361E87}" type="presOf" srcId="{FB81EDA5-4273-45DF-9E09-869D5B2A71D5}" destId="{EC2D2716-7AE0-4C46-9709-86BA3F5024B8}" srcOrd="0" destOrd="1" presId="urn:microsoft.com/office/officeart/2005/8/layout/hList1"/>
    <dgm:cxn modelId="{B899F9B1-04FB-430F-86AD-088CAC7B886F}" srcId="{371D3977-141F-4BF0-B9EA-633D5BB69409}" destId="{048D4CC5-ED7C-4310-B812-228484C5207A}" srcOrd="0" destOrd="0" parTransId="{975F103A-4E35-4AC6-AD19-4694D08DCCF2}" sibTransId="{E487A8B6-1A5D-405C-B048-CE528E7FF69E}"/>
    <dgm:cxn modelId="{689190B7-D34E-4D77-8E8D-E8BF333478AE}" type="presOf" srcId="{1609C9F7-F4B3-44BB-BBB0-F3652566417F}" destId="{6AF58ACC-1A49-4713-A8CF-20B66EAA09E8}" srcOrd="0" destOrd="0" presId="urn:microsoft.com/office/officeart/2005/8/layout/hList1"/>
    <dgm:cxn modelId="{A7E5BEBF-5C1E-4D38-9708-B2652DEEFA4E}" type="presOf" srcId="{2D42EFAF-3975-4A3A-B5A2-2077753EE229}" destId="{6AF58ACC-1A49-4713-A8CF-20B66EAA09E8}" srcOrd="0" destOrd="1" presId="urn:microsoft.com/office/officeart/2005/8/layout/hList1"/>
    <dgm:cxn modelId="{22ECD1D3-DF05-4CBB-94CE-19E409781003}" srcId="{371D3977-141F-4BF0-B9EA-633D5BB69409}" destId="{FB81EDA5-4273-45DF-9E09-869D5B2A71D5}" srcOrd="1" destOrd="0" parTransId="{A62B411E-F6D5-4F92-83D3-6F2B8486B777}" sibTransId="{0A65757F-5C77-4CB8-B9B3-1C46F2E8060F}"/>
    <dgm:cxn modelId="{84C7E1DB-2451-4411-89F8-1823926B000E}" type="presOf" srcId="{A1065AE8-CB36-4F21-878D-A464BB548BBB}" destId="{6AF58ACC-1A49-4713-A8CF-20B66EAA09E8}" srcOrd="0" destOrd="4" presId="urn:microsoft.com/office/officeart/2005/8/layout/hList1"/>
    <dgm:cxn modelId="{44C2D8E8-CCEE-4B57-8656-1D77264E4028}" srcId="{DD1C4F13-9FC4-486B-91FB-D2E3781CFB6C}" destId="{0239D5E1-3BBD-4386-9395-F1AF465C356D}" srcOrd="2" destOrd="0" parTransId="{CBDAA1F9-4092-4277-847D-0E6773FD2C84}" sibTransId="{53E3366E-CAC7-4C89-9FA8-59ADDCBD6A08}"/>
    <dgm:cxn modelId="{FB49F8F7-1569-4885-95D5-9AC3AE575A8D}" type="presOf" srcId="{66704821-7248-43BE-B82A-87EC2C1731B6}" destId="{EC2D2716-7AE0-4C46-9709-86BA3F5024B8}" srcOrd="0" destOrd="2" presId="urn:microsoft.com/office/officeart/2005/8/layout/hList1"/>
    <dgm:cxn modelId="{2BC8C5BE-1A11-4192-B7D1-C662794F70B7}" type="presParOf" srcId="{1F3A83D4-6249-49E9-9B7E-09B9B0FA5858}" destId="{0ED41FA7-CF40-41A8-8478-61A100DA76A2}" srcOrd="0" destOrd="0" presId="urn:microsoft.com/office/officeart/2005/8/layout/hList1"/>
    <dgm:cxn modelId="{7A63264B-741E-4992-ACB9-E28FCCE49AC6}" type="presParOf" srcId="{0ED41FA7-CF40-41A8-8478-61A100DA76A2}" destId="{860BFC81-22E8-45D4-901A-23C691F6DEB9}" srcOrd="0" destOrd="0" presId="urn:microsoft.com/office/officeart/2005/8/layout/hList1"/>
    <dgm:cxn modelId="{D40F0F92-F1A0-4D1A-927E-0E96A455A7B1}" type="presParOf" srcId="{0ED41FA7-CF40-41A8-8478-61A100DA76A2}" destId="{6AF58ACC-1A49-4713-A8CF-20B66EAA09E8}" srcOrd="1" destOrd="0" presId="urn:microsoft.com/office/officeart/2005/8/layout/hList1"/>
    <dgm:cxn modelId="{DED5CD13-B578-43BF-ABC6-FA6773424BB8}" type="presParOf" srcId="{1F3A83D4-6249-49E9-9B7E-09B9B0FA5858}" destId="{05F6E754-1249-41A9-8521-CC943A994D34}" srcOrd="1" destOrd="0" presId="urn:microsoft.com/office/officeart/2005/8/layout/hList1"/>
    <dgm:cxn modelId="{2C3A55AA-BC88-428C-B219-A43EDD4C487A}" type="presParOf" srcId="{1F3A83D4-6249-49E9-9B7E-09B9B0FA5858}" destId="{50E9CBC8-1370-4E73-AF3B-03E9242989B0}" srcOrd="2" destOrd="0" presId="urn:microsoft.com/office/officeart/2005/8/layout/hList1"/>
    <dgm:cxn modelId="{6556FD75-0FE4-4DEF-9C44-2A945177E4B9}" type="presParOf" srcId="{50E9CBC8-1370-4E73-AF3B-03E9242989B0}" destId="{C2D0EB96-AF50-4A35-A3DE-D8C7A53C0B87}" srcOrd="0" destOrd="0" presId="urn:microsoft.com/office/officeart/2005/8/layout/hList1"/>
    <dgm:cxn modelId="{37554F94-1622-4DFA-89ED-662FDBDD331C}" type="presParOf" srcId="{50E9CBC8-1370-4E73-AF3B-03E9242989B0}" destId="{EC2D2716-7AE0-4C46-9709-86BA3F5024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2B144E6-D949-4E13-91B8-44C679D54359}"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104B48D5-CEE0-4BF9-A917-7AA8691A867B}">
      <dgm:prSet custT="1"/>
      <dgm:spPr/>
      <dgm:t>
        <a:bodyPr/>
        <a:lstStyle/>
        <a:p>
          <a:r>
            <a:rPr lang="en-US" sz="2400" baseline="0"/>
            <a:t>Index columns used in WHERE clauses and JOINs.</a:t>
          </a:r>
          <a:endParaRPr lang="en-US" sz="2400"/>
        </a:p>
      </dgm:t>
    </dgm:pt>
    <dgm:pt modelId="{D1D7101F-4E5D-4840-8147-0588CFD8232D}" type="parTrans" cxnId="{ADB6E701-BCB0-4BD0-B9DE-946AFD80D117}">
      <dgm:prSet/>
      <dgm:spPr/>
      <dgm:t>
        <a:bodyPr/>
        <a:lstStyle/>
        <a:p>
          <a:endParaRPr lang="en-US"/>
        </a:p>
      </dgm:t>
    </dgm:pt>
    <dgm:pt modelId="{380F6D13-8DFF-4691-A2A7-65C2F99CE32C}" type="sibTrans" cxnId="{ADB6E701-BCB0-4BD0-B9DE-946AFD80D117}">
      <dgm:prSet/>
      <dgm:spPr/>
      <dgm:t>
        <a:bodyPr/>
        <a:lstStyle/>
        <a:p>
          <a:endParaRPr lang="en-US"/>
        </a:p>
      </dgm:t>
    </dgm:pt>
    <dgm:pt modelId="{E6EF54DE-3261-4B89-AC39-CCAF4ADE487D}">
      <dgm:prSet custT="1"/>
      <dgm:spPr/>
      <dgm:t>
        <a:bodyPr/>
        <a:lstStyle/>
        <a:p>
          <a:r>
            <a:rPr lang="en-US" sz="2400" baseline="0" dirty="0"/>
            <a:t>Keep indexes to a minimum, to minimize impact on DML and log writes.</a:t>
          </a:r>
          <a:endParaRPr lang="en-US" sz="2400" dirty="0"/>
        </a:p>
      </dgm:t>
    </dgm:pt>
    <dgm:pt modelId="{1A2DC477-06E7-4A2E-A7E3-3598C8E0E7D0}" type="parTrans" cxnId="{2FA0C50D-AE4B-4232-A195-679C88A2EC68}">
      <dgm:prSet/>
      <dgm:spPr/>
      <dgm:t>
        <a:bodyPr/>
        <a:lstStyle/>
        <a:p>
          <a:endParaRPr lang="en-US"/>
        </a:p>
      </dgm:t>
    </dgm:pt>
    <dgm:pt modelId="{2F90BA95-561B-420D-A217-5A8D2324C524}" type="sibTrans" cxnId="{2FA0C50D-AE4B-4232-A195-679C88A2EC68}">
      <dgm:prSet/>
      <dgm:spPr/>
      <dgm:t>
        <a:bodyPr/>
        <a:lstStyle/>
        <a:p>
          <a:endParaRPr lang="en-US"/>
        </a:p>
      </dgm:t>
    </dgm:pt>
    <dgm:pt modelId="{DC62D462-80F2-4BCA-A65D-1434534AE0F5}">
      <dgm:prSet custT="1"/>
      <dgm:spPr/>
      <dgm:t>
        <a:bodyPr/>
        <a:lstStyle/>
        <a:p>
          <a:r>
            <a:rPr lang="en-US" sz="2400" baseline="0" dirty="0"/>
            <a:t>Two basic approaches: Single column indexes or Multicolumn indexes</a:t>
          </a:r>
          <a:endParaRPr lang="en-US" sz="2400" dirty="0"/>
        </a:p>
      </dgm:t>
    </dgm:pt>
    <dgm:pt modelId="{0F90FB3C-FAC7-49CF-B38B-BC4629C3590E}" type="parTrans" cxnId="{5D4D276D-758D-433A-8AB3-4022FD91A14C}">
      <dgm:prSet/>
      <dgm:spPr/>
      <dgm:t>
        <a:bodyPr/>
        <a:lstStyle/>
        <a:p>
          <a:endParaRPr lang="en-US"/>
        </a:p>
      </dgm:t>
    </dgm:pt>
    <dgm:pt modelId="{453F7E31-12EC-420E-BDC3-553A3E820043}" type="sibTrans" cxnId="{5D4D276D-758D-433A-8AB3-4022FD91A14C}">
      <dgm:prSet/>
      <dgm:spPr/>
      <dgm:t>
        <a:bodyPr/>
        <a:lstStyle/>
        <a:p>
          <a:endParaRPr lang="en-US"/>
        </a:p>
      </dgm:t>
    </dgm:pt>
    <dgm:pt modelId="{2BC8DBF8-7FC5-466D-9C72-7AA9C85AB96C}">
      <dgm:prSet custT="1"/>
      <dgm:spPr/>
      <dgm:t>
        <a:bodyPr/>
        <a:lstStyle/>
        <a:p>
          <a:r>
            <a:rPr lang="en-US" sz="2400" baseline="0" dirty="0"/>
            <a:t>Easy to create too many nonclustered indexes.</a:t>
          </a:r>
          <a:endParaRPr lang="en-US" sz="2400" dirty="0"/>
        </a:p>
      </dgm:t>
    </dgm:pt>
    <dgm:pt modelId="{290F7836-957E-4D2C-BF6C-59AC3CBE71B7}" type="parTrans" cxnId="{B7C85A81-4EB6-47E4-9F09-DE87E661A430}">
      <dgm:prSet/>
      <dgm:spPr/>
      <dgm:t>
        <a:bodyPr/>
        <a:lstStyle/>
        <a:p>
          <a:endParaRPr lang="en-US"/>
        </a:p>
      </dgm:t>
    </dgm:pt>
    <dgm:pt modelId="{D671445A-C4C2-40D0-8569-EB3796B003E9}" type="sibTrans" cxnId="{B7C85A81-4EB6-47E4-9F09-DE87E661A430}">
      <dgm:prSet/>
      <dgm:spPr/>
      <dgm:t>
        <a:bodyPr/>
        <a:lstStyle/>
        <a:p>
          <a:endParaRPr lang="en-US"/>
        </a:p>
      </dgm:t>
    </dgm:pt>
    <dgm:pt modelId="{2405F436-5AB9-4EE7-AF83-0655C14C2DDB}">
      <dgm:prSet custT="1"/>
      <dgm:spPr/>
      <dgm:t>
        <a:bodyPr/>
        <a:lstStyle/>
        <a:p>
          <a:r>
            <a:rPr lang="en-US" sz="2400" baseline="0" dirty="0"/>
            <a:t>Specific indexes are appropriate for high-impact queries.</a:t>
          </a:r>
          <a:endParaRPr lang="en-US" sz="2400" dirty="0"/>
        </a:p>
      </dgm:t>
    </dgm:pt>
    <dgm:pt modelId="{14B1C3D5-AEFF-44A9-9F9F-CDDBADEC0766}" type="parTrans" cxnId="{A5CBD8FF-3C8C-45C0-901A-0E2E72C4B3DA}">
      <dgm:prSet/>
      <dgm:spPr/>
      <dgm:t>
        <a:bodyPr/>
        <a:lstStyle/>
        <a:p>
          <a:endParaRPr lang="en-US"/>
        </a:p>
      </dgm:t>
    </dgm:pt>
    <dgm:pt modelId="{390C3506-9129-4DC1-9698-D41C93F9F92E}" type="sibTrans" cxnId="{A5CBD8FF-3C8C-45C0-901A-0E2E72C4B3DA}">
      <dgm:prSet/>
      <dgm:spPr/>
      <dgm:t>
        <a:bodyPr/>
        <a:lstStyle/>
        <a:p>
          <a:endParaRPr lang="en-US"/>
        </a:p>
      </dgm:t>
    </dgm:pt>
    <dgm:pt modelId="{F8AC39A2-16A7-4386-986C-2CFFEEB8ABCE}">
      <dgm:prSet custT="1"/>
      <dgm:spPr/>
      <dgm:t>
        <a:bodyPr/>
        <a:lstStyle/>
        <a:p>
          <a:r>
            <a:rPr lang="en-US" sz="2400" baseline="0" dirty="0"/>
            <a:t>Ideally the focus should be writing queries to use existing indexes, rather than on adding more indexes.</a:t>
          </a:r>
          <a:endParaRPr lang="en-US" sz="2400" dirty="0"/>
        </a:p>
      </dgm:t>
    </dgm:pt>
    <dgm:pt modelId="{D18AEB16-C23B-47D0-A1ED-5D52CA886B32}" type="parTrans" cxnId="{66AB1D99-5B24-48C2-84D6-B24B888D4021}">
      <dgm:prSet/>
      <dgm:spPr/>
      <dgm:t>
        <a:bodyPr/>
        <a:lstStyle/>
        <a:p>
          <a:endParaRPr lang="en-US"/>
        </a:p>
      </dgm:t>
    </dgm:pt>
    <dgm:pt modelId="{CD648EA4-3068-46E5-A79C-21D13F4D1EAF}" type="sibTrans" cxnId="{66AB1D99-5B24-48C2-84D6-B24B888D4021}">
      <dgm:prSet/>
      <dgm:spPr/>
      <dgm:t>
        <a:bodyPr/>
        <a:lstStyle/>
        <a:p>
          <a:endParaRPr lang="en-US"/>
        </a:p>
      </dgm:t>
    </dgm:pt>
    <dgm:pt modelId="{234A540B-5F8B-438C-AA06-4B951EB04D01}" type="pres">
      <dgm:prSet presAssocID="{72B144E6-D949-4E13-91B8-44C679D54359}" presName="diagram" presStyleCnt="0">
        <dgm:presLayoutVars>
          <dgm:dir/>
          <dgm:resizeHandles val="exact"/>
        </dgm:presLayoutVars>
      </dgm:prSet>
      <dgm:spPr/>
    </dgm:pt>
    <dgm:pt modelId="{8B58023E-5379-4E43-8D5C-BDFB7061ED99}" type="pres">
      <dgm:prSet presAssocID="{104B48D5-CEE0-4BF9-A917-7AA8691A867B}" presName="node" presStyleLbl="node1" presStyleIdx="0" presStyleCnt="6">
        <dgm:presLayoutVars>
          <dgm:bulletEnabled val="1"/>
        </dgm:presLayoutVars>
      </dgm:prSet>
      <dgm:spPr/>
    </dgm:pt>
    <dgm:pt modelId="{577A4C86-3C95-4190-BE08-61EBEEF82BF3}" type="pres">
      <dgm:prSet presAssocID="{380F6D13-8DFF-4691-A2A7-65C2F99CE32C}" presName="sibTrans" presStyleCnt="0"/>
      <dgm:spPr/>
    </dgm:pt>
    <dgm:pt modelId="{C74C92D6-8014-4E1D-9165-76DF4C5E6A84}" type="pres">
      <dgm:prSet presAssocID="{E6EF54DE-3261-4B89-AC39-CCAF4ADE487D}" presName="node" presStyleLbl="node1" presStyleIdx="1" presStyleCnt="6">
        <dgm:presLayoutVars>
          <dgm:bulletEnabled val="1"/>
        </dgm:presLayoutVars>
      </dgm:prSet>
      <dgm:spPr/>
    </dgm:pt>
    <dgm:pt modelId="{08BA9004-0ED5-4FF9-98E0-1EB590CDDDDE}" type="pres">
      <dgm:prSet presAssocID="{2F90BA95-561B-420D-A217-5A8D2324C524}" presName="sibTrans" presStyleCnt="0"/>
      <dgm:spPr/>
    </dgm:pt>
    <dgm:pt modelId="{66311983-4D89-46B6-8ACF-DE2D1AA6A44E}" type="pres">
      <dgm:prSet presAssocID="{DC62D462-80F2-4BCA-A65D-1434534AE0F5}" presName="node" presStyleLbl="node1" presStyleIdx="2" presStyleCnt="6">
        <dgm:presLayoutVars>
          <dgm:bulletEnabled val="1"/>
        </dgm:presLayoutVars>
      </dgm:prSet>
      <dgm:spPr/>
    </dgm:pt>
    <dgm:pt modelId="{1C140366-9DC3-4391-BF47-661EC0A41A1B}" type="pres">
      <dgm:prSet presAssocID="{453F7E31-12EC-420E-BDC3-553A3E820043}" presName="sibTrans" presStyleCnt="0"/>
      <dgm:spPr/>
    </dgm:pt>
    <dgm:pt modelId="{75123E70-C1E2-4C1F-8147-91166157351C}" type="pres">
      <dgm:prSet presAssocID="{2BC8DBF8-7FC5-466D-9C72-7AA9C85AB96C}" presName="node" presStyleLbl="node1" presStyleIdx="3" presStyleCnt="6">
        <dgm:presLayoutVars>
          <dgm:bulletEnabled val="1"/>
        </dgm:presLayoutVars>
      </dgm:prSet>
      <dgm:spPr/>
    </dgm:pt>
    <dgm:pt modelId="{F1CA4A69-6564-459F-AA7E-2BB2F15D74D1}" type="pres">
      <dgm:prSet presAssocID="{D671445A-C4C2-40D0-8569-EB3796B003E9}" presName="sibTrans" presStyleCnt="0"/>
      <dgm:spPr/>
    </dgm:pt>
    <dgm:pt modelId="{1F149603-872A-4E7C-8F99-341873593DB3}" type="pres">
      <dgm:prSet presAssocID="{2405F436-5AB9-4EE7-AF83-0655C14C2DDB}" presName="node" presStyleLbl="node1" presStyleIdx="4" presStyleCnt="6">
        <dgm:presLayoutVars>
          <dgm:bulletEnabled val="1"/>
        </dgm:presLayoutVars>
      </dgm:prSet>
      <dgm:spPr/>
    </dgm:pt>
    <dgm:pt modelId="{0EBADA59-7B6C-432C-93F8-47E0A72DF6AA}" type="pres">
      <dgm:prSet presAssocID="{390C3506-9129-4DC1-9698-D41C93F9F92E}" presName="sibTrans" presStyleCnt="0"/>
      <dgm:spPr/>
    </dgm:pt>
    <dgm:pt modelId="{7D5CE624-757B-40F4-8159-0B7EE5A0DE93}" type="pres">
      <dgm:prSet presAssocID="{F8AC39A2-16A7-4386-986C-2CFFEEB8ABCE}" presName="node" presStyleLbl="node1" presStyleIdx="5" presStyleCnt="6">
        <dgm:presLayoutVars>
          <dgm:bulletEnabled val="1"/>
        </dgm:presLayoutVars>
      </dgm:prSet>
      <dgm:spPr/>
    </dgm:pt>
  </dgm:ptLst>
  <dgm:cxnLst>
    <dgm:cxn modelId="{ADB6E701-BCB0-4BD0-B9DE-946AFD80D117}" srcId="{72B144E6-D949-4E13-91B8-44C679D54359}" destId="{104B48D5-CEE0-4BF9-A917-7AA8691A867B}" srcOrd="0" destOrd="0" parTransId="{D1D7101F-4E5D-4840-8147-0588CFD8232D}" sibTransId="{380F6D13-8DFF-4691-A2A7-65C2F99CE32C}"/>
    <dgm:cxn modelId="{99ED7008-232A-4DE9-9BD5-96963ABE2D66}" type="presOf" srcId="{E6EF54DE-3261-4B89-AC39-CCAF4ADE487D}" destId="{C74C92D6-8014-4E1D-9165-76DF4C5E6A84}" srcOrd="0" destOrd="0" presId="urn:microsoft.com/office/officeart/2005/8/layout/default"/>
    <dgm:cxn modelId="{2FA0C50D-AE4B-4232-A195-679C88A2EC68}" srcId="{72B144E6-D949-4E13-91B8-44C679D54359}" destId="{E6EF54DE-3261-4B89-AC39-CCAF4ADE487D}" srcOrd="1" destOrd="0" parTransId="{1A2DC477-06E7-4A2E-A7E3-3598C8E0E7D0}" sibTransId="{2F90BA95-561B-420D-A217-5A8D2324C524}"/>
    <dgm:cxn modelId="{B4D43A62-749D-4078-A561-4FAB855EAB4F}" type="presOf" srcId="{72B144E6-D949-4E13-91B8-44C679D54359}" destId="{234A540B-5F8B-438C-AA06-4B951EB04D01}" srcOrd="0" destOrd="0" presId="urn:microsoft.com/office/officeart/2005/8/layout/default"/>
    <dgm:cxn modelId="{5D4D276D-758D-433A-8AB3-4022FD91A14C}" srcId="{72B144E6-D949-4E13-91B8-44C679D54359}" destId="{DC62D462-80F2-4BCA-A65D-1434534AE0F5}" srcOrd="2" destOrd="0" parTransId="{0F90FB3C-FAC7-49CF-B38B-BC4629C3590E}" sibTransId="{453F7E31-12EC-420E-BDC3-553A3E820043}"/>
    <dgm:cxn modelId="{B7C85A81-4EB6-47E4-9F09-DE87E661A430}" srcId="{72B144E6-D949-4E13-91B8-44C679D54359}" destId="{2BC8DBF8-7FC5-466D-9C72-7AA9C85AB96C}" srcOrd="3" destOrd="0" parTransId="{290F7836-957E-4D2C-BF6C-59AC3CBE71B7}" sibTransId="{D671445A-C4C2-40D0-8569-EB3796B003E9}"/>
    <dgm:cxn modelId="{A8D13391-15CA-4114-9EBC-81B06AEC7DE5}" type="presOf" srcId="{104B48D5-CEE0-4BF9-A917-7AA8691A867B}" destId="{8B58023E-5379-4E43-8D5C-BDFB7061ED99}" srcOrd="0" destOrd="0" presId="urn:microsoft.com/office/officeart/2005/8/layout/default"/>
    <dgm:cxn modelId="{66AB1D99-5B24-48C2-84D6-B24B888D4021}" srcId="{72B144E6-D949-4E13-91B8-44C679D54359}" destId="{F8AC39A2-16A7-4386-986C-2CFFEEB8ABCE}" srcOrd="5" destOrd="0" parTransId="{D18AEB16-C23B-47D0-A1ED-5D52CA886B32}" sibTransId="{CD648EA4-3068-46E5-A79C-21D13F4D1EAF}"/>
    <dgm:cxn modelId="{F25C1CAC-71A1-484B-94FC-AAA45ADF3FA8}" type="presOf" srcId="{2405F436-5AB9-4EE7-AF83-0655C14C2DDB}" destId="{1F149603-872A-4E7C-8F99-341873593DB3}" srcOrd="0" destOrd="0" presId="urn:microsoft.com/office/officeart/2005/8/layout/default"/>
    <dgm:cxn modelId="{5CB6ABB2-C144-404F-92EA-8A7F229E3240}" type="presOf" srcId="{DC62D462-80F2-4BCA-A65D-1434534AE0F5}" destId="{66311983-4D89-46B6-8ACF-DE2D1AA6A44E}" srcOrd="0" destOrd="0" presId="urn:microsoft.com/office/officeart/2005/8/layout/default"/>
    <dgm:cxn modelId="{5E3D1EBE-8AEE-48A2-901A-18D831CC81D3}" type="presOf" srcId="{F8AC39A2-16A7-4386-986C-2CFFEEB8ABCE}" destId="{7D5CE624-757B-40F4-8159-0B7EE5A0DE93}" srcOrd="0" destOrd="0" presId="urn:microsoft.com/office/officeart/2005/8/layout/default"/>
    <dgm:cxn modelId="{1C27CDFE-0619-4F70-9FC6-F87BFF35132D}" type="presOf" srcId="{2BC8DBF8-7FC5-466D-9C72-7AA9C85AB96C}" destId="{75123E70-C1E2-4C1F-8147-91166157351C}" srcOrd="0" destOrd="0" presId="urn:microsoft.com/office/officeart/2005/8/layout/default"/>
    <dgm:cxn modelId="{A5CBD8FF-3C8C-45C0-901A-0E2E72C4B3DA}" srcId="{72B144E6-D949-4E13-91B8-44C679D54359}" destId="{2405F436-5AB9-4EE7-AF83-0655C14C2DDB}" srcOrd="4" destOrd="0" parTransId="{14B1C3D5-AEFF-44A9-9F9F-CDDBADEC0766}" sibTransId="{390C3506-9129-4DC1-9698-D41C93F9F92E}"/>
    <dgm:cxn modelId="{E99FBD0F-41B2-418B-B48F-AA5AFD5A3C30}" type="presParOf" srcId="{234A540B-5F8B-438C-AA06-4B951EB04D01}" destId="{8B58023E-5379-4E43-8D5C-BDFB7061ED99}" srcOrd="0" destOrd="0" presId="urn:microsoft.com/office/officeart/2005/8/layout/default"/>
    <dgm:cxn modelId="{C75EFF47-133D-4260-970F-443E708A901A}" type="presParOf" srcId="{234A540B-5F8B-438C-AA06-4B951EB04D01}" destId="{577A4C86-3C95-4190-BE08-61EBEEF82BF3}" srcOrd="1" destOrd="0" presId="urn:microsoft.com/office/officeart/2005/8/layout/default"/>
    <dgm:cxn modelId="{10F4D28F-AA33-43C1-ABAB-B434A8F07612}" type="presParOf" srcId="{234A540B-5F8B-438C-AA06-4B951EB04D01}" destId="{C74C92D6-8014-4E1D-9165-76DF4C5E6A84}" srcOrd="2" destOrd="0" presId="urn:microsoft.com/office/officeart/2005/8/layout/default"/>
    <dgm:cxn modelId="{47CFC581-D51F-4066-B249-8C8CDA3EF096}" type="presParOf" srcId="{234A540B-5F8B-438C-AA06-4B951EB04D01}" destId="{08BA9004-0ED5-4FF9-98E0-1EB590CDDDDE}" srcOrd="3" destOrd="0" presId="urn:microsoft.com/office/officeart/2005/8/layout/default"/>
    <dgm:cxn modelId="{9B485E7B-1660-4C43-BF68-23ABA9056936}" type="presParOf" srcId="{234A540B-5F8B-438C-AA06-4B951EB04D01}" destId="{66311983-4D89-46B6-8ACF-DE2D1AA6A44E}" srcOrd="4" destOrd="0" presId="urn:microsoft.com/office/officeart/2005/8/layout/default"/>
    <dgm:cxn modelId="{07588178-7045-42AC-8108-CAF6203B2D6B}" type="presParOf" srcId="{234A540B-5F8B-438C-AA06-4B951EB04D01}" destId="{1C140366-9DC3-4391-BF47-661EC0A41A1B}" srcOrd="5" destOrd="0" presId="urn:microsoft.com/office/officeart/2005/8/layout/default"/>
    <dgm:cxn modelId="{D6C291B4-F48F-4C7B-A9E0-949A6FCB7BF2}" type="presParOf" srcId="{234A540B-5F8B-438C-AA06-4B951EB04D01}" destId="{75123E70-C1E2-4C1F-8147-91166157351C}" srcOrd="6" destOrd="0" presId="urn:microsoft.com/office/officeart/2005/8/layout/default"/>
    <dgm:cxn modelId="{3F9A8C7F-1ED6-462F-B354-5134FACF8948}" type="presParOf" srcId="{234A540B-5F8B-438C-AA06-4B951EB04D01}" destId="{F1CA4A69-6564-459F-AA7E-2BB2F15D74D1}" srcOrd="7" destOrd="0" presId="urn:microsoft.com/office/officeart/2005/8/layout/default"/>
    <dgm:cxn modelId="{FD438771-092F-4654-BE5C-9E97830DDA7E}" type="presParOf" srcId="{234A540B-5F8B-438C-AA06-4B951EB04D01}" destId="{1F149603-872A-4E7C-8F99-341873593DB3}" srcOrd="8" destOrd="0" presId="urn:microsoft.com/office/officeart/2005/8/layout/default"/>
    <dgm:cxn modelId="{3FE60C27-A7AB-429B-8321-6D298F6AF171}" type="presParOf" srcId="{234A540B-5F8B-438C-AA06-4B951EB04D01}" destId="{0EBADA59-7B6C-432C-93F8-47E0A72DF6AA}" srcOrd="9" destOrd="0" presId="urn:microsoft.com/office/officeart/2005/8/layout/default"/>
    <dgm:cxn modelId="{9A6ECD74-2CBB-4036-AD28-8B7168CF8AF6}" type="presParOf" srcId="{234A540B-5F8B-438C-AA06-4B951EB04D01}" destId="{7D5CE624-757B-40F4-8159-0B7EE5A0DE93}"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504C359-E0D3-4C33-8AB3-CD9A85DBEA0F}"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EF4D33AB-9844-4910-BBD7-A474E511167E}">
      <dgm:prSet custT="1"/>
      <dgm:spPr/>
      <dgm:t>
        <a:bodyPr/>
        <a:lstStyle/>
        <a:p>
          <a:r>
            <a:rPr lang="en-US" sz="2400" baseline="0" dirty="0"/>
            <a:t>Single-column Indexing</a:t>
          </a:r>
          <a:endParaRPr lang="en-US" sz="2400" dirty="0"/>
        </a:p>
      </dgm:t>
    </dgm:pt>
    <dgm:pt modelId="{5429BB5E-843F-4306-BFEF-DAE57EDD703A}" type="parTrans" cxnId="{B07474C3-5D39-489F-BEF3-084C0A4ED5BE}">
      <dgm:prSet/>
      <dgm:spPr/>
      <dgm:t>
        <a:bodyPr/>
        <a:lstStyle/>
        <a:p>
          <a:endParaRPr lang="en-US"/>
        </a:p>
      </dgm:t>
    </dgm:pt>
    <dgm:pt modelId="{A4D3EC46-9142-4AE2-B398-4158D1D200AC}" type="sibTrans" cxnId="{B07474C3-5D39-489F-BEF3-084C0A4ED5BE}">
      <dgm:prSet/>
      <dgm:spPr/>
      <dgm:t>
        <a:bodyPr/>
        <a:lstStyle/>
        <a:p>
          <a:endParaRPr lang="en-US"/>
        </a:p>
      </dgm:t>
    </dgm:pt>
    <dgm:pt modelId="{2AEFEEF0-8D12-4CC9-9985-FC1BDCA688D3}">
      <dgm:prSet custT="1"/>
      <dgm:spPr/>
      <dgm:t>
        <a:bodyPr/>
        <a:lstStyle/>
        <a:p>
          <a:r>
            <a:rPr lang="en-US" sz="2400" baseline="0" dirty="0"/>
            <a:t>Good choice for columns that are highly selective, or columns referenced often by criteria.</a:t>
          </a:r>
          <a:endParaRPr lang="en-US" sz="2400" dirty="0"/>
        </a:p>
      </dgm:t>
    </dgm:pt>
    <dgm:pt modelId="{A68C7234-A514-460E-BFF5-3E4794E20D92}" type="parTrans" cxnId="{83AC1A7A-E885-4A51-8AA2-61EAC81E985C}">
      <dgm:prSet/>
      <dgm:spPr/>
      <dgm:t>
        <a:bodyPr/>
        <a:lstStyle/>
        <a:p>
          <a:endParaRPr lang="en-US"/>
        </a:p>
      </dgm:t>
    </dgm:pt>
    <dgm:pt modelId="{7ACA89F0-7A60-4D42-8560-47F254540AFC}" type="sibTrans" cxnId="{83AC1A7A-E885-4A51-8AA2-61EAC81E985C}">
      <dgm:prSet/>
      <dgm:spPr/>
      <dgm:t>
        <a:bodyPr/>
        <a:lstStyle/>
        <a:p>
          <a:endParaRPr lang="en-US"/>
        </a:p>
      </dgm:t>
    </dgm:pt>
    <dgm:pt modelId="{C3B0405E-9DDC-4692-806B-1786A1DA1941}">
      <dgm:prSet custT="1"/>
      <dgm:spPr/>
      <dgm:t>
        <a:bodyPr/>
        <a:lstStyle/>
        <a:p>
          <a:r>
            <a:rPr lang="en-US" sz="2400" baseline="0" dirty="0"/>
            <a:t>Multi-Column Indexing</a:t>
          </a:r>
          <a:endParaRPr lang="en-US" sz="2400" dirty="0"/>
        </a:p>
      </dgm:t>
    </dgm:pt>
    <dgm:pt modelId="{95540714-4247-423D-910C-9AB77BFC96CB}" type="parTrans" cxnId="{6FB96911-2512-4931-BDDA-A6DA20AE9E03}">
      <dgm:prSet/>
      <dgm:spPr/>
      <dgm:t>
        <a:bodyPr/>
        <a:lstStyle/>
        <a:p>
          <a:endParaRPr lang="en-US"/>
        </a:p>
      </dgm:t>
    </dgm:pt>
    <dgm:pt modelId="{0AA48AF5-0D86-497E-A3F7-2FEF9B8B5F05}" type="sibTrans" cxnId="{6FB96911-2512-4931-BDDA-A6DA20AE9E03}">
      <dgm:prSet/>
      <dgm:spPr/>
      <dgm:t>
        <a:bodyPr/>
        <a:lstStyle/>
        <a:p>
          <a:endParaRPr lang="en-US"/>
        </a:p>
      </dgm:t>
    </dgm:pt>
    <dgm:pt modelId="{DD1BCA2E-9E12-481C-A1EC-1CFDC72747AD}">
      <dgm:prSet custT="1"/>
      <dgm:spPr/>
      <dgm:t>
        <a:bodyPr/>
        <a:lstStyle/>
        <a:p>
          <a:r>
            <a:rPr lang="en-US" sz="2400" baseline="0"/>
            <a:t>Good choice for low cardinality columns.</a:t>
          </a:r>
          <a:endParaRPr lang="en-US" sz="2400"/>
        </a:p>
      </dgm:t>
    </dgm:pt>
    <dgm:pt modelId="{591FE55F-1318-4AD2-A262-C0281FB44FE0}" type="parTrans" cxnId="{338995EE-AD7A-4CCC-A814-9AE0B3F16B7D}">
      <dgm:prSet/>
      <dgm:spPr/>
      <dgm:t>
        <a:bodyPr/>
        <a:lstStyle/>
        <a:p>
          <a:endParaRPr lang="en-US"/>
        </a:p>
      </dgm:t>
    </dgm:pt>
    <dgm:pt modelId="{C76C9A87-655F-44A4-922A-D7DD41CF4EF9}" type="sibTrans" cxnId="{338995EE-AD7A-4CCC-A814-9AE0B3F16B7D}">
      <dgm:prSet/>
      <dgm:spPr/>
      <dgm:t>
        <a:bodyPr/>
        <a:lstStyle/>
        <a:p>
          <a:endParaRPr lang="en-US"/>
        </a:p>
      </dgm:t>
    </dgm:pt>
    <dgm:pt modelId="{B8BCC0DA-D604-4864-8D41-A19CE62FE47E}">
      <dgm:prSet custT="1"/>
      <dgm:spPr/>
      <dgm:t>
        <a:bodyPr/>
        <a:lstStyle/>
        <a:p>
          <a:r>
            <a:rPr lang="en-US" sz="2400" baseline="0"/>
            <a:t>Highest cardinality field first, to zoom into a narrow range of the B-Tree as quickly as possible.</a:t>
          </a:r>
          <a:endParaRPr lang="en-US" sz="2400"/>
        </a:p>
      </dgm:t>
    </dgm:pt>
    <dgm:pt modelId="{CD2A7F2D-9874-42F8-AC78-F320479B6928}" type="parTrans" cxnId="{2EE2BDDD-32C8-49D6-8DF7-024F83DD12AD}">
      <dgm:prSet/>
      <dgm:spPr/>
      <dgm:t>
        <a:bodyPr/>
        <a:lstStyle/>
        <a:p>
          <a:endParaRPr lang="en-US"/>
        </a:p>
      </dgm:t>
    </dgm:pt>
    <dgm:pt modelId="{53FD8DEC-D1BF-4485-8B0F-9582ECD29071}" type="sibTrans" cxnId="{2EE2BDDD-32C8-49D6-8DF7-024F83DD12AD}">
      <dgm:prSet/>
      <dgm:spPr/>
      <dgm:t>
        <a:bodyPr/>
        <a:lstStyle/>
        <a:p>
          <a:endParaRPr lang="en-US"/>
        </a:p>
      </dgm:t>
    </dgm:pt>
    <dgm:pt modelId="{4DAF58BF-3473-4729-8E42-BA98FCB4AF5D}">
      <dgm:prSet custT="1"/>
      <dgm:spPr/>
      <dgm:t>
        <a:bodyPr/>
        <a:lstStyle/>
        <a:p>
          <a:r>
            <a:rPr lang="en-US" sz="2400" baseline="0"/>
            <a:t>Equality columns before inequality columns.</a:t>
          </a:r>
          <a:endParaRPr lang="en-US" sz="2400"/>
        </a:p>
      </dgm:t>
    </dgm:pt>
    <dgm:pt modelId="{5D6EFAD0-0656-4DC6-9A88-71C99739F6F0}" type="parTrans" cxnId="{9B6B413B-CF34-47C4-A4B1-0FE1F917D660}">
      <dgm:prSet/>
      <dgm:spPr/>
      <dgm:t>
        <a:bodyPr/>
        <a:lstStyle/>
        <a:p>
          <a:endParaRPr lang="en-US"/>
        </a:p>
      </dgm:t>
    </dgm:pt>
    <dgm:pt modelId="{033B9391-BD93-4757-94B4-5F70E6412710}" type="sibTrans" cxnId="{9B6B413B-CF34-47C4-A4B1-0FE1F917D660}">
      <dgm:prSet/>
      <dgm:spPr/>
      <dgm:t>
        <a:bodyPr/>
        <a:lstStyle/>
        <a:p>
          <a:endParaRPr lang="en-US"/>
        </a:p>
      </dgm:t>
    </dgm:pt>
    <dgm:pt modelId="{692747C0-CA52-4CDF-890F-FCCD0B2CBFC2}">
      <dgm:prSet custT="1"/>
      <dgm:spPr/>
      <dgm:t>
        <a:bodyPr/>
        <a:lstStyle/>
        <a:p>
          <a:r>
            <a:rPr lang="en-US" sz="2400" dirty="0"/>
            <a:t>When filtering data from table with multiple single column indexes, SQL uses the index with higher cardinality column</a:t>
          </a:r>
          <a:r>
            <a:rPr lang="en-US" sz="2400" baseline="0" dirty="0"/>
            <a:t>, it may be better to not index the low cardinality column.</a:t>
          </a:r>
          <a:endParaRPr lang="en-US" sz="2400" dirty="0"/>
        </a:p>
      </dgm:t>
    </dgm:pt>
    <dgm:pt modelId="{3C858099-6234-4E0F-A1E7-CE201B83C911}" type="parTrans" cxnId="{A0138377-21F0-46FD-A048-FAA2D208E353}">
      <dgm:prSet/>
      <dgm:spPr/>
    </dgm:pt>
    <dgm:pt modelId="{B4C9E0A1-7F35-4828-9403-9DDC49361C0A}" type="sibTrans" cxnId="{A0138377-21F0-46FD-A048-FAA2D208E353}">
      <dgm:prSet/>
      <dgm:spPr/>
    </dgm:pt>
    <dgm:pt modelId="{D74C0164-3724-4B59-82FA-A89D5C14D8CA}" type="pres">
      <dgm:prSet presAssocID="{F504C359-E0D3-4C33-8AB3-CD9A85DBEA0F}" presName="Name0" presStyleCnt="0">
        <dgm:presLayoutVars>
          <dgm:dir/>
          <dgm:animLvl val="lvl"/>
          <dgm:resizeHandles val="exact"/>
        </dgm:presLayoutVars>
      </dgm:prSet>
      <dgm:spPr/>
    </dgm:pt>
    <dgm:pt modelId="{7A83818C-08EF-4742-9E34-3CE9A3EE7DF0}" type="pres">
      <dgm:prSet presAssocID="{EF4D33AB-9844-4910-BBD7-A474E511167E}" presName="composite" presStyleCnt="0"/>
      <dgm:spPr/>
    </dgm:pt>
    <dgm:pt modelId="{0B3BB9FA-3BE2-434C-99E8-DDC76578CD48}" type="pres">
      <dgm:prSet presAssocID="{EF4D33AB-9844-4910-BBD7-A474E511167E}" presName="parTx" presStyleLbl="alignNode1" presStyleIdx="0" presStyleCnt="2">
        <dgm:presLayoutVars>
          <dgm:chMax val="0"/>
          <dgm:chPref val="0"/>
          <dgm:bulletEnabled val="1"/>
        </dgm:presLayoutVars>
      </dgm:prSet>
      <dgm:spPr/>
    </dgm:pt>
    <dgm:pt modelId="{FE2C7C66-CDAF-4895-9759-8C87FBBD1B44}" type="pres">
      <dgm:prSet presAssocID="{EF4D33AB-9844-4910-BBD7-A474E511167E}" presName="desTx" presStyleLbl="alignAccFollowNode1" presStyleIdx="0" presStyleCnt="2">
        <dgm:presLayoutVars>
          <dgm:bulletEnabled val="1"/>
        </dgm:presLayoutVars>
      </dgm:prSet>
      <dgm:spPr/>
    </dgm:pt>
    <dgm:pt modelId="{A2946DF0-6179-407F-8558-079C92C1E4BB}" type="pres">
      <dgm:prSet presAssocID="{A4D3EC46-9142-4AE2-B398-4158D1D200AC}" presName="space" presStyleCnt="0"/>
      <dgm:spPr/>
    </dgm:pt>
    <dgm:pt modelId="{F8427983-FD79-4FEA-AB17-C322FD23DB13}" type="pres">
      <dgm:prSet presAssocID="{C3B0405E-9DDC-4692-806B-1786A1DA1941}" presName="composite" presStyleCnt="0"/>
      <dgm:spPr/>
    </dgm:pt>
    <dgm:pt modelId="{C6F2A52F-A18E-4511-AF8C-7363517072EA}" type="pres">
      <dgm:prSet presAssocID="{C3B0405E-9DDC-4692-806B-1786A1DA1941}" presName="parTx" presStyleLbl="alignNode1" presStyleIdx="1" presStyleCnt="2">
        <dgm:presLayoutVars>
          <dgm:chMax val="0"/>
          <dgm:chPref val="0"/>
          <dgm:bulletEnabled val="1"/>
        </dgm:presLayoutVars>
      </dgm:prSet>
      <dgm:spPr/>
    </dgm:pt>
    <dgm:pt modelId="{0E5986F9-200B-4045-9FD8-97D9D189DAE5}" type="pres">
      <dgm:prSet presAssocID="{C3B0405E-9DDC-4692-806B-1786A1DA1941}" presName="desTx" presStyleLbl="alignAccFollowNode1" presStyleIdx="1" presStyleCnt="2">
        <dgm:presLayoutVars>
          <dgm:bulletEnabled val="1"/>
        </dgm:presLayoutVars>
      </dgm:prSet>
      <dgm:spPr/>
    </dgm:pt>
  </dgm:ptLst>
  <dgm:cxnLst>
    <dgm:cxn modelId="{6FB96911-2512-4931-BDDA-A6DA20AE9E03}" srcId="{F504C359-E0D3-4C33-8AB3-CD9A85DBEA0F}" destId="{C3B0405E-9DDC-4692-806B-1786A1DA1941}" srcOrd="1" destOrd="0" parTransId="{95540714-4247-423D-910C-9AB77BFC96CB}" sibTransId="{0AA48AF5-0D86-497E-A3F7-2FEF9B8B5F05}"/>
    <dgm:cxn modelId="{5B07BE2A-114A-4C97-B501-BF5C4D7E906B}" type="presOf" srcId="{C3B0405E-9DDC-4692-806B-1786A1DA1941}" destId="{C6F2A52F-A18E-4511-AF8C-7363517072EA}" srcOrd="0" destOrd="0" presId="urn:microsoft.com/office/officeart/2005/8/layout/hList1"/>
    <dgm:cxn modelId="{9B6B413B-CF34-47C4-A4B1-0FE1F917D660}" srcId="{C3B0405E-9DDC-4692-806B-1786A1DA1941}" destId="{4DAF58BF-3473-4729-8E42-BA98FCB4AF5D}" srcOrd="2" destOrd="0" parTransId="{5D6EFAD0-0656-4DC6-9A88-71C99739F6F0}" sibTransId="{033B9391-BD93-4757-94B4-5F70E6412710}"/>
    <dgm:cxn modelId="{31C5C03E-E03C-4205-8216-350D87498DE6}" type="presOf" srcId="{4DAF58BF-3473-4729-8E42-BA98FCB4AF5D}" destId="{0E5986F9-200B-4045-9FD8-97D9D189DAE5}" srcOrd="0" destOrd="2" presId="urn:microsoft.com/office/officeart/2005/8/layout/hList1"/>
    <dgm:cxn modelId="{EDB46B5B-E768-464F-B598-1E0726355D2A}" type="presOf" srcId="{DD1BCA2E-9E12-481C-A1EC-1CFDC72747AD}" destId="{0E5986F9-200B-4045-9FD8-97D9D189DAE5}" srcOrd="0" destOrd="0" presId="urn:microsoft.com/office/officeart/2005/8/layout/hList1"/>
    <dgm:cxn modelId="{A0138377-21F0-46FD-A048-FAA2D208E353}" srcId="{EF4D33AB-9844-4910-BBD7-A474E511167E}" destId="{692747C0-CA52-4CDF-890F-FCCD0B2CBFC2}" srcOrd="1" destOrd="0" parTransId="{3C858099-6234-4E0F-A1E7-CE201B83C911}" sibTransId="{B4C9E0A1-7F35-4828-9403-9DDC49361C0A}"/>
    <dgm:cxn modelId="{83AC1A7A-E885-4A51-8AA2-61EAC81E985C}" srcId="{EF4D33AB-9844-4910-BBD7-A474E511167E}" destId="{2AEFEEF0-8D12-4CC9-9985-FC1BDCA688D3}" srcOrd="0" destOrd="0" parTransId="{A68C7234-A514-460E-BFF5-3E4794E20D92}" sibTransId="{7ACA89F0-7A60-4D42-8560-47F254540AFC}"/>
    <dgm:cxn modelId="{2C61785A-264F-48FC-8722-965FECA43B89}" type="presOf" srcId="{692747C0-CA52-4CDF-890F-FCCD0B2CBFC2}" destId="{FE2C7C66-CDAF-4895-9759-8C87FBBD1B44}" srcOrd="0" destOrd="1" presId="urn:microsoft.com/office/officeart/2005/8/layout/hList1"/>
    <dgm:cxn modelId="{2822058C-D22A-410A-A85B-63A79A62FA5C}" type="presOf" srcId="{2AEFEEF0-8D12-4CC9-9985-FC1BDCA688D3}" destId="{FE2C7C66-CDAF-4895-9759-8C87FBBD1B44}" srcOrd="0" destOrd="0" presId="urn:microsoft.com/office/officeart/2005/8/layout/hList1"/>
    <dgm:cxn modelId="{50205790-2259-481F-B02B-E65497E33782}" type="presOf" srcId="{B8BCC0DA-D604-4864-8D41-A19CE62FE47E}" destId="{0E5986F9-200B-4045-9FD8-97D9D189DAE5}" srcOrd="0" destOrd="1" presId="urn:microsoft.com/office/officeart/2005/8/layout/hList1"/>
    <dgm:cxn modelId="{B07474C3-5D39-489F-BEF3-084C0A4ED5BE}" srcId="{F504C359-E0D3-4C33-8AB3-CD9A85DBEA0F}" destId="{EF4D33AB-9844-4910-BBD7-A474E511167E}" srcOrd="0" destOrd="0" parTransId="{5429BB5E-843F-4306-BFEF-DAE57EDD703A}" sibTransId="{A4D3EC46-9142-4AE2-B398-4158D1D200AC}"/>
    <dgm:cxn modelId="{FD3BD3CE-70AC-4386-88AA-FB95DD2CDE2A}" type="presOf" srcId="{EF4D33AB-9844-4910-BBD7-A474E511167E}" destId="{0B3BB9FA-3BE2-434C-99E8-DDC76578CD48}" srcOrd="0" destOrd="0" presId="urn:microsoft.com/office/officeart/2005/8/layout/hList1"/>
    <dgm:cxn modelId="{2EE2BDDD-32C8-49D6-8DF7-024F83DD12AD}" srcId="{C3B0405E-9DDC-4692-806B-1786A1DA1941}" destId="{B8BCC0DA-D604-4864-8D41-A19CE62FE47E}" srcOrd="1" destOrd="0" parTransId="{CD2A7F2D-9874-42F8-AC78-F320479B6928}" sibTransId="{53FD8DEC-D1BF-4485-8B0F-9582ECD29071}"/>
    <dgm:cxn modelId="{338995EE-AD7A-4CCC-A814-9AE0B3F16B7D}" srcId="{C3B0405E-9DDC-4692-806B-1786A1DA1941}" destId="{DD1BCA2E-9E12-481C-A1EC-1CFDC72747AD}" srcOrd="0" destOrd="0" parTransId="{591FE55F-1318-4AD2-A262-C0281FB44FE0}" sibTransId="{C76C9A87-655F-44A4-922A-D7DD41CF4EF9}"/>
    <dgm:cxn modelId="{F9D02CFD-40B1-45FD-8D22-D6EBA207BE23}" type="presOf" srcId="{F504C359-E0D3-4C33-8AB3-CD9A85DBEA0F}" destId="{D74C0164-3724-4B59-82FA-A89D5C14D8CA}" srcOrd="0" destOrd="0" presId="urn:microsoft.com/office/officeart/2005/8/layout/hList1"/>
    <dgm:cxn modelId="{44996B05-B225-4E09-84D5-FEE3E9B28812}" type="presParOf" srcId="{D74C0164-3724-4B59-82FA-A89D5C14D8CA}" destId="{7A83818C-08EF-4742-9E34-3CE9A3EE7DF0}" srcOrd="0" destOrd="0" presId="urn:microsoft.com/office/officeart/2005/8/layout/hList1"/>
    <dgm:cxn modelId="{7FE84E0B-7305-474F-8A01-EF3FE5F8CCE2}" type="presParOf" srcId="{7A83818C-08EF-4742-9E34-3CE9A3EE7DF0}" destId="{0B3BB9FA-3BE2-434C-99E8-DDC76578CD48}" srcOrd="0" destOrd="0" presId="urn:microsoft.com/office/officeart/2005/8/layout/hList1"/>
    <dgm:cxn modelId="{D9EA53FB-99F6-4ECE-8F50-6D53ACC84686}" type="presParOf" srcId="{7A83818C-08EF-4742-9E34-3CE9A3EE7DF0}" destId="{FE2C7C66-CDAF-4895-9759-8C87FBBD1B44}" srcOrd="1" destOrd="0" presId="urn:microsoft.com/office/officeart/2005/8/layout/hList1"/>
    <dgm:cxn modelId="{A4BE949A-3C93-4A7D-9D18-2AD63498DDBB}" type="presParOf" srcId="{D74C0164-3724-4B59-82FA-A89D5C14D8CA}" destId="{A2946DF0-6179-407F-8558-079C92C1E4BB}" srcOrd="1" destOrd="0" presId="urn:microsoft.com/office/officeart/2005/8/layout/hList1"/>
    <dgm:cxn modelId="{61EB697B-FDB9-4CAD-9AFE-F934830FF6D0}" type="presParOf" srcId="{D74C0164-3724-4B59-82FA-A89D5C14D8CA}" destId="{F8427983-FD79-4FEA-AB17-C322FD23DB13}" srcOrd="2" destOrd="0" presId="urn:microsoft.com/office/officeart/2005/8/layout/hList1"/>
    <dgm:cxn modelId="{B0DC1D03-A04C-4FB3-B82C-CBFF9DFC4834}" type="presParOf" srcId="{F8427983-FD79-4FEA-AB17-C322FD23DB13}" destId="{C6F2A52F-A18E-4511-AF8C-7363517072EA}" srcOrd="0" destOrd="0" presId="urn:microsoft.com/office/officeart/2005/8/layout/hList1"/>
    <dgm:cxn modelId="{E7BB3DAF-B1D9-4F48-A1C6-5D2F11C23160}" type="presParOf" srcId="{F8427983-FD79-4FEA-AB17-C322FD23DB13}" destId="{0E5986F9-200B-4045-9FD8-97D9D189DAE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1DF4E1C-23D7-4781-B3ED-F41170FF8188}"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4BBAB887-33C7-4B63-BADF-DDAB70B18E5B}">
      <dgm:prSet custT="1"/>
      <dgm:spPr/>
      <dgm:t>
        <a:bodyPr/>
        <a:lstStyle/>
        <a:p>
          <a:r>
            <a:rPr lang="en-US" sz="2000" baseline="0" dirty="0"/>
            <a:t>Seek only happens if you search for the columns in the specified order.</a:t>
          </a:r>
          <a:endParaRPr lang="en-US" sz="2000" dirty="0"/>
        </a:p>
      </dgm:t>
    </dgm:pt>
    <dgm:pt modelId="{5F85CE4B-1709-4876-87B8-6726423D4AB5}" type="parTrans" cxnId="{878614A6-F683-4365-867D-F65E403C7C63}">
      <dgm:prSet/>
      <dgm:spPr/>
      <dgm:t>
        <a:bodyPr/>
        <a:lstStyle/>
        <a:p>
          <a:endParaRPr lang="en-US"/>
        </a:p>
      </dgm:t>
    </dgm:pt>
    <dgm:pt modelId="{E6443D43-078B-41CF-ADD6-ED0EBC105DCD}" type="sibTrans" cxnId="{878614A6-F683-4365-867D-F65E403C7C63}">
      <dgm:prSet/>
      <dgm:spPr/>
      <dgm:t>
        <a:bodyPr/>
        <a:lstStyle/>
        <a:p>
          <a:endParaRPr lang="en-US"/>
        </a:p>
      </dgm:t>
    </dgm:pt>
    <dgm:pt modelId="{24A2CE4D-E036-4A90-AEBF-E3A86F6C55E1}">
      <dgm:prSet custT="1"/>
      <dgm:spPr/>
      <dgm:t>
        <a:bodyPr/>
        <a:lstStyle/>
        <a:p>
          <a:r>
            <a:rPr lang="en-US" sz="2000" baseline="0" dirty="0"/>
            <a:t>Effect of column in different WHERE clause.</a:t>
          </a:r>
          <a:endParaRPr lang="en-US" sz="2000" dirty="0"/>
        </a:p>
      </dgm:t>
    </dgm:pt>
    <dgm:pt modelId="{5A877494-CB19-4BEC-AB01-B36D41B364EE}" type="parTrans" cxnId="{B7632F9D-B714-4F7A-98A6-E08A38293300}">
      <dgm:prSet/>
      <dgm:spPr/>
      <dgm:t>
        <a:bodyPr/>
        <a:lstStyle/>
        <a:p>
          <a:endParaRPr lang="en-US"/>
        </a:p>
      </dgm:t>
    </dgm:pt>
    <dgm:pt modelId="{12BC68E8-DB29-4B28-825E-C814B24F8C0D}" type="sibTrans" cxnId="{B7632F9D-B714-4F7A-98A6-E08A38293300}">
      <dgm:prSet/>
      <dgm:spPr/>
      <dgm:t>
        <a:bodyPr/>
        <a:lstStyle/>
        <a:p>
          <a:endParaRPr lang="en-US"/>
        </a:p>
      </dgm:t>
    </dgm:pt>
    <dgm:pt modelId="{D58E6CF1-92D8-4FCA-BAB1-530AD51FF9FE}">
      <dgm:prSet/>
      <dgm:spPr/>
      <dgm:t>
        <a:bodyPr/>
        <a:lstStyle/>
        <a:p>
          <a:r>
            <a:rPr lang="en-US" baseline="0" dirty="0"/>
            <a:t>WHERE PostalCode = 98011 – seek</a:t>
          </a:r>
          <a:endParaRPr lang="en-US" dirty="0"/>
        </a:p>
      </dgm:t>
    </dgm:pt>
    <dgm:pt modelId="{3614229C-38F1-40F6-A05A-0367F26FF4A6}" type="parTrans" cxnId="{7C253561-ADF1-4223-AFAE-717421374CD6}">
      <dgm:prSet/>
      <dgm:spPr/>
      <dgm:t>
        <a:bodyPr/>
        <a:lstStyle/>
        <a:p>
          <a:endParaRPr lang="en-US"/>
        </a:p>
      </dgm:t>
    </dgm:pt>
    <dgm:pt modelId="{A34D69FC-C2B2-44C5-A80D-C1F0C2F151D1}" type="sibTrans" cxnId="{7C253561-ADF1-4223-AFAE-717421374CD6}">
      <dgm:prSet/>
      <dgm:spPr/>
      <dgm:t>
        <a:bodyPr/>
        <a:lstStyle/>
        <a:p>
          <a:endParaRPr lang="en-US"/>
        </a:p>
      </dgm:t>
    </dgm:pt>
    <dgm:pt modelId="{2ECF5319-7D56-416E-B526-360890EA995C}">
      <dgm:prSet/>
      <dgm:spPr/>
      <dgm:t>
        <a:bodyPr/>
        <a:lstStyle/>
        <a:p>
          <a:r>
            <a:rPr lang="en-US" baseline="0" dirty="0"/>
            <a:t>WHERE PostalCode = 98011 – seek AND City = Bothell -- scan</a:t>
          </a:r>
          <a:endParaRPr lang="en-US" dirty="0"/>
        </a:p>
      </dgm:t>
    </dgm:pt>
    <dgm:pt modelId="{C5FF7442-844C-4D83-80D5-CF36401ADCE3}" type="parTrans" cxnId="{E480142D-EBC5-4509-9385-120D8B563197}">
      <dgm:prSet/>
      <dgm:spPr/>
      <dgm:t>
        <a:bodyPr/>
        <a:lstStyle/>
        <a:p>
          <a:endParaRPr lang="en-US"/>
        </a:p>
      </dgm:t>
    </dgm:pt>
    <dgm:pt modelId="{A6C25A87-F9E8-493F-A7BB-E971369BC990}" type="sibTrans" cxnId="{E480142D-EBC5-4509-9385-120D8B563197}">
      <dgm:prSet/>
      <dgm:spPr/>
      <dgm:t>
        <a:bodyPr/>
        <a:lstStyle/>
        <a:p>
          <a:endParaRPr lang="en-US"/>
        </a:p>
      </dgm:t>
    </dgm:pt>
    <dgm:pt modelId="{A8B24AA0-7FF6-4742-9D1A-850A82984117}">
      <dgm:prSet/>
      <dgm:spPr/>
      <dgm:t>
        <a:bodyPr/>
        <a:lstStyle/>
        <a:p>
          <a:r>
            <a:rPr lang="en-US" baseline="0" dirty="0"/>
            <a:t>WHERE StateID = 79 -- scan</a:t>
          </a:r>
          <a:endParaRPr lang="en-US" dirty="0"/>
        </a:p>
      </dgm:t>
    </dgm:pt>
    <dgm:pt modelId="{A4BAE53E-5B42-413A-9317-1016D73D3E78}" type="parTrans" cxnId="{0211C8D6-7CF7-45E6-9F6E-53FF1DE5881F}">
      <dgm:prSet/>
      <dgm:spPr/>
      <dgm:t>
        <a:bodyPr/>
        <a:lstStyle/>
        <a:p>
          <a:endParaRPr lang="en-US"/>
        </a:p>
      </dgm:t>
    </dgm:pt>
    <dgm:pt modelId="{56485906-92F9-4FA0-9DF7-3D32DABE680D}" type="sibTrans" cxnId="{0211C8D6-7CF7-45E6-9F6E-53FF1DE5881F}">
      <dgm:prSet/>
      <dgm:spPr/>
      <dgm:t>
        <a:bodyPr/>
        <a:lstStyle/>
        <a:p>
          <a:endParaRPr lang="en-US"/>
        </a:p>
      </dgm:t>
    </dgm:pt>
    <dgm:pt modelId="{E3C7C65A-8783-49A4-8A2E-5E80061BFAEE}">
      <dgm:prSet/>
      <dgm:spPr/>
      <dgm:t>
        <a:bodyPr/>
        <a:lstStyle/>
        <a:p>
          <a:pPr>
            <a:buNone/>
          </a:pPr>
          <a:endParaRPr lang="en-US" sz="2000" dirty="0"/>
        </a:p>
      </dgm:t>
    </dgm:pt>
    <dgm:pt modelId="{16364019-A98C-4E26-A533-A61A0F73A5C0}" type="parTrans" cxnId="{6DD55095-D80A-4FE2-BC8A-5EF0EF7DE2E9}">
      <dgm:prSet/>
      <dgm:spPr/>
      <dgm:t>
        <a:bodyPr/>
        <a:lstStyle/>
        <a:p>
          <a:endParaRPr lang="en-US"/>
        </a:p>
      </dgm:t>
    </dgm:pt>
    <dgm:pt modelId="{CC7F4B7A-86F7-4958-9073-9EEBD48E133F}" type="sibTrans" cxnId="{6DD55095-D80A-4FE2-BC8A-5EF0EF7DE2E9}">
      <dgm:prSet/>
      <dgm:spPr/>
      <dgm:t>
        <a:bodyPr/>
        <a:lstStyle/>
        <a:p>
          <a:endParaRPr lang="en-US"/>
        </a:p>
      </dgm:t>
    </dgm:pt>
    <dgm:pt modelId="{1B1C9F8E-73BE-47B3-923E-9B094069EAC6}">
      <dgm:prSet/>
      <dgm:spPr/>
      <dgm:t>
        <a:bodyPr/>
        <a:lstStyle/>
        <a:p>
          <a:pPr>
            <a:buNone/>
          </a:pPr>
          <a:r>
            <a:rPr lang="en-US" sz="2000" dirty="0"/>
            <a:t> </a:t>
          </a:r>
          <a:r>
            <a:rPr lang="en-US" sz="2000" baseline="0" dirty="0"/>
            <a:t> </a:t>
          </a:r>
          <a:endParaRPr lang="en-US" sz="2000" dirty="0"/>
        </a:p>
      </dgm:t>
    </dgm:pt>
    <dgm:pt modelId="{10D79157-F2C2-4C78-B5E1-94F340DCC4D4}" type="parTrans" cxnId="{50DF90BE-CA90-4769-9B6B-1A558DD00059}">
      <dgm:prSet/>
      <dgm:spPr/>
      <dgm:t>
        <a:bodyPr/>
        <a:lstStyle/>
        <a:p>
          <a:endParaRPr lang="en-US"/>
        </a:p>
      </dgm:t>
    </dgm:pt>
    <dgm:pt modelId="{C43B6917-CCC6-4C60-9F2E-C875B02383B0}" type="sibTrans" cxnId="{50DF90BE-CA90-4769-9B6B-1A558DD00059}">
      <dgm:prSet/>
      <dgm:spPr/>
      <dgm:t>
        <a:bodyPr/>
        <a:lstStyle/>
        <a:p>
          <a:endParaRPr lang="en-US"/>
        </a:p>
      </dgm:t>
    </dgm:pt>
    <dgm:pt modelId="{2E79069D-A155-447D-92DB-60376E8E0A17}">
      <dgm:prSet/>
      <dgm:spPr/>
      <dgm:t>
        <a:bodyPr/>
        <a:lstStyle/>
        <a:p>
          <a:pPr>
            <a:buNone/>
          </a:pPr>
          <a:r>
            <a:rPr lang="en-US" sz="2000" baseline="0" dirty="0"/>
            <a:t>	</a:t>
          </a:r>
          <a:r>
            <a:rPr lang="en-US" sz="2400" baseline="0" dirty="0"/>
            <a:t>CREATE INDEX IX1 ON TABLE (PostalCode, StateID, City)</a:t>
          </a:r>
          <a:endParaRPr lang="en-US" sz="2000" dirty="0"/>
        </a:p>
      </dgm:t>
    </dgm:pt>
    <dgm:pt modelId="{B9E0C61A-CCC0-49E6-93C1-659CAF586805}" type="parTrans" cxnId="{BB85654A-875A-4BD4-AFEA-6786EADD2B55}">
      <dgm:prSet/>
      <dgm:spPr/>
      <dgm:t>
        <a:bodyPr/>
        <a:lstStyle/>
        <a:p>
          <a:endParaRPr lang="en-US"/>
        </a:p>
      </dgm:t>
    </dgm:pt>
    <dgm:pt modelId="{B9503EAC-A0A9-402D-BE8B-29658F8C3F13}" type="sibTrans" cxnId="{BB85654A-875A-4BD4-AFEA-6786EADD2B55}">
      <dgm:prSet/>
      <dgm:spPr/>
      <dgm:t>
        <a:bodyPr/>
        <a:lstStyle/>
        <a:p>
          <a:endParaRPr lang="en-US"/>
        </a:p>
      </dgm:t>
    </dgm:pt>
    <dgm:pt modelId="{A4B77BE6-626D-476D-B83A-271CBBDF7D73}">
      <dgm:prSet/>
      <dgm:spPr/>
      <dgm:t>
        <a:bodyPr/>
        <a:lstStyle/>
        <a:p>
          <a:r>
            <a:rPr lang="en-US" baseline="0" dirty="0"/>
            <a:t>WHERE PostalCode = 98011 AND StateID = 79 – seek both</a:t>
          </a:r>
          <a:endParaRPr lang="en-US" dirty="0"/>
        </a:p>
      </dgm:t>
    </dgm:pt>
    <dgm:pt modelId="{104BE8AC-F971-4FD1-AD25-9695E08E3FE7}" type="parTrans" cxnId="{B6E17002-2394-45B0-8F6C-BFA68FFF0249}">
      <dgm:prSet/>
      <dgm:spPr/>
      <dgm:t>
        <a:bodyPr/>
        <a:lstStyle/>
        <a:p>
          <a:endParaRPr lang="en-US"/>
        </a:p>
      </dgm:t>
    </dgm:pt>
    <dgm:pt modelId="{53645F83-9D5B-481D-BCA1-9A7FF5FEF9CC}" type="sibTrans" cxnId="{B6E17002-2394-45B0-8F6C-BFA68FFF0249}">
      <dgm:prSet/>
      <dgm:spPr/>
      <dgm:t>
        <a:bodyPr/>
        <a:lstStyle/>
        <a:p>
          <a:endParaRPr lang="en-US"/>
        </a:p>
      </dgm:t>
    </dgm:pt>
    <dgm:pt modelId="{C3B3B913-4373-4CB1-A8C3-406C9B1775F0}" type="pres">
      <dgm:prSet presAssocID="{11DF4E1C-23D7-4781-B3ED-F41170FF8188}" presName="Name0" presStyleCnt="0">
        <dgm:presLayoutVars>
          <dgm:dir/>
          <dgm:animLvl val="lvl"/>
          <dgm:resizeHandles/>
        </dgm:presLayoutVars>
      </dgm:prSet>
      <dgm:spPr/>
    </dgm:pt>
    <dgm:pt modelId="{D0D6A3A1-C718-418B-9F92-D0D01C204B3A}" type="pres">
      <dgm:prSet presAssocID="{4BBAB887-33C7-4B63-BADF-DDAB70B18E5B}" presName="linNode" presStyleCnt="0"/>
      <dgm:spPr/>
    </dgm:pt>
    <dgm:pt modelId="{4ABF60CD-2ECA-4851-82A4-094AB17608A3}" type="pres">
      <dgm:prSet presAssocID="{4BBAB887-33C7-4B63-BADF-DDAB70B18E5B}" presName="parentShp" presStyleLbl="node1" presStyleIdx="0" presStyleCnt="2" custScaleX="55604" custLinFactNeighborX="-10058">
        <dgm:presLayoutVars>
          <dgm:bulletEnabled val="1"/>
        </dgm:presLayoutVars>
      </dgm:prSet>
      <dgm:spPr/>
    </dgm:pt>
    <dgm:pt modelId="{51EF8AA3-6FA0-4755-AA6E-C5BC8AE4F574}" type="pres">
      <dgm:prSet presAssocID="{4BBAB887-33C7-4B63-BADF-DDAB70B18E5B}" presName="childShp" presStyleLbl="bgAccFollowNode1" presStyleIdx="0" presStyleCnt="2" custScaleX="134309">
        <dgm:presLayoutVars>
          <dgm:bulletEnabled val="1"/>
        </dgm:presLayoutVars>
      </dgm:prSet>
      <dgm:spPr/>
    </dgm:pt>
    <dgm:pt modelId="{37A8739D-FC93-42C0-ACD2-66E2BACB9967}" type="pres">
      <dgm:prSet presAssocID="{E6443D43-078B-41CF-ADD6-ED0EBC105DCD}" presName="spacing" presStyleCnt="0"/>
      <dgm:spPr/>
    </dgm:pt>
    <dgm:pt modelId="{286036E0-E568-4689-8F9F-1B63EA1B264C}" type="pres">
      <dgm:prSet presAssocID="{24A2CE4D-E036-4A90-AEBF-E3A86F6C55E1}" presName="linNode" presStyleCnt="0"/>
      <dgm:spPr/>
    </dgm:pt>
    <dgm:pt modelId="{2F27A988-C430-4343-AFC6-121B747947E2}" type="pres">
      <dgm:prSet presAssocID="{24A2CE4D-E036-4A90-AEBF-E3A86F6C55E1}" presName="parentShp" presStyleLbl="node1" presStyleIdx="1" presStyleCnt="2" custScaleX="55472" custLinFactNeighborX="-12956" custLinFactNeighborY="-2290">
        <dgm:presLayoutVars>
          <dgm:bulletEnabled val="1"/>
        </dgm:presLayoutVars>
      </dgm:prSet>
      <dgm:spPr/>
    </dgm:pt>
    <dgm:pt modelId="{6155D189-BFBB-4B9F-8D31-913BF9BA760D}" type="pres">
      <dgm:prSet presAssocID="{24A2CE4D-E036-4A90-AEBF-E3A86F6C55E1}" presName="childShp" presStyleLbl="bgAccFollowNode1" presStyleIdx="1" presStyleCnt="2" custScaleX="133163" custScaleY="102905">
        <dgm:presLayoutVars>
          <dgm:bulletEnabled val="1"/>
        </dgm:presLayoutVars>
      </dgm:prSet>
      <dgm:spPr/>
    </dgm:pt>
  </dgm:ptLst>
  <dgm:cxnLst>
    <dgm:cxn modelId="{1CF7AF00-F57A-4C29-8101-68E9BD05E4B1}" type="presOf" srcId="{11DF4E1C-23D7-4781-B3ED-F41170FF8188}" destId="{C3B3B913-4373-4CB1-A8C3-406C9B1775F0}" srcOrd="0" destOrd="0" presId="urn:microsoft.com/office/officeart/2005/8/layout/vList6"/>
    <dgm:cxn modelId="{B6E17002-2394-45B0-8F6C-BFA68FFF0249}" srcId="{24A2CE4D-E036-4A90-AEBF-E3A86F6C55E1}" destId="{A4B77BE6-626D-476D-B83A-271CBBDF7D73}" srcOrd="1" destOrd="0" parTransId="{104BE8AC-F971-4FD1-AD25-9695E08E3FE7}" sibTransId="{53645F83-9D5B-481D-BCA1-9A7FF5FEF9CC}"/>
    <dgm:cxn modelId="{34324505-317A-45F3-9468-90EC5027BE98}" type="presOf" srcId="{4BBAB887-33C7-4B63-BADF-DDAB70B18E5B}" destId="{4ABF60CD-2ECA-4851-82A4-094AB17608A3}" srcOrd="0" destOrd="0" presId="urn:microsoft.com/office/officeart/2005/8/layout/vList6"/>
    <dgm:cxn modelId="{F1825310-AE1E-413E-95AD-F6393C999642}" type="presOf" srcId="{2E79069D-A155-447D-92DB-60376E8E0A17}" destId="{51EF8AA3-6FA0-4755-AA6E-C5BC8AE4F574}" srcOrd="0" destOrd="2" presId="urn:microsoft.com/office/officeart/2005/8/layout/vList6"/>
    <dgm:cxn modelId="{8F210F13-8B98-4765-817F-FEE7B6ED2C22}" type="presOf" srcId="{1B1C9F8E-73BE-47B3-923E-9B094069EAC6}" destId="{51EF8AA3-6FA0-4755-AA6E-C5BC8AE4F574}" srcOrd="0" destOrd="1" presId="urn:microsoft.com/office/officeart/2005/8/layout/vList6"/>
    <dgm:cxn modelId="{E480142D-EBC5-4509-9385-120D8B563197}" srcId="{24A2CE4D-E036-4A90-AEBF-E3A86F6C55E1}" destId="{2ECF5319-7D56-416E-B526-360890EA995C}" srcOrd="2" destOrd="0" parTransId="{C5FF7442-844C-4D83-80D5-CF36401ADCE3}" sibTransId="{A6C25A87-F9E8-493F-A7BB-E971369BC990}"/>
    <dgm:cxn modelId="{7C253561-ADF1-4223-AFAE-717421374CD6}" srcId="{24A2CE4D-E036-4A90-AEBF-E3A86F6C55E1}" destId="{D58E6CF1-92D8-4FCA-BAB1-530AD51FF9FE}" srcOrd="0" destOrd="0" parTransId="{3614229C-38F1-40F6-A05A-0367F26FF4A6}" sibTransId="{A34D69FC-C2B2-44C5-A80D-C1F0C2F151D1}"/>
    <dgm:cxn modelId="{D5A68743-3B7D-4279-9169-CFD53C5D9AD5}" type="presOf" srcId="{D58E6CF1-92D8-4FCA-BAB1-530AD51FF9FE}" destId="{6155D189-BFBB-4B9F-8D31-913BF9BA760D}" srcOrd="0" destOrd="0" presId="urn:microsoft.com/office/officeart/2005/8/layout/vList6"/>
    <dgm:cxn modelId="{BB85654A-875A-4BD4-AFEA-6786EADD2B55}" srcId="{4BBAB887-33C7-4B63-BADF-DDAB70B18E5B}" destId="{2E79069D-A155-447D-92DB-60376E8E0A17}" srcOrd="2" destOrd="0" parTransId="{B9E0C61A-CCC0-49E6-93C1-659CAF586805}" sibTransId="{B9503EAC-A0A9-402D-BE8B-29658F8C3F13}"/>
    <dgm:cxn modelId="{79A0088A-59B7-495E-AD65-1586C76B80C5}" type="presOf" srcId="{2ECF5319-7D56-416E-B526-360890EA995C}" destId="{6155D189-BFBB-4B9F-8D31-913BF9BA760D}" srcOrd="0" destOrd="2" presId="urn:microsoft.com/office/officeart/2005/8/layout/vList6"/>
    <dgm:cxn modelId="{6DD55095-D80A-4FE2-BC8A-5EF0EF7DE2E9}" srcId="{4BBAB887-33C7-4B63-BADF-DDAB70B18E5B}" destId="{E3C7C65A-8783-49A4-8A2E-5E80061BFAEE}" srcOrd="0" destOrd="0" parTransId="{16364019-A98C-4E26-A533-A61A0F73A5C0}" sibTransId="{CC7F4B7A-86F7-4958-9073-9EEBD48E133F}"/>
    <dgm:cxn modelId="{B7632F9D-B714-4F7A-98A6-E08A38293300}" srcId="{11DF4E1C-23D7-4781-B3ED-F41170FF8188}" destId="{24A2CE4D-E036-4A90-AEBF-E3A86F6C55E1}" srcOrd="1" destOrd="0" parTransId="{5A877494-CB19-4BEC-AB01-B36D41B364EE}" sibTransId="{12BC68E8-DB29-4B28-825E-C814B24F8C0D}"/>
    <dgm:cxn modelId="{878614A6-F683-4365-867D-F65E403C7C63}" srcId="{11DF4E1C-23D7-4781-B3ED-F41170FF8188}" destId="{4BBAB887-33C7-4B63-BADF-DDAB70B18E5B}" srcOrd="0" destOrd="0" parTransId="{5F85CE4B-1709-4876-87B8-6726423D4AB5}" sibTransId="{E6443D43-078B-41CF-ADD6-ED0EBC105DCD}"/>
    <dgm:cxn modelId="{50DF90BE-CA90-4769-9B6B-1A558DD00059}" srcId="{4BBAB887-33C7-4B63-BADF-DDAB70B18E5B}" destId="{1B1C9F8E-73BE-47B3-923E-9B094069EAC6}" srcOrd="1" destOrd="0" parTransId="{10D79157-F2C2-4C78-B5E1-94F340DCC4D4}" sibTransId="{C43B6917-CCC6-4C60-9F2E-C875B02383B0}"/>
    <dgm:cxn modelId="{1ECDE2C0-454C-41F8-B600-05AFE5EDA75C}" type="presOf" srcId="{E3C7C65A-8783-49A4-8A2E-5E80061BFAEE}" destId="{51EF8AA3-6FA0-4755-AA6E-C5BC8AE4F574}" srcOrd="0" destOrd="0" presId="urn:microsoft.com/office/officeart/2005/8/layout/vList6"/>
    <dgm:cxn modelId="{B062E3CD-6D5A-4D49-ACD5-63C75EF6B440}" type="presOf" srcId="{A4B77BE6-626D-476D-B83A-271CBBDF7D73}" destId="{6155D189-BFBB-4B9F-8D31-913BF9BA760D}" srcOrd="0" destOrd="1" presId="urn:microsoft.com/office/officeart/2005/8/layout/vList6"/>
    <dgm:cxn modelId="{0211C8D6-7CF7-45E6-9F6E-53FF1DE5881F}" srcId="{24A2CE4D-E036-4A90-AEBF-E3A86F6C55E1}" destId="{A8B24AA0-7FF6-4742-9D1A-850A82984117}" srcOrd="3" destOrd="0" parTransId="{A4BAE53E-5B42-413A-9317-1016D73D3E78}" sibTransId="{56485906-92F9-4FA0-9DF7-3D32DABE680D}"/>
    <dgm:cxn modelId="{219015E6-3495-460B-8BD9-ECAD4F352EBB}" type="presOf" srcId="{24A2CE4D-E036-4A90-AEBF-E3A86F6C55E1}" destId="{2F27A988-C430-4343-AFC6-121B747947E2}" srcOrd="0" destOrd="0" presId="urn:microsoft.com/office/officeart/2005/8/layout/vList6"/>
    <dgm:cxn modelId="{BA1A75EC-E0F2-4CFB-9CD2-7E021FCB3543}" type="presOf" srcId="{A8B24AA0-7FF6-4742-9D1A-850A82984117}" destId="{6155D189-BFBB-4B9F-8D31-913BF9BA760D}" srcOrd="0" destOrd="3" presId="urn:microsoft.com/office/officeart/2005/8/layout/vList6"/>
    <dgm:cxn modelId="{19F71CD5-F7FF-44AB-B71C-A3C367BEDDEA}" type="presParOf" srcId="{C3B3B913-4373-4CB1-A8C3-406C9B1775F0}" destId="{D0D6A3A1-C718-418B-9F92-D0D01C204B3A}" srcOrd="0" destOrd="0" presId="urn:microsoft.com/office/officeart/2005/8/layout/vList6"/>
    <dgm:cxn modelId="{6C647B22-A7DC-488E-8A18-C85297CF4B69}" type="presParOf" srcId="{D0D6A3A1-C718-418B-9F92-D0D01C204B3A}" destId="{4ABF60CD-2ECA-4851-82A4-094AB17608A3}" srcOrd="0" destOrd="0" presId="urn:microsoft.com/office/officeart/2005/8/layout/vList6"/>
    <dgm:cxn modelId="{CD75D5A0-2FFA-4531-B8DE-0DE08761BE3B}" type="presParOf" srcId="{D0D6A3A1-C718-418B-9F92-D0D01C204B3A}" destId="{51EF8AA3-6FA0-4755-AA6E-C5BC8AE4F574}" srcOrd="1" destOrd="0" presId="urn:microsoft.com/office/officeart/2005/8/layout/vList6"/>
    <dgm:cxn modelId="{D1DB9F01-E4B4-4631-9E5B-3D70601A3F10}" type="presParOf" srcId="{C3B3B913-4373-4CB1-A8C3-406C9B1775F0}" destId="{37A8739D-FC93-42C0-ACD2-66E2BACB9967}" srcOrd="1" destOrd="0" presId="urn:microsoft.com/office/officeart/2005/8/layout/vList6"/>
    <dgm:cxn modelId="{DC88FB99-3618-409E-8B09-24E93E9D77A5}" type="presParOf" srcId="{C3B3B913-4373-4CB1-A8C3-406C9B1775F0}" destId="{286036E0-E568-4689-8F9F-1B63EA1B264C}" srcOrd="2" destOrd="0" presId="urn:microsoft.com/office/officeart/2005/8/layout/vList6"/>
    <dgm:cxn modelId="{9294701D-C3E9-45A9-B0FF-0CE989E21817}" type="presParOf" srcId="{286036E0-E568-4689-8F9F-1B63EA1B264C}" destId="{2F27A988-C430-4343-AFC6-121B747947E2}" srcOrd="0" destOrd="0" presId="urn:microsoft.com/office/officeart/2005/8/layout/vList6"/>
    <dgm:cxn modelId="{12BD3A41-EEB8-4DAC-8942-DEDF221A8244}" type="presParOf" srcId="{286036E0-E568-4689-8F9F-1B63EA1B264C}" destId="{6155D189-BFBB-4B9F-8D31-913BF9BA760D}"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8173ED18-E06D-4532-95C1-781F8EAC5FB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276A80EC-D285-4DC7-A2DA-5337219B9D41}">
      <dgm:prSet custT="1"/>
      <dgm:spPr/>
      <dgm:t>
        <a:bodyPr/>
        <a:lstStyle/>
        <a:p>
          <a:r>
            <a:rPr lang="en-US" sz="2400" baseline="0"/>
            <a:t>Table or Index Partition</a:t>
          </a:r>
          <a:endParaRPr lang="en-US" sz="2400"/>
        </a:p>
      </dgm:t>
    </dgm:pt>
    <dgm:pt modelId="{50098684-A07A-4A50-8C90-C168847F7EE0}" type="parTrans" cxnId="{BC1A18CD-046F-47C9-ABEC-D9DD68B50348}">
      <dgm:prSet/>
      <dgm:spPr/>
      <dgm:t>
        <a:bodyPr/>
        <a:lstStyle/>
        <a:p>
          <a:endParaRPr lang="en-US"/>
        </a:p>
      </dgm:t>
    </dgm:pt>
    <dgm:pt modelId="{3E183843-0200-4AEE-BB07-C9F80475E5A6}" type="sibTrans" cxnId="{BC1A18CD-046F-47C9-ABEC-D9DD68B50348}">
      <dgm:prSet/>
      <dgm:spPr/>
      <dgm:t>
        <a:bodyPr/>
        <a:lstStyle/>
        <a:p>
          <a:endParaRPr lang="en-US"/>
        </a:p>
      </dgm:t>
    </dgm:pt>
    <dgm:pt modelId="{9FD96E95-2648-4C8A-BDD4-38EC1A620B53}">
      <dgm:prSet custT="1"/>
      <dgm:spPr/>
      <dgm:t>
        <a:bodyPr/>
        <a:lstStyle/>
        <a:p>
          <a:r>
            <a:rPr lang="en-US" sz="2400" baseline="0" dirty="0"/>
            <a:t>Breaking a single table or index into multiple </a:t>
          </a:r>
          <a:r>
            <a:rPr lang="en-US" sz="2400" baseline="0" dirty="0" err="1"/>
            <a:t>HoBT</a:t>
          </a:r>
          <a:r>
            <a:rPr lang="en-US" sz="2400" baseline="0" dirty="0"/>
            <a:t> ( Heap or B-Tree) structures</a:t>
          </a:r>
          <a:endParaRPr lang="en-US" sz="2400" dirty="0"/>
        </a:p>
      </dgm:t>
    </dgm:pt>
    <dgm:pt modelId="{26B58E96-98D1-463D-A35D-5EEAC3F0967F}" type="parTrans" cxnId="{A6CE3749-17B8-475B-A4F8-3AC3D754BADC}">
      <dgm:prSet/>
      <dgm:spPr/>
      <dgm:t>
        <a:bodyPr/>
        <a:lstStyle/>
        <a:p>
          <a:endParaRPr lang="en-US"/>
        </a:p>
      </dgm:t>
    </dgm:pt>
    <dgm:pt modelId="{6DFC200F-399D-4984-BE1C-B58092AEC74A}" type="sibTrans" cxnId="{A6CE3749-17B8-475B-A4F8-3AC3D754BADC}">
      <dgm:prSet/>
      <dgm:spPr/>
      <dgm:t>
        <a:bodyPr/>
        <a:lstStyle/>
        <a:p>
          <a:endParaRPr lang="en-US"/>
        </a:p>
      </dgm:t>
    </dgm:pt>
    <dgm:pt modelId="{03ECCA17-178E-4AA1-9369-CBA7E9A92924}">
      <dgm:prSet custT="1"/>
      <dgm:spPr/>
      <dgm:t>
        <a:bodyPr/>
        <a:lstStyle/>
        <a:p>
          <a:r>
            <a:rPr lang="en-US" sz="2400" baseline="0"/>
            <a:t>Requires a single column to use as partition key</a:t>
          </a:r>
          <a:endParaRPr lang="en-US" sz="2400"/>
        </a:p>
      </dgm:t>
    </dgm:pt>
    <dgm:pt modelId="{C7207065-21D3-46C4-8B68-651A3CF7F443}" type="parTrans" cxnId="{5CB7DD14-3E59-4552-B0CC-C319C3891C46}">
      <dgm:prSet/>
      <dgm:spPr/>
      <dgm:t>
        <a:bodyPr/>
        <a:lstStyle/>
        <a:p>
          <a:endParaRPr lang="en-US"/>
        </a:p>
      </dgm:t>
    </dgm:pt>
    <dgm:pt modelId="{2B765B19-9D1F-49E9-B8BE-77DA5CF2C35D}" type="sibTrans" cxnId="{5CB7DD14-3E59-4552-B0CC-C319C3891C46}">
      <dgm:prSet/>
      <dgm:spPr/>
      <dgm:t>
        <a:bodyPr/>
        <a:lstStyle/>
        <a:p>
          <a:endParaRPr lang="en-US"/>
        </a:p>
      </dgm:t>
    </dgm:pt>
    <dgm:pt modelId="{142F9F85-9122-4757-9595-F78182323D85}">
      <dgm:prSet custT="1"/>
      <dgm:spPr/>
      <dgm:t>
        <a:bodyPr/>
        <a:lstStyle/>
        <a:p>
          <a:r>
            <a:rPr lang="en-US" sz="2400" baseline="0"/>
            <a:t>Partitioning is transparent to all queries</a:t>
          </a:r>
          <a:endParaRPr lang="en-US" sz="2400"/>
        </a:p>
      </dgm:t>
    </dgm:pt>
    <dgm:pt modelId="{5C49E00D-B004-433A-B888-2262D5A1632E}" type="parTrans" cxnId="{68319F40-0EDF-4D09-B483-3EABB8C79E0C}">
      <dgm:prSet/>
      <dgm:spPr/>
      <dgm:t>
        <a:bodyPr/>
        <a:lstStyle/>
        <a:p>
          <a:endParaRPr lang="en-US"/>
        </a:p>
      </dgm:t>
    </dgm:pt>
    <dgm:pt modelId="{F7A9376A-3734-41AF-B1A2-57EE4B27C23A}" type="sibTrans" cxnId="{68319F40-0EDF-4D09-B483-3EABB8C79E0C}">
      <dgm:prSet/>
      <dgm:spPr/>
      <dgm:t>
        <a:bodyPr/>
        <a:lstStyle/>
        <a:p>
          <a:endParaRPr lang="en-US"/>
        </a:p>
      </dgm:t>
    </dgm:pt>
    <dgm:pt modelId="{99BF32AD-E73E-4805-A232-B85ABD59E4C0}" type="pres">
      <dgm:prSet presAssocID="{8173ED18-E06D-4532-95C1-781F8EAC5FBB}" presName="linear" presStyleCnt="0">
        <dgm:presLayoutVars>
          <dgm:animLvl val="lvl"/>
          <dgm:resizeHandles val="exact"/>
        </dgm:presLayoutVars>
      </dgm:prSet>
      <dgm:spPr/>
    </dgm:pt>
    <dgm:pt modelId="{F62F3F0E-A92D-47AF-95EE-E6CA0A2ACA47}" type="pres">
      <dgm:prSet presAssocID="{276A80EC-D285-4DC7-A2DA-5337219B9D41}" presName="parentText" presStyleLbl="node1" presStyleIdx="0" presStyleCnt="1">
        <dgm:presLayoutVars>
          <dgm:chMax val="0"/>
          <dgm:bulletEnabled val="1"/>
        </dgm:presLayoutVars>
      </dgm:prSet>
      <dgm:spPr/>
    </dgm:pt>
    <dgm:pt modelId="{CC26E3C0-57D0-4B79-8FFB-DC7E4CB15078}" type="pres">
      <dgm:prSet presAssocID="{276A80EC-D285-4DC7-A2DA-5337219B9D41}" presName="childText" presStyleLbl="revTx" presStyleIdx="0" presStyleCnt="1">
        <dgm:presLayoutVars>
          <dgm:bulletEnabled val="1"/>
        </dgm:presLayoutVars>
      </dgm:prSet>
      <dgm:spPr/>
    </dgm:pt>
  </dgm:ptLst>
  <dgm:cxnLst>
    <dgm:cxn modelId="{5CB7DD14-3E59-4552-B0CC-C319C3891C46}" srcId="{276A80EC-D285-4DC7-A2DA-5337219B9D41}" destId="{03ECCA17-178E-4AA1-9369-CBA7E9A92924}" srcOrd="1" destOrd="0" parTransId="{C7207065-21D3-46C4-8B68-651A3CF7F443}" sibTransId="{2B765B19-9D1F-49E9-B8BE-77DA5CF2C35D}"/>
    <dgm:cxn modelId="{7F700026-F92F-4F86-8463-59093D8F0E10}" type="presOf" srcId="{8173ED18-E06D-4532-95C1-781F8EAC5FBB}" destId="{99BF32AD-E73E-4805-A232-B85ABD59E4C0}" srcOrd="0" destOrd="0" presId="urn:microsoft.com/office/officeart/2005/8/layout/vList2"/>
    <dgm:cxn modelId="{68319F40-0EDF-4D09-B483-3EABB8C79E0C}" srcId="{276A80EC-D285-4DC7-A2DA-5337219B9D41}" destId="{142F9F85-9122-4757-9595-F78182323D85}" srcOrd="2" destOrd="0" parTransId="{5C49E00D-B004-433A-B888-2262D5A1632E}" sibTransId="{F7A9376A-3734-41AF-B1A2-57EE4B27C23A}"/>
    <dgm:cxn modelId="{A6CE3749-17B8-475B-A4F8-3AC3D754BADC}" srcId="{276A80EC-D285-4DC7-A2DA-5337219B9D41}" destId="{9FD96E95-2648-4C8A-BDD4-38EC1A620B53}" srcOrd="0" destOrd="0" parTransId="{26B58E96-98D1-463D-A35D-5EEAC3F0967F}" sibTransId="{6DFC200F-399D-4984-BE1C-B58092AEC74A}"/>
    <dgm:cxn modelId="{920DA16D-6FBB-4597-8D26-3AD23278526D}" type="presOf" srcId="{276A80EC-D285-4DC7-A2DA-5337219B9D41}" destId="{F62F3F0E-A92D-47AF-95EE-E6CA0A2ACA47}" srcOrd="0" destOrd="0" presId="urn:microsoft.com/office/officeart/2005/8/layout/vList2"/>
    <dgm:cxn modelId="{7D05B384-1789-432C-9035-F3231DF0ECFC}" type="presOf" srcId="{142F9F85-9122-4757-9595-F78182323D85}" destId="{CC26E3C0-57D0-4B79-8FFB-DC7E4CB15078}" srcOrd="0" destOrd="2" presId="urn:microsoft.com/office/officeart/2005/8/layout/vList2"/>
    <dgm:cxn modelId="{BC1A18CD-046F-47C9-ABEC-D9DD68B50348}" srcId="{8173ED18-E06D-4532-95C1-781F8EAC5FBB}" destId="{276A80EC-D285-4DC7-A2DA-5337219B9D41}" srcOrd="0" destOrd="0" parTransId="{50098684-A07A-4A50-8C90-C168847F7EE0}" sibTransId="{3E183843-0200-4AEE-BB07-C9F80475E5A6}"/>
    <dgm:cxn modelId="{2B90BFEE-ABC5-49BF-A266-D863EA95CA3D}" type="presOf" srcId="{03ECCA17-178E-4AA1-9369-CBA7E9A92924}" destId="{CC26E3C0-57D0-4B79-8FFB-DC7E4CB15078}" srcOrd="0" destOrd="1" presId="urn:microsoft.com/office/officeart/2005/8/layout/vList2"/>
    <dgm:cxn modelId="{759A94FC-ACB5-4E97-9D64-E95A66D890F2}" type="presOf" srcId="{9FD96E95-2648-4C8A-BDD4-38EC1A620B53}" destId="{CC26E3C0-57D0-4B79-8FFB-DC7E4CB15078}" srcOrd="0" destOrd="0" presId="urn:microsoft.com/office/officeart/2005/8/layout/vList2"/>
    <dgm:cxn modelId="{701AF6A9-D923-4CAF-8893-EA021E6CB76A}" type="presParOf" srcId="{99BF32AD-E73E-4805-A232-B85ABD59E4C0}" destId="{F62F3F0E-A92D-47AF-95EE-E6CA0A2ACA47}" srcOrd="0" destOrd="0" presId="urn:microsoft.com/office/officeart/2005/8/layout/vList2"/>
    <dgm:cxn modelId="{A3396D83-CF0B-49C6-B058-C22B75569380}" type="presParOf" srcId="{99BF32AD-E73E-4805-A232-B85ABD59E4C0}" destId="{CC26E3C0-57D0-4B79-8FFB-DC7E4CB1507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173ED18-E06D-4532-95C1-781F8EAC5FB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05BCC960-8363-4A78-8605-8BA0C3C598DF}">
      <dgm:prSet/>
      <dgm:spPr/>
      <dgm:t>
        <a:bodyPr/>
        <a:lstStyle/>
        <a:p>
          <a:r>
            <a:rPr lang="en-US" baseline="0"/>
            <a:t>Data Access</a:t>
          </a:r>
          <a:endParaRPr lang="en-US"/>
        </a:p>
      </dgm:t>
    </dgm:pt>
    <dgm:pt modelId="{3C3BDD7F-FFE1-464C-8063-409F4EAE1641}" type="parTrans" cxnId="{9DA8DA1F-61BA-40BC-B68A-B26D3110191A}">
      <dgm:prSet/>
      <dgm:spPr/>
      <dgm:t>
        <a:bodyPr/>
        <a:lstStyle/>
        <a:p>
          <a:endParaRPr lang="en-US"/>
        </a:p>
      </dgm:t>
    </dgm:pt>
    <dgm:pt modelId="{87FA60E4-E636-44AA-8601-650472D2D91B}" type="sibTrans" cxnId="{9DA8DA1F-61BA-40BC-B68A-B26D3110191A}">
      <dgm:prSet/>
      <dgm:spPr/>
      <dgm:t>
        <a:bodyPr/>
        <a:lstStyle/>
        <a:p>
          <a:endParaRPr lang="en-US"/>
        </a:p>
      </dgm:t>
    </dgm:pt>
    <dgm:pt modelId="{47A8B0BA-2C7D-48E6-8A6F-FADC747C6106}">
      <dgm:prSet/>
      <dgm:spPr/>
      <dgm:t>
        <a:bodyPr/>
        <a:lstStyle/>
        <a:p>
          <a:r>
            <a:rPr lang="en-US" baseline="0"/>
            <a:t>Faster data load and offload.</a:t>
          </a:r>
          <a:endParaRPr lang="en-US"/>
        </a:p>
      </dgm:t>
    </dgm:pt>
    <dgm:pt modelId="{D705954E-FC49-40B5-A8E4-886D979B9FA6}" type="parTrans" cxnId="{E9BF5971-3DB0-479E-AC72-5AAE73030B8E}">
      <dgm:prSet/>
      <dgm:spPr/>
      <dgm:t>
        <a:bodyPr/>
        <a:lstStyle/>
        <a:p>
          <a:endParaRPr lang="en-US"/>
        </a:p>
      </dgm:t>
    </dgm:pt>
    <dgm:pt modelId="{6E6B4150-B688-4A41-9725-0A757DF4E639}" type="sibTrans" cxnId="{E9BF5971-3DB0-479E-AC72-5AAE73030B8E}">
      <dgm:prSet/>
      <dgm:spPr/>
      <dgm:t>
        <a:bodyPr/>
        <a:lstStyle/>
        <a:p>
          <a:endParaRPr lang="en-US"/>
        </a:p>
      </dgm:t>
    </dgm:pt>
    <dgm:pt modelId="{9092515B-BA57-4479-BA10-4788C0899D20}">
      <dgm:prSet/>
      <dgm:spPr/>
      <dgm:t>
        <a:bodyPr/>
        <a:lstStyle/>
        <a:p>
          <a:r>
            <a:rPr lang="en-US" baseline="0"/>
            <a:t>Query performance may be improved:</a:t>
          </a:r>
          <a:endParaRPr lang="en-US"/>
        </a:p>
      </dgm:t>
    </dgm:pt>
    <dgm:pt modelId="{081F7848-F4BB-46E4-9C72-6BF85109F322}" type="parTrans" cxnId="{B29BD684-805B-4FA5-877A-DDF4940651D9}">
      <dgm:prSet/>
      <dgm:spPr/>
      <dgm:t>
        <a:bodyPr/>
        <a:lstStyle/>
        <a:p>
          <a:endParaRPr lang="en-US"/>
        </a:p>
      </dgm:t>
    </dgm:pt>
    <dgm:pt modelId="{429D0241-EB68-4DA5-836E-8A303CA791F0}" type="sibTrans" cxnId="{B29BD684-805B-4FA5-877A-DDF4940651D9}">
      <dgm:prSet/>
      <dgm:spPr/>
      <dgm:t>
        <a:bodyPr/>
        <a:lstStyle/>
        <a:p>
          <a:endParaRPr lang="en-US"/>
        </a:p>
      </dgm:t>
    </dgm:pt>
    <dgm:pt modelId="{F36A87FA-22C2-4391-8E14-C8D957DB8DCC}">
      <dgm:prSet/>
      <dgm:spPr/>
      <dgm:t>
        <a:bodyPr/>
        <a:lstStyle/>
        <a:p>
          <a:r>
            <a:rPr lang="en-US" baseline="0"/>
            <a:t>Piecemeal backup / restore of data by partition.</a:t>
          </a:r>
          <a:endParaRPr lang="en-US"/>
        </a:p>
      </dgm:t>
    </dgm:pt>
    <dgm:pt modelId="{2EBB5A7E-D890-49F3-A205-CC24648EAB26}" type="parTrans" cxnId="{51D3DF64-33AD-4258-BAA8-BC1CD6518F4B}">
      <dgm:prSet/>
      <dgm:spPr/>
      <dgm:t>
        <a:bodyPr/>
        <a:lstStyle/>
        <a:p>
          <a:endParaRPr lang="en-US"/>
        </a:p>
      </dgm:t>
    </dgm:pt>
    <dgm:pt modelId="{690B6100-C9A4-4AA3-AD8F-9300C16E95D7}" type="sibTrans" cxnId="{51D3DF64-33AD-4258-BAA8-BC1CD6518F4B}">
      <dgm:prSet/>
      <dgm:spPr/>
      <dgm:t>
        <a:bodyPr/>
        <a:lstStyle/>
        <a:p>
          <a:endParaRPr lang="en-US"/>
        </a:p>
      </dgm:t>
    </dgm:pt>
    <dgm:pt modelId="{025B7C7D-87F2-40B5-967C-EDFCDE631805}">
      <dgm:prSet/>
      <dgm:spPr/>
      <dgm:t>
        <a:bodyPr/>
        <a:lstStyle/>
        <a:p>
          <a:r>
            <a:rPr lang="en-US" baseline="0"/>
            <a:t>Per-Partition management available for:</a:t>
          </a:r>
          <a:endParaRPr lang="en-US"/>
        </a:p>
      </dgm:t>
    </dgm:pt>
    <dgm:pt modelId="{A98AFECD-CBDD-4AFA-9C1C-279865977915}" type="parTrans" cxnId="{CBC88E66-C3CB-44F7-BF81-CCD13604C2AD}">
      <dgm:prSet/>
      <dgm:spPr/>
      <dgm:t>
        <a:bodyPr/>
        <a:lstStyle/>
        <a:p>
          <a:endParaRPr lang="en-US"/>
        </a:p>
      </dgm:t>
    </dgm:pt>
    <dgm:pt modelId="{F7366BFE-B68C-4AE0-960A-5F010E42043F}" type="sibTrans" cxnId="{CBC88E66-C3CB-44F7-BF81-CCD13604C2AD}">
      <dgm:prSet/>
      <dgm:spPr/>
      <dgm:t>
        <a:bodyPr/>
        <a:lstStyle/>
        <a:p>
          <a:endParaRPr lang="en-US"/>
        </a:p>
      </dgm:t>
    </dgm:pt>
    <dgm:pt modelId="{B1AE173E-B561-405F-814D-FCC66647F050}">
      <dgm:prSet/>
      <dgm:spPr/>
      <dgm:t>
        <a:bodyPr/>
        <a:lstStyle/>
        <a:p>
          <a:r>
            <a:rPr lang="fr-FR" baseline="0"/>
            <a:t>Index Maintenance</a:t>
          </a:r>
          <a:endParaRPr lang="en-US"/>
        </a:p>
      </dgm:t>
    </dgm:pt>
    <dgm:pt modelId="{6AEE3378-B44C-458A-80ED-F007C3F45561}" type="parTrans" cxnId="{CE029ADF-05F0-49BC-B018-F3E7F41377E0}">
      <dgm:prSet/>
      <dgm:spPr/>
      <dgm:t>
        <a:bodyPr/>
        <a:lstStyle/>
        <a:p>
          <a:endParaRPr lang="en-US"/>
        </a:p>
      </dgm:t>
    </dgm:pt>
    <dgm:pt modelId="{903A1551-8073-4E80-AB31-076558428041}" type="sibTrans" cxnId="{CE029ADF-05F0-49BC-B018-F3E7F41377E0}">
      <dgm:prSet/>
      <dgm:spPr/>
      <dgm:t>
        <a:bodyPr/>
        <a:lstStyle/>
        <a:p>
          <a:endParaRPr lang="en-US"/>
        </a:p>
      </dgm:t>
    </dgm:pt>
    <dgm:pt modelId="{E6693EE7-49BC-4E73-8097-1C3BBAB49451}">
      <dgm:prSet/>
      <dgm:spPr/>
      <dgm:t>
        <a:bodyPr/>
        <a:lstStyle/>
        <a:p>
          <a:r>
            <a:rPr lang="en-US" dirty="0"/>
            <a:t>when predicate uses Partition-Key </a:t>
          </a:r>
          <a:r>
            <a:rPr lang="en-US" dirty="0">
              <a:sym typeface="Wingdings" panose="05000000000000000000" pitchFamily="2" charset="2"/>
            </a:rPr>
            <a:t> partition elimination</a:t>
          </a:r>
          <a:endParaRPr lang="en-US" dirty="0"/>
        </a:p>
      </dgm:t>
    </dgm:pt>
    <dgm:pt modelId="{67D0C980-4FEA-4B14-8A93-D23D6334D2A0}" type="parTrans" cxnId="{28B90CA8-EFAE-4A85-A724-DBC3B98FB937}">
      <dgm:prSet/>
      <dgm:spPr/>
      <dgm:t>
        <a:bodyPr/>
        <a:lstStyle/>
        <a:p>
          <a:endParaRPr lang="en-US"/>
        </a:p>
      </dgm:t>
    </dgm:pt>
    <dgm:pt modelId="{8565DE45-64D4-4AB3-B114-7CDB6577A790}" type="sibTrans" cxnId="{28B90CA8-EFAE-4A85-A724-DBC3B98FB937}">
      <dgm:prSet/>
      <dgm:spPr/>
      <dgm:t>
        <a:bodyPr/>
        <a:lstStyle/>
        <a:p>
          <a:endParaRPr lang="en-US"/>
        </a:p>
      </dgm:t>
    </dgm:pt>
    <dgm:pt modelId="{6DF313A4-F719-473D-9FFA-E4DA6C590603}">
      <dgm:prSet/>
      <dgm:spPr/>
      <dgm:t>
        <a:bodyPr/>
        <a:lstStyle/>
        <a:p>
          <a:r>
            <a:rPr lang="en-US"/>
            <a:t>when predicate doesn’t use partition key </a:t>
          </a:r>
          <a:r>
            <a:rPr lang="en-US">
              <a:sym typeface="Wingdings" panose="05000000000000000000" pitchFamily="2" charset="2"/>
            </a:rPr>
            <a:t>  parallel execution</a:t>
          </a:r>
          <a:endParaRPr lang="en-US"/>
        </a:p>
      </dgm:t>
    </dgm:pt>
    <dgm:pt modelId="{5E2D54B2-90C9-4719-8ADC-574777F671AC}" type="parTrans" cxnId="{AAB7D335-9F68-48C6-BCB7-547729245CA1}">
      <dgm:prSet/>
      <dgm:spPr/>
      <dgm:t>
        <a:bodyPr/>
        <a:lstStyle/>
        <a:p>
          <a:endParaRPr lang="en-US"/>
        </a:p>
      </dgm:t>
    </dgm:pt>
    <dgm:pt modelId="{C880FE72-D782-4738-A3CD-984D32723035}" type="sibTrans" cxnId="{AAB7D335-9F68-48C6-BCB7-547729245CA1}">
      <dgm:prSet/>
      <dgm:spPr/>
      <dgm:t>
        <a:bodyPr/>
        <a:lstStyle/>
        <a:p>
          <a:endParaRPr lang="en-US"/>
        </a:p>
      </dgm:t>
    </dgm:pt>
    <dgm:pt modelId="{CCF81559-1EA3-4840-969E-C120446C21EF}">
      <dgm:prSet/>
      <dgm:spPr/>
      <dgm:t>
        <a:bodyPr/>
        <a:lstStyle/>
        <a:p>
          <a:r>
            <a:rPr lang="en-US" baseline="0"/>
            <a:t>Maintenance and management</a:t>
          </a:r>
          <a:endParaRPr lang="en-US"/>
        </a:p>
      </dgm:t>
    </dgm:pt>
    <dgm:pt modelId="{3CE4A6D7-E32A-4D40-9E33-C8E6C7E6707F}" type="parTrans" cxnId="{FFE2B78B-AD43-4C08-849D-09CEE5C45B50}">
      <dgm:prSet/>
      <dgm:spPr/>
      <dgm:t>
        <a:bodyPr/>
        <a:lstStyle/>
        <a:p>
          <a:endParaRPr lang="en-US"/>
        </a:p>
      </dgm:t>
    </dgm:pt>
    <dgm:pt modelId="{5799FEAF-2547-44D6-8131-081701840A19}" type="sibTrans" cxnId="{FFE2B78B-AD43-4C08-849D-09CEE5C45B50}">
      <dgm:prSet/>
      <dgm:spPr/>
      <dgm:t>
        <a:bodyPr/>
        <a:lstStyle/>
        <a:p>
          <a:endParaRPr lang="en-US"/>
        </a:p>
      </dgm:t>
    </dgm:pt>
    <dgm:pt modelId="{F537D740-B98A-422D-A8A3-C355F7DD3F04}">
      <dgm:prSet/>
      <dgm:spPr/>
      <dgm:t>
        <a:bodyPr/>
        <a:lstStyle/>
        <a:p>
          <a:r>
            <a:rPr lang="en-US" baseline="0"/>
            <a:t>Data placement handled by SQL Server.</a:t>
          </a:r>
          <a:endParaRPr lang="en-US"/>
        </a:p>
      </dgm:t>
    </dgm:pt>
    <dgm:pt modelId="{BC74403A-22FB-4A7F-BC26-64A9A284DE0B}" type="parTrans" cxnId="{771F29DA-D744-455E-9F3B-B9C6EC42BD4F}">
      <dgm:prSet/>
      <dgm:spPr/>
    </dgm:pt>
    <dgm:pt modelId="{67C5858D-5951-43F1-8EFE-2EDC02D4306C}" type="sibTrans" cxnId="{771F29DA-D744-455E-9F3B-B9C6EC42BD4F}">
      <dgm:prSet/>
      <dgm:spPr/>
    </dgm:pt>
    <dgm:pt modelId="{E6EBD06C-F650-48B3-9AF2-923A36FDDA0E}">
      <dgm:prSet/>
      <dgm:spPr/>
      <dgm:t>
        <a:bodyPr/>
        <a:lstStyle/>
        <a:p>
          <a:r>
            <a:rPr lang="fr-FR" baseline="0"/>
            <a:t>Lock </a:t>
          </a:r>
          <a:r>
            <a:rPr lang="en-US" baseline="0"/>
            <a:t>Escalation</a:t>
          </a:r>
          <a:endParaRPr lang="en-US"/>
        </a:p>
      </dgm:t>
    </dgm:pt>
    <dgm:pt modelId="{FDA04D3C-55B9-468E-BEF2-9A8EE0CEEEDF}" type="parTrans" cxnId="{F9CD3D5D-D2E9-4A28-BA90-993B3D8CA6D8}">
      <dgm:prSet/>
      <dgm:spPr/>
    </dgm:pt>
    <dgm:pt modelId="{6140DB61-FE85-49BE-89DB-57AFB47661CC}" type="sibTrans" cxnId="{F9CD3D5D-D2E9-4A28-BA90-993B3D8CA6D8}">
      <dgm:prSet/>
      <dgm:spPr/>
    </dgm:pt>
    <dgm:pt modelId="{E4CBAF81-0DFC-426F-B2C2-6B38F1CBEAC4}">
      <dgm:prSet/>
      <dgm:spPr/>
      <dgm:t>
        <a:bodyPr/>
        <a:lstStyle/>
        <a:p>
          <a:r>
            <a:rPr lang="fr-FR" baseline="0"/>
            <a:t>Compression</a:t>
          </a:r>
          <a:endParaRPr lang="en-US"/>
        </a:p>
      </dgm:t>
    </dgm:pt>
    <dgm:pt modelId="{0E4DDFAA-7FCE-46BD-B1E8-D5EA9D527F2C}" type="parTrans" cxnId="{4A951FDB-B723-48D0-8F18-83E6574B24E5}">
      <dgm:prSet/>
      <dgm:spPr/>
    </dgm:pt>
    <dgm:pt modelId="{F5F457B5-95C8-4D96-B650-88D021CF23ED}" type="sibTrans" cxnId="{4A951FDB-B723-48D0-8F18-83E6574B24E5}">
      <dgm:prSet/>
      <dgm:spPr/>
    </dgm:pt>
    <dgm:pt modelId="{8E0CF65D-456B-4CFC-887E-7358E5012707}" type="pres">
      <dgm:prSet presAssocID="{8173ED18-E06D-4532-95C1-781F8EAC5FBB}" presName="Name0" presStyleCnt="0">
        <dgm:presLayoutVars>
          <dgm:dir/>
          <dgm:animLvl val="lvl"/>
          <dgm:resizeHandles val="exact"/>
        </dgm:presLayoutVars>
      </dgm:prSet>
      <dgm:spPr/>
    </dgm:pt>
    <dgm:pt modelId="{35112D38-4976-4FC4-AF0E-29FDA9C8940E}" type="pres">
      <dgm:prSet presAssocID="{05BCC960-8363-4A78-8605-8BA0C3C598DF}" presName="composite" presStyleCnt="0"/>
      <dgm:spPr/>
    </dgm:pt>
    <dgm:pt modelId="{2021DD05-083C-4687-9B05-1EC2CC5AB7FC}" type="pres">
      <dgm:prSet presAssocID="{05BCC960-8363-4A78-8605-8BA0C3C598DF}" presName="parTx" presStyleLbl="alignNode1" presStyleIdx="0" presStyleCnt="2">
        <dgm:presLayoutVars>
          <dgm:chMax val="0"/>
          <dgm:chPref val="0"/>
          <dgm:bulletEnabled val="1"/>
        </dgm:presLayoutVars>
      </dgm:prSet>
      <dgm:spPr/>
    </dgm:pt>
    <dgm:pt modelId="{2722B330-7598-4AA9-AE8D-E8374B445546}" type="pres">
      <dgm:prSet presAssocID="{05BCC960-8363-4A78-8605-8BA0C3C598DF}" presName="desTx" presStyleLbl="alignAccFollowNode1" presStyleIdx="0" presStyleCnt="2">
        <dgm:presLayoutVars>
          <dgm:bulletEnabled val="1"/>
        </dgm:presLayoutVars>
      </dgm:prSet>
      <dgm:spPr/>
    </dgm:pt>
    <dgm:pt modelId="{8DC8ECE3-F3B7-4E71-A835-934841115FBE}" type="pres">
      <dgm:prSet presAssocID="{87FA60E4-E636-44AA-8601-650472D2D91B}" presName="space" presStyleCnt="0"/>
      <dgm:spPr/>
    </dgm:pt>
    <dgm:pt modelId="{C3A8F030-5CEB-49C5-B147-8806E3A45F1B}" type="pres">
      <dgm:prSet presAssocID="{CCF81559-1EA3-4840-969E-C120446C21EF}" presName="composite" presStyleCnt="0"/>
      <dgm:spPr/>
    </dgm:pt>
    <dgm:pt modelId="{5BA24992-C5F4-4C61-8C52-21B82AC4EE72}" type="pres">
      <dgm:prSet presAssocID="{CCF81559-1EA3-4840-969E-C120446C21EF}" presName="parTx" presStyleLbl="alignNode1" presStyleIdx="1" presStyleCnt="2">
        <dgm:presLayoutVars>
          <dgm:chMax val="0"/>
          <dgm:chPref val="0"/>
          <dgm:bulletEnabled val="1"/>
        </dgm:presLayoutVars>
      </dgm:prSet>
      <dgm:spPr/>
    </dgm:pt>
    <dgm:pt modelId="{6BF49467-4455-4E54-AED5-FFC549A9B0A7}" type="pres">
      <dgm:prSet presAssocID="{CCF81559-1EA3-4840-969E-C120446C21EF}" presName="desTx" presStyleLbl="alignAccFollowNode1" presStyleIdx="1" presStyleCnt="2">
        <dgm:presLayoutVars>
          <dgm:bulletEnabled val="1"/>
        </dgm:presLayoutVars>
      </dgm:prSet>
      <dgm:spPr/>
    </dgm:pt>
  </dgm:ptLst>
  <dgm:cxnLst>
    <dgm:cxn modelId="{E24C640F-53F0-4ACD-880E-FC12E99B10A6}" type="presOf" srcId="{E4CBAF81-0DFC-426F-B2C2-6B38F1CBEAC4}" destId="{6BF49467-4455-4E54-AED5-FFC549A9B0A7}" srcOrd="0" destOrd="5" presId="urn:microsoft.com/office/officeart/2005/8/layout/hList1"/>
    <dgm:cxn modelId="{9DA8DA1F-61BA-40BC-B68A-B26D3110191A}" srcId="{8173ED18-E06D-4532-95C1-781F8EAC5FBB}" destId="{05BCC960-8363-4A78-8605-8BA0C3C598DF}" srcOrd="0" destOrd="0" parTransId="{3C3BDD7F-FFE1-464C-8063-409F4EAE1641}" sibTransId="{87FA60E4-E636-44AA-8601-650472D2D91B}"/>
    <dgm:cxn modelId="{65634A26-C563-41BF-B3A0-F95BED7CEE71}" type="presOf" srcId="{8173ED18-E06D-4532-95C1-781F8EAC5FBB}" destId="{8E0CF65D-456B-4CFC-887E-7358E5012707}" srcOrd="0" destOrd="0" presId="urn:microsoft.com/office/officeart/2005/8/layout/hList1"/>
    <dgm:cxn modelId="{1184F330-499E-4708-8758-BA3B9D51C17B}" type="presOf" srcId="{CCF81559-1EA3-4840-969E-C120446C21EF}" destId="{5BA24992-C5F4-4C61-8C52-21B82AC4EE72}" srcOrd="0" destOrd="0" presId="urn:microsoft.com/office/officeart/2005/8/layout/hList1"/>
    <dgm:cxn modelId="{AAB7D335-9F68-48C6-BCB7-547729245CA1}" srcId="{9092515B-BA57-4479-BA10-4788C0899D20}" destId="{6DF313A4-F719-473D-9FFA-E4DA6C590603}" srcOrd="1" destOrd="0" parTransId="{5E2D54B2-90C9-4719-8ADC-574777F671AC}" sibTransId="{C880FE72-D782-4738-A3CD-984D32723035}"/>
    <dgm:cxn modelId="{469FBA40-C6DA-4519-B9E8-719AB24CD74C}" type="presOf" srcId="{F537D740-B98A-422D-A8A3-C355F7DD3F04}" destId="{6BF49467-4455-4E54-AED5-FFC549A9B0A7}" srcOrd="0" destOrd="0" presId="urn:microsoft.com/office/officeart/2005/8/layout/hList1"/>
    <dgm:cxn modelId="{F9CD3D5D-D2E9-4A28-BA90-993B3D8CA6D8}" srcId="{025B7C7D-87F2-40B5-967C-EDFCDE631805}" destId="{E6EBD06C-F650-48B3-9AF2-923A36FDDA0E}" srcOrd="1" destOrd="0" parTransId="{FDA04D3C-55B9-468E-BEF2-9A8EE0CEEEDF}" sibTransId="{6140DB61-FE85-49BE-89DB-57AFB47661CC}"/>
    <dgm:cxn modelId="{51D3DF64-33AD-4258-BAA8-BC1CD6518F4B}" srcId="{CCF81559-1EA3-4840-969E-C120446C21EF}" destId="{F36A87FA-22C2-4391-8E14-C8D957DB8DCC}" srcOrd="1" destOrd="0" parTransId="{2EBB5A7E-D890-49F3-A205-CC24648EAB26}" sibTransId="{690B6100-C9A4-4AA3-AD8F-9300C16E95D7}"/>
    <dgm:cxn modelId="{CBC88E66-C3CB-44F7-BF81-CCD13604C2AD}" srcId="{CCF81559-1EA3-4840-969E-C120446C21EF}" destId="{025B7C7D-87F2-40B5-967C-EDFCDE631805}" srcOrd="2" destOrd="0" parTransId="{A98AFECD-CBDD-4AFA-9C1C-279865977915}" sibTransId="{F7366BFE-B68C-4AE0-960A-5F010E42043F}"/>
    <dgm:cxn modelId="{53424C69-FFC9-4F74-83E6-52A4A3B8EC3E}" type="presOf" srcId="{05BCC960-8363-4A78-8605-8BA0C3C598DF}" destId="{2021DD05-083C-4687-9B05-1EC2CC5AB7FC}" srcOrd="0" destOrd="0" presId="urn:microsoft.com/office/officeart/2005/8/layout/hList1"/>
    <dgm:cxn modelId="{CE02544B-08C1-44C8-A13D-CCAAC0557986}" type="presOf" srcId="{B1AE173E-B561-405F-814D-FCC66647F050}" destId="{6BF49467-4455-4E54-AED5-FFC549A9B0A7}" srcOrd="0" destOrd="3" presId="urn:microsoft.com/office/officeart/2005/8/layout/hList1"/>
    <dgm:cxn modelId="{E9BF5971-3DB0-479E-AC72-5AAE73030B8E}" srcId="{05BCC960-8363-4A78-8605-8BA0C3C598DF}" destId="{47A8B0BA-2C7D-48E6-8A6F-FADC747C6106}" srcOrd="0" destOrd="0" parTransId="{D705954E-FC49-40B5-A8E4-886D979B9FA6}" sibTransId="{6E6B4150-B688-4A41-9725-0A757DF4E639}"/>
    <dgm:cxn modelId="{C46CEE55-37B1-4F0F-A0CA-4BA9F1750183}" type="presOf" srcId="{025B7C7D-87F2-40B5-967C-EDFCDE631805}" destId="{6BF49467-4455-4E54-AED5-FFC549A9B0A7}" srcOrd="0" destOrd="2" presId="urn:microsoft.com/office/officeart/2005/8/layout/hList1"/>
    <dgm:cxn modelId="{ACB67577-64C3-4608-9745-D51A3865BBF2}" type="presOf" srcId="{6DF313A4-F719-473D-9FFA-E4DA6C590603}" destId="{2722B330-7598-4AA9-AE8D-E8374B445546}" srcOrd="0" destOrd="3" presId="urn:microsoft.com/office/officeart/2005/8/layout/hList1"/>
    <dgm:cxn modelId="{0EEBCD7A-C4A4-40E5-9013-954836A085B6}" type="presOf" srcId="{E6693EE7-49BC-4E73-8097-1C3BBAB49451}" destId="{2722B330-7598-4AA9-AE8D-E8374B445546}" srcOrd="0" destOrd="2" presId="urn:microsoft.com/office/officeart/2005/8/layout/hList1"/>
    <dgm:cxn modelId="{B29BD684-805B-4FA5-877A-DDF4940651D9}" srcId="{05BCC960-8363-4A78-8605-8BA0C3C598DF}" destId="{9092515B-BA57-4479-BA10-4788C0899D20}" srcOrd="1" destOrd="0" parTransId="{081F7848-F4BB-46E4-9C72-6BF85109F322}" sibTransId="{429D0241-EB68-4DA5-836E-8A303CA791F0}"/>
    <dgm:cxn modelId="{FFE2B78B-AD43-4C08-849D-09CEE5C45B50}" srcId="{8173ED18-E06D-4532-95C1-781F8EAC5FBB}" destId="{CCF81559-1EA3-4840-969E-C120446C21EF}" srcOrd="1" destOrd="0" parTransId="{3CE4A6D7-E32A-4D40-9E33-C8E6C7E6707F}" sibTransId="{5799FEAF-2547-44D6-8131-081701840A19}"/>
    <dgm:cxn modelId="{28B90CA8-EFAE-4A85-A724-DBC3B98FB937}" srcId="{9092515B-BA57-4479-BA10-4788C0899D20}" destId="{E6693EE7-49BC-4E73-8097-1C3BBAB49451}" srcOrd="0" destOrd="0" parTransId="{67D0C980-4FEA-4B14-8A93-D23D6334D2A0}" sibTransId="{8565DE45-64D4-4AB3-B114-7CDB6577A790}"/>
    <dgm:cxn modelId="{079A5ABE-4BBA-47FF-925F-C11A31141846}" type="presOf" srcId="{E6EBD06C-F650-48B3-9AF2-923A36FDDA0E}" destId="{6BF49467-4455-4E54-AED5-FFC549A9B0A7}" srcOrd="0" destOrd="4" presId="urn:microsoft.com/office/officeart/2005/8/layout/hList1"/>
    <dgm:cxn modelId="{771F29DA-D744-455E-9F3B-B9C6EC42BD4F}" srcId="{CCF81559-1EA3-4840-969E-C120446C21EF}" destId="{F537D740-B98A-422D-A8A3-C355F7DD3F04}" srcOrd="0" destOrd="0" parTransId="{BC74403A-22FB-4A7F-BC26-64A9A284DE0B}" sibTransId="{67C5858D-5951-43F1-8EFE-2EDC02D4306C}"/>
    <dgm:cxn modelId="{4A951FDB-B723-48D0-8F18-83E6574B24E5}" srcId="{025B7C7D-87F2-40B5-967C-EDFCDE631805}" destId="{E4CBAF81-0DFC-426F-B2C2-6B38F1CBEAC4}" srcOrd="2" destOrd="0" parTransId="{0E4DDFAA-7FCE-46BD-B1E8-D5EA9D527F2C}" sibTransId="{F5F457B5-95C8-4D96-B650-88D021CF23ED}"/>
    <dgm:cxn modelId="{CE029ADF-05F0-49BC-B018-F3E7F41377E0}" srcId="{025B7C7D-87F2-40B5-967C-EDFCDE631805}" destId="{B1AE173E-B561-405F-814D-FCC66647F050}" srcOrd="0" destOrd="0" parTransId="{6AEE3378-B44C-458A-80ED-F007C3F45561}" sibTransId="{903A1551-8073-4E80-AB31-076558428041}"/>
    <dgm:cxn modelId="{EAF6C1F5-693A-466C-803E-A0B6B108A9FE}" type="presOf" srcId="{47A8B0BA-2C7D-48E6-8A6F-FADC747C6106}" destId="{2722B330-7598-4AA9-AE8D-E8374B445546}" srcOrd="0" destOrd="0" presId="urn:microsoft.com/office/officeart/2005/8/layout/hList1"/>
    <dgm:cxn modelId="{EDA552F8-FFF1-4827-ADFF-E396D9DC6059}" type="presOf" srcId="{F36A87FA-22C2-4391-8E14-C8D957DB8DCC}" destId="{6BF49467-4455-4E54-AED5-FFC549A9B0A7}" srcOrd="0" destOrd="1" presId="urn:microsoft.com/office/officeart/2005/8/layout/hList1"/>
    <dgm:cxn modelId="{0DA2BAFC-392C-43CF-B622-86B24F33935F}" type="presOf" srcId="{9092515B-BA57-4479-BA10-4788C0899D20}" destId="{2722B330-7598-4AA9-AE8D-E8374B445546}" srcOrd="0" destOrd="1" presId="urn:microsoft.com/office/officeart/2005/8/layout/hList1"/>
    <dgm:cxn modelId="{50F6D224-E66A-4173-BB75-7856D628177E}" type="presParOf" srcId="{8E0CF65D-456B-4CFC-887E-7358E5012707}" destId="{35112D38-4976-4FC4-AF0E-29FDA9C8940E}" srcOrd="0" destOrd="0" presId="urn:microsoft.com/office/officeart/2005/8/layout/hList1"/>
    <dgm:cxn modelId="{26904D9A-CC26-4098-BE29-AB70461EEA8E}" type="presParOf" srcId="{35112D38-4976-4FC4-AF0E-29FDA9C8940E}" destId="{2021DD05-083C-4687-9B05-1EC2CC5AB7FC}" srcOrd="0" destOrd="0" presId="urn:microsoft.com/office/officeart/2005/8/layout/hList1"/>
    <dgm:cxn modelId="{BEA020B8-97D5-4369-AC8E-ABCC4255141A}" type="presParOf" srcId="{35112D38-4976-4FC4-AF0E-29FDA9C8940E}" destId="{2722B330-7598-4AA9-AE8D-E8374B445546}" srcOrd="1" destOrd="0" presId="urn:microsoft.com/office/officeart/2005/8/layout/hList1"/>
    <dgm:cxn modelId="{FD93B180-E3B0-4241-89C3-70FDBA531F39}" type="presParOf" srcId="{8E0CF65D-456B-4CFC-887E-7358E5012707}" destId="{8DC8ECE3-F3B7-4E71-A835-934841115FBE}" srcOrd="1" destOrd="0" presId="urn:microsoft.com/office/officeart/2005/8/layout/hList1"/>
    <dgm:cxn modelId="{E5623029-9ED1-413D-8A2D-3B3FEA6122C3}" type="presParOf" srcId="{8E0CF65D-456B-4CFC-887E-7358E5012707}" destId="{C3A8F030-5CEB-49C5-B147-8806E3A45F1B}" srcOrd="2" destOrd="0" presId="urn:microsoft.com/office/officeart/2005/8/layout/hList1"/>
    <dgm:cxn modelId="{3B1541FA-615B-496F-BEC3-C267E9F07847}" type="presParOf" srcId="{C3A8F030-5CEB-49C5-B147-8806E3A45F1B}" destId="{5BA24992-C5F4-4C61-8C52-21B82AC4EE72}" srcOrd="0" destOrd="0" presId="urn:microsoft.com/office/officeart/2005/8/layout/hList1"/>
    <dgm:cxn modelId="{9FEEDC6E-4435-4671-A595-4F4F98F5388A}" type="presParOf" srcId="{C3A8F030-5CEB-49C5-B147-8806E3A45F1B}" destId="{6BF49467-4455-4E54-AED5-FFC549A9B0A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AC46BF28-4C64-455C-918B-470E52FAD1C3}"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E3378679-3815-4E9C-94AC-CB2EC1E95684}">
      <dgm:prSet/>
      <dgm:spPr/>
      <dgm:t>
        <a:bodyPr/>
        <a:lstStyle/>
        <a:p>
          <a:r>
            <a:rPr lang="en-US" baseline="0"/>
            <a:t>Partition Function</a:t>
          </a:r>
          <a:endParaRPr lang="en-US"/>
        </a:p>
      </dgm:t>
    </dgm:pt>
    <dgm:pt modelId="{CAA39A9A-4FDF-41C6-9D97-C6F38A34821B}" type="parTrans" cxnId="{B1088CEF-B134-4CFD-AB18-6E21E3536747}">
      <dgm:prSet/>
      <dgm:spPr/>
      <dgm:t>
        <a:bodyPr/>
        <a:lstStyle/>
        <a:p>
          <a:endParaRPr lang="en-US"/>
        </a:p>
      </dgm:t>
    </dgm:pt>
    <dgm:pt modelId="{C0BB9A57-56E5-4B47-B94D-7AE13ADBAA08}" type="sibTrans" cxnId="{B1088CEF-B134-4CFD-AB18-6E21E3536747}">
      <dgm:prSet/>
      <dgm:spPr/>
      <dgm:t>
        <a:bodyPr/>
        <a:lstStyle/>
        <a:p>
          <a:endParaRPr lang="en-US"/>
        </a:p>
      </dgm:t>
    </dgm:pt>
    <dgm:pt modelId="{65A114A8-305D-4122-9209-DB593DC46245}">
      <dgm:prSet/>
      <dgm:spPr/>
      <dgm:t>
        <a:bodyPr/>
        <a:lstStyle/>
        <a:p>
          <a:r>
            <a:rPr lang="en-US" baseline="0"/>
            <a:t>Defines how the table is logically partitioned.</a:t>
          </a:r>
          <a:endParaRPr lang="en-US"/>
        </a:p>
      </dgm:t>
    </dgm:pt>
    <dgm:pt modelId="{28670BA9-5576-484B-A3E5-21BF1EFB0ADD}" type="parTrans" cxnId="{5AD4982F-984C-4FF3-BF7E-CBD579F0F94A}">
      <dgm:prSet/>
      <dgm:spPr/>
      <dgm:t>
        <a:bodyPr/>
        <a:lstStyle/>
        <a:p>
          <a:endParaRPr lang="en-US"/>
        </a:p>
      </dgm:t>
    </dgm:pt>
    <dgm:pt modelId="{7652AA4E-0C86-43D0-A9D6-7A132135A228}" type="sibTrans" cxnId="{5AD4982F-984C-4FF3-BF7E-CBD579F0F94A}">
      <dgm:prSet/>
      <dgm:spPr/>
      <dgm:t>
        <a:bodyPr/>
        <a:lstStyle/>
        <a:p>
          <a:endParaRPr lang="en-US"/>
        </a:p>
      </dgm:t>
    </dgm:pt>
    <dgm:pt modelId="{43EE5E74-391B-43F1-9A75-1D3CD7F4EFEB}">
      <dgm:prSet/>
      <dgm:spPr/>
      <dgm:t>
        <a:bodyPr/>
        <a:lstStyle/>
        <a:p>
          <a:r>
            <a:rPr lang="en-US" baseline="0"/>
            <a:t>Defines data type of partition key, and ranges of each partition.</a:t>
          </a:r>
          <a:endParaRPr lang="en-US"/>
        </a:p>
      </dgm:t>
    </dgm:pt>
    <dgm:pt modelId="{E060859C-6EB6-4877-8A22-B6C22297438D}" type="parTrans" cxnId="{D4811322-CC09-42EB-9ED3-2A025D7C919E}">
      <dgm:prSet/>
      <dgm:spPr/>
      <dgm:t>
        <a:bodyPr/>
        <a:lstStyle/>
        <a:p>
          <a:endParaRPr lang="en-US"/>
        </a:p>
      </dgm:t>
    </dgm:pt>
    <dgm:pt modelId="{0DC4C70F-5B8E-4EC1-8660-24203872E157}" type="sibTrans" cxnId="{D4811322-CC09-42EB-9ED3-2A025D7C919E}">
      <dgm:prSet/>
      <dgm:spPr/>
      <dgm:t>
        <a:bodyPr/>
        <a:lstStyle/>
        <a:p>
          <a:endParaRPr lang="en-US"/>
        </a:p>
      </dgm:t>
    </dgm:pt>
    <dgm:pt modelId="{4C151D74-AD8C-47B5-B68C-76D2336E3BF7}">
      <dgm:prSet/>
      <dgm:spPr/>
      <dgm:t>
        <a:bodyPr/>
        <a:lstStyle/>
        <a:p>
          <a:r>
            <a:rPr lang="en-US" baseline="0"/>
            <a:t>Ranges can be modified as needed.</a:t>
          </a:r>
          <a:endParaRPr lang="en-US"/>
        </a:p>
      </dgm:t>
    </dgm:pt>
    <dgm:pt modelId="{5D1ACDB7-2C3E-4A92-A0C8-C6BB7E334A0A}" type="parTrans" cxnId="{38366107-4822-4097-A3A7-5C8C051E3988}">
      <dgm:prSet/>
      <dgm:spPr/>
      <dgm:t>
        <a:bodyPr/>
        <a:lstStyle/>
        <a:p>
          <a:endParaRPr lang="en-US"/>
        </a:p>
      </dgm:t>
    </dgm:pt>
    <dgm:pt modelId="{87860905-D191-4791-980E-860BCF65C6C7}" type="sibTrans" cxnId="{38366107-4822-4097-A3A7-5C8C051E3988}">
      <dgm:prSet/>
      <dgm:spPr/>
      <dgm:t>
        <a:bodyPr/>
        <a:lstStyle/>
        <a:p>
          <a:endParaRPr lang="en-US"/>
        </a:p>
      </dgm:t>
    </dgm:pt>
    <dgm:pt modelId="{6AA650A5-9A6E-4D69-8561-4BBA4C612774}">
      <dgm:prSet/>
      <dgm:spPr/>
      <dgm:t>
        <a:bodyPr/>
        <a:lstStyle/>
        <a:p>
          <a:r>
            <a:rPr lang="en-US" baseline="0"/>
            <a:t>Partition Schemes</a:t>
          </a:r>
          <a:endParaRPr lang="en-US"/>
        </a:p>
      </dgm:t>
    </dgm:pt>
    <dgm:pt modelId="{2BEC7F7B-C8A9-4D6F-BDAC-B0928DAFA8A9}" type="parTrans" cxnId="{7520AD85-C103-4670-9780-42BED5B3E9E9}">
      <dgm:prSet/>
      <dgm:spPr/>
      <dgm:t>
        <a:bodyPr/>
        <a:lstStyle/>
        <a:p>
          <a:endParaRPr lang="en-US"/>
        </a:p>
      </dgm:t>
    </dgm:pt>
    <dgm:pt modelId="{579B38C6-B046-4F22-987B-4C0141BE0E10}" type="sibTrans" cxnId="{7520AD85-C103-4670-9780-42BED5B3E9E9}">
      <dgm:prSet/>
      <dgm:spPr/>
      <dgm:t>
        <a:bodyPr/>
        <a:lstStyle/>
        <a:p>
          <a:endParaRPr lang="en-US"/>
        </a:p>
      </dgm:t>
    </dgm:pt>
    <dgm:pt modelId="{E19C6581-0E36-4B5B-BAF8-4246A6B4A067}">
      <dgm:prSet/>
      <dgm:spPr/>
      <dgm:t>
        <a:bodyPr/>
        <a:lstStyle/>
        <a:p>
          <a:r>
            <a:rPr lang="en-US" baseline="0"/>
            <a:t>Specify mapping from partitioned table to Filegroup(s).</a:t>
          </a:r>
          <a:endParaRPr lang="en-US"/>
        </a:p>
      </dgm:t>
    </dgm:pt>
    <dgm:pt modelId="{2210E474-2132-425C-B3B5-AA127B984ED7}" type="parTrans" cxnId="{DFC73914-08B2-4C8C-B8D3-05EE982E4E55}">
      <dgm:prSet/>
      <dgm:spPr/>
      <dgm:t>
        <a:bodyPr/>
        <a:lstStyle/>
        <a:p>
          <a:endParaRPr lang="en-US"/>
        </a:p>
      </dgm:t>
    </dgm:pt>
    <dgm:pt modelId="{B2CCEE5D-CE7E-4E9D-989A-FF82555D4473}" type="sibTrans" cxnId="{DFC73914-08B2-4C8C-B8D3-05EE982E4E55}">
      <dgm:prSet/>
      <dgm:spPr/>
      <dgm:t>
        <a:bodyPr/>
        <a:lstStyle/>
        <a:p>
          <a:endParaRPr lang="en-US"/>
        </a:p>
      </dgm:t>
    </dgm:pt>
    <dgm:pt modelId="{CA03ED3B-B177-4509-9F8C-43C3C9F61C54}">
      <dgm:prSet/>
      <dgm:spPr/>
      <dgm:t>
        <a:bodyPr/>
        <a:lstStyle/>
        <a:p>
          <a:r>
            <a:rPr lang="en-US" baseline="0" dirty="0"/>
            <a:t>Uses </a:t>
          </a:r>
          <a:r>
            <a:rPr lang="en-US" i="1" baseline="0" dirty="0"/>
            <a:t>Partition Function </a:t>
          </a:r>
          <a:r>
            <a:rPr lang="en-US" baseline="0" dirty="0"/>
            <a:t>to perform mapping.</a:t>
          </a:r>
          <a:endParaRPr lang="en-US" dirty="0"/>
        </a:p>
      </dgm:t>
    </dgm:pt>
    <dgm:pt modelId="{E415138D-444B-47EE-95B7-A5A7149B0D49}" type="parTrans" cxnId="{714B5308-F97F-4FD4-B56D-1313B9E8C3D8}">
      <dgm:prSet/>
      <dgm:spPr/>
      <dgm:t>
        <a:bodyPr/>
        <a:lstStyle/>
        <a:p>
          <a:endParaRPr lang="en-US"/>
        </a:p>
      </dgm:t>
    </dgm:pt>
    <dgm:pt modelId="{B73C92F2-9B8F-4FB9-9064-928249FC4D30}" type="sibTrans" cxnId="{714B5308-F97F-4FD4-B56D-1313B9E8C3D8}">
      <dgm:prSet/>
      <dgm:spPr/>
      <dgm:t>
        <a:bodyPr/>
        <a:lstStyle/>
        <a:p>
          <a:endParaRPr lang="en-US"/>
        </a:p>
      </dgm:t>
    </dgm:pt>
    <dgm:pt modelId="{B5DE7917-7C40-4AC8-93F0-AD717CB3D699}">
      <dgm:prSet/>
      <dgm:spPr/>
      <dgm:t>
        <a:bodyPr/>
        <a:lstStyle/>
        <a:p>
          <a:r>
            <a:rPr lang="en-US" baseline="0"/>
            <a:t>Partition Table &amp; index</a:t>
          </a:r>
          <a:endParaRPr lang="en-US"/>
        </a:p>
      </dgm:t>
    </dgm:pt>
    <dgm:pt modelId="{C63DE4CA-6C3C-4DE2-B41F-20442B771A13}" type="parTrans" cxnId="{68A3C814-85F7-4C6F-B907-726F24D5A414}">
      <dgm:prSet/>
      <dgm:spPr/>
      <dgm:t>
        <a:bodyPr/>
        <a:lstStyle/>
        <a:p>
          <a:endParaRPr lang="en-US"/>
        </a:p>
      </dgm:t>
    </dgm:pt>
    <dgm:pt modelId="{0C51B4AD-1F9C-4124-8899-2F0BCD838737}" type="sibTrans" cxnId="{68A3C814-85F7-4C6F-B907-726F24D5A414}">
      <dgm:prSet/>
      <dgm:spPr/>
      <dgm:t>
        <a:bodyPr/>
        <a:lstStyle/>
        <a:p>
          <a:endParaRPr lang="en-US"/>
        </a:p>
      </dgm:t>
    </dgm:pt>
    <dgm:pt modelId="{2B4DDB3F-E304-4C3C-9229-16EAC0B7A766}">
      <dgm:prSet/>
      <dgm:spPr/>
      <dgm:t>
        <a:bodyPr/>
        <a:lstStyle/>
        <a:p>
          <a:r>
            <a:rPr lang="en-US"/>
            <a:t>Partitioned Tables are defined using </a:t>
          </a:r>
          <a:r>
            <a:rPr lang="en-US" i="1"/>
            <a:t>Partition Schemes</a:t>
          </a:r>
          <a:r>
            <a:rPr lang="en-US" i="0"/>
            <a:t>.</a:t>
          </a:r>
        </a:p>
      </dgm:t>
    </dgm:pt>
    <dgm:pt modelId="{14DD2C41-4D00-45E5-A213-FE54775F41AF}" type="parTrans" cxnId="{E230C87F-F7E5-49E7-A88A-34176311B2A3}">
      <dgm:prSet/>
      <dgm:spPr/>
      <dgm:t>
        <a:bodyPr/>
        <a:lstStyle/>
        <a:p>
          <a:endParaRPr lang="en-US"/>
        </a:p>
      </dgm:t>
    </dgm:pt>
    <dgm:pt modelId="{6522AAC0-C4B1-4B30-A12A-99EAC3842695}" type="sibTrans" cxnId="{E230C87F-F7E5-49E7-A88A-34176311B2A3}">
      <dgm:prSet/>
      <dgm:spPr/>
      <dgm:t>
        <a:bodyPr/>
        <a:lstStyle/>
        <a:p>
          <a:endParaRPr lang="en-US"/>
        </a:p>
      </dgm:t>
    </dgm:pt>
    <dgm:pt modelId="{F067D397-0C19-4D77-902F-553A01DCB681}">
      <dgm:prSet/>
      <dgm:spPr/>
      <dgm:t>
        <a:bodyPr/>
        <a:lstStyle/>
        <a:p>
          <a:r>
            <a:rPr lang="en-US"/>
            <a:t>Several tables may share common Partition Functions and Partition Schemes.</a:t>
          </a:r>
        </a:p>
      </dgm:t>
    </dgm:pt>
    <dgm:pt modelId="{66CA2A4D-A9D4-46BE-99ED-8DFE80DDA492}" type="parTrans" cxnId="{E9CDA81A-689B-4045-92C4-174E99E45250}">
      <dgm:prSet/>
      <dgm:spPr/>
      <dgm:t>
        <a:bodyPr/>
        <a:lstStyle/>
        <a:p>
          <a:endParaRPr lang="en-US"/>
        </a:p>
      </dgm:t>
    </dgm:pt>
    <dgm:pt modelId="{47B286DD-65FA-499F-96E3-B0ED96B9ED80}" type="sibTrans" cxnId="{E9CDA81A-689B-4045-92C4-174E99E45250}">
      <dgm:prSet/>
      <dgm:spPr/>
      <dgm:t>
        <a:bodyPr/>
        <a:lstStyle/>
        <a:p>
          <a:endParaRPr lang="en-US"/>
        </a:p>
      </dgm:t>
    </dgm:pt>
    <dgm:pt modelId="{AF15B7AA-08C1-47EE-AB27-0B44C4D44BB8}">
      <dgm:prSet/>
      <dgm:spPr/>
      <dgm:t>
        <a:bodyPr/>
        <a:lstStyle/>
        <a:p>
          <a:r>
            <a:rPr lang="en-US" baseline="0"/>
            <a:t>Loading data into the table or index creation, will move data to correct partition automatically.</a:t>
          </a:r>
          <a:endParaRPr lang="en-US"/>
        </a:p>
      </dgm:t>
    </dgm:pt>
    <dgm:pt modelId="{5CF2A153-3DE0-4252-BDFC-82D230A6BA3F}" type="parTrans" cxnId="{2EE149C3-F299-4EF2-879C-670B6FD03901}">
      <dgm:prSet/>
      <dgm:spPr/>
      <dgm:t>
        <a:bodyPr/>
        <a:lstStyle/>
        <a:p>
          <a:endParaRPr lang="en-US"/>
        </a:p>
      </dgm:t>
    </dgm:pt>
    <dgm:pt modelId="{66D70A71-DB9B-484A-8288-9121A37E10EB}" type="sibTrans" cxnId="{2EE149C3-F299-4EF2-879C-670B6FD03901}">
      <dgm:prSet/>
      <dgm:spPr/>
      <dgm:t>
        <a:bodyPr/>
        <a:lstStyle/>
        <a:p>
          <a:endParaRPr lang="en-US"/>
        </a:p>
      </dgm:t>
    </dgm:pt>
    <dgm:pt modelId="{39B9FEC8-BF04-473A-8FAA-2F1622F6DFAD}">
      <dgm:prSet/>
      <dgm:spPr/>
      <dgm:t>
        <a:bodyPr/>
        <a:lstStyle/>
        <a:p>
          <a:r>
            <a:rPr lang="en-US"/>
            <a:t>Partition Column (key)</a:t>
          </a:r>
        </a:p>
      </dgm:t>
    </dgm:pt>
    <dgm:pt modelId="{91C70CF0-3AC4-4094-8259-346C9FE3476B}" type="parTrans" cxnId="{F0F780C8-3DF6-47E7-A002-B4788222B28C}">
      <dgm:prSet/>
      <dgm:spPr/>
      <dgm:t>
        <a:bodyPr/>
        <a:lstStyle/>
        <a:p>
          <a:endParaRPr lang="en-US"/>
        </a:p>
      </dgm:t>
    </dgm:pt>
    <dgm:pt modelId="{3AC0EA38-D95B-4C66-88FB-CC8F10FE7450}" type="sibTrans" cxnId="{F0F780C8-3DF6-47E7-A002-B4788222B28C}">
      <dgm:prSet/>
      <dgm:spPr/>
      <dgm:t>
        <a:bodyPr/>
        <a:lstStyle/>
        <a:p>
          <a:endParaRPr lang="en-US"/>
        </a:p>
      </dgm:t>
    </dgm:pt>
    <dgm:pt modelId="{39BDA1A6-1943-4BB2-95E8-F547E5D0ED85}">
      <dgm:prSet/>
      <dgm:spPr/>
      <dgm:t>
        <a:bodyPr/>
        <a:lstStyle/>
        <a:p>
          <a:r>
            <a:rPr lang="en-US"/>
            <a:t>Column used to apply partition function.</a:t>
          </a:r>
        </a:p>
      </dgm:t>
    </dgm:pt>
    <dgm:pt modelId="{9A101A32-2C1E-43FB-A45E-FBC5B4B01098}" type="parTrans" cxnId="{C6CAED51-7795-4213-AAC0-3F1D75D4151C}">
      <dgm:prSet/>
      <dgm:spPr/>
      <dgm:t>
        <a:bodyPr/>
        <a:lstStyle/>
        <a:p>
          <a:endParaRPr lang="en-US"/>
        </a:p>
      </dgm:t>
    </dgm:pt>
    <dgm:pt modelId="{BD0A6942-0320-4138-B05D-F3421AC2050E}" type="sibTrans" cxnId="{C6CAED51-7795-4213-AAC0-3F1D75D4151C}">
      <dgm:prSet/>
      <dgm:spPr/>
      <dgm:t>
        <a:bodyPr/>
        <a:lstStyle/>
        <a:p>
          <a:endParaRPr lang="en-US"/>
        </a:p>
      </dgm:t>
    </dgm:pt>
    <dgm:pt modelId="{1D624C4E-3A09-42E6-B300-2439D4C08996}">
      <dgm:prSet/>
      <dgm:spPr/>
      <dgm:t>
        <a:bodyPr/>
        <a:lstStyle/>
        <a:p>
          <a:r>
            <a:rPr lang="en-US"/>
            <a:t>If using a computed column, it must be explicitly marked as </a:t>
          </a:r>
          <a:r>
            <a:rPr lang="en-US" b="0"/>
            <a:t>PERSISTED.</a:t>
          </a:r>
        </a:p>
      </dgm:t>
    </dgm:pt>
    <dgm:pt modelId="{8629E9FE-3070-4C2F-92A3-317A081527D6}" type="parTrans" cxnId="{64B65F5D-DF41-4FA3-AB71-8F336759DE7E}">
      <dgm:prSet/>
      <dgm:spPr/>
    </dgm:pt>
    <dgm:pt modelId="{6F753434-8C46-4606-9A1F-FD7E95059577}" type="sibTrans" cxnId="{64B65F5D-DF41-4FA3-AB71-8F336759DE7E}">
      <dgm:prSet/>
      <dgm:spPr/>
    </dgm:pt>
    <dgm:pt modelId="{BEECB182-C75B-4975-BD6A-7CA7588FF701}">
      <dgm:prSet/>
      <dgm:spPr/>
      <dgm:t>
        <a:bodyPr/>
        <a:lstStyle/>
        <a:p>
          <a:r>
            <a:rPr lang="en-US" baseline="0"/>
            <a:t>Different filegroups can provide increased performance, but is not required.</a:t>
          </a:r>
          <a:endParaRPr lang="en-US"/>
        </a:p>
      </dgm:t>
    </dgm:pt>
    <dgm:pt modelId="{A30D59A7-964C-4165-9521-60E1EB6F68BE}" type="parTrans" cxnId="{44C65DFD-9DE6-45EC-9257-185CEEC83F17}">
      <dgm:prSet/>
      <dgm:spPr/>
    </dgm:pt>
    <dgm:pt modelId="{8C583276-A831-4CE3-BA05-578C877054DD}" type="sibTrans" cxnId="{44C65DFD-9DE6-45EC-9257-185CEEC83F17}">
      <dgm:prSet/>
      <dgm:spPr/>
    </dgm:pt>
    <dgm:pt modelId="{F3E0BA75-EBAD-4BA2-8548-CC2486909EB8}" type="pres">
      <dgm:prSet presAssocID="{AC46BF28-4C64-455C-918B-470E52FAD1C3}" presName="Name0" presStyleCnt="0">
        <dgm:presLayoutVars>
          <dgm:dir/>
          <dgm:animLvl val="lvl"/>
          <dgm:resizeHandles val="exact"/>
        </dgm:presLayoutVars>
      </dgm:prSet>
      <dgm:spPr/>
    </dgm:pt>
    <dgm:pt modelId="{A81E2BA7-56E8-4DF6-AC2B-169AD3252CBD}" type="pres">
      <dgm:prSet presAssocID="{E3378679-3815-4E9C-94AC-CB2EC1E95684}" presName="composite" presStyleCnt="0"/>
      <dgm:spPr/>
    </dgm:pt>
    <dgm:pt modelId="{7E2338D4-0560-4C3F-8EED-0A18C8B205F5}" type="pres">
      <dgm:prSet presAssocID="{E3378679-3815-4E9C-94AC-CB2EC1E95684}" presName="parTx" presStyleLbl="alignNode1" presStyleIdx="0" presStyleCnt="4">
        <dgm:presLayoutVars>
          <dgm:chMax val="0"/>
          <dgm:chPref val="0"/>
          <dgm:bulletEnabled val="1"/>
        </dgm:presLayoutVars>
      </dgm:prSet>
      <dgm:spPr/>
    </dgm:pt>
    <dgm:pt modelId="{46E0E29F-7EAA-44F9-9B66-22C50F1D49E4}" type="pres">
      <dgm:prSet presAssocID="{E3378679-3815-4E9C-94AC-CB2EC1E95684}" presName="desTx" presStyleLbl="alignAccFollowNode1" presStyleIdx="0" presStyleCnt="4">
        <dgm:presLayoutVars>
          <dgm:bulletEnabled val="1"/>
        </dgm:presLayoutVars>
      </dgm:prSet>
      <dgm:spPr/>
    </dgm:pt>
    <dgm:pt modelId="{B5289FA0-DBE5-4D57-9C37-581FA02B0B0D}" type="pres">
      <dgm:prSet presAssocID="{C0BB9A57-56E5-4B47-B94D-7AE13ADBAA08}" presName="space" presStyleCnt="0"/>
      <dgm:spPr/>
    </dgm:pt>
    <dgm:pt modelId="{99E9AC51-D680-4EB6-8314-0AE2BE4B6F27}" type="pres">
      <dgm:prSet presAssocID="{6AA650A5-9A6E-4D69-8561-4BBA4C612774}" presName="composite" presStyleCnt="0"/>
      <dgm:spPr/>
    </dgm:pt>
    <dgm:pt modelId="{EAB23EFF-5FCB-4B91-B31D-58EAA96343B0}" type="pres">
      <dgm:prSet presAssocID="{6AA650A5-9A6E-4D69-8561-4BBA4C612774}" presName="parTx" presStyleLbl="alignNode1" presStyleIdx="1" presStyleCnt="4">
        <dgm:presLayoutVars>
          <dgm:chMax val="0"/>
          <dgm:chPref val="0"/>
          <dgm:bulletEnabled val="1"/>
        </dgm:presLayoutVars>
      </dgm:prSet>
      <dgm:spPr/>
    </dgm:pt>
    <dgm:pt modelId="{EF2DE192-CCE8-4903-80CD-4F5BF19D1F86}" type="pres">
      <dgm:prSet presAssocID="{6AA650A5-9A6E-4D69-8561-4BBA4C612774}" presName="desTx" presStyleLbl="alignAccFollowNode1" presStyleIdx="1" presStyleCnt="4">
        <dgm:presLayoutVars>
          <dgm:bulletEnabled val="1"/>
        </dgm:presLayoutVars>
      </dgm:prSet>
      <dgm:spPr/>
    </dgm:pt>
    <dgm:pt modelId="{C87FAC9D-C121-4A9B-93AE-363BB62A2E3C}" type="pres">
      <dgm:prSet presAssocID="{579B38C6-B046-4F22-987B-4C0141BE0E10}" presName="space" presStyleCnt="0"/>
      <dgm:spPr/>
    </dgm:pt>
    <dgm:pt modelId="{B8B15915-451F-48E6-800B-482A3430514E}" type="pres">
      <dgm:prSet presAssocID="{39B9FEC8-BF04-473A-8FAA-2F1622F6DFAD}" presName="composite" presStyleCnt="0"/>
      <dgm:spPr/>
    </dgm:pt>
    <dgm:pt modelId="{37A713E9-45CD-44E1-922A-E046517D63C3}" type="pres">
      <dgm:prSet presAssocID="{39B9FEC8-BF04-473A-8FAA-2F1622F6DFAD}" presName="parTx" presStyleLbl="alignNode1" presStyleIdx="2" presStyleCnt="4">
        <dgm:presLayoutVars>
          <dgm:chMax val="0"/>
          <dgm:chPref val="0"/>
          <dgm:bulletEnabled val="1"/>
        </dgm:presLayoutVars>
      </dgm:prSet>
      <dgm:spPr/>
    </dgm:pt>
    <dgm:pt modelId="{B2C6D201-BABA-4409-A981-A42CB71A08DE}" type="pres">
      <dgm:prSet presAssocID="{39B9FEC8-BF04-473A-8FAA-2F1622F6DFAD}" presName="desTx" presStyleLbl="alignAccFollowNode1" presStyleIdx="2" presStyleCnt="4">
        <dgm:presLayoutVars>
          <dgm:bulletEnabled val="1"/>
        </dgm:presLayoutVars>
      </dgm:prSet>
      <dgm:spPr/>
    </dgm:pt>
    <dgm:pt modelId="{393AFF77-1430-4F5C-94E8-35B5870315E6}" type="pres">
      <dgm:prSet presAssocID="{3AC0EA38-D95B-4C66-88FB-CC8F10FE7450}" presName="space" presStyleCnt="0"/>
      <dgm:spPr/>
    </dgm:pt>
    <dgm:pt modelId="{031CA175-F4C9-4D1B-AB0A-86E7D4AD1175}" type="pres">
      <dgm:prSet presAssocID="{B5DE7917-7C40-4AC8-93F0-AD717CB3D699}" presName="composite" presStyleCnt="0"/>
      <dgm:spPr/>
    </dgm:pt>
    <dgm:pt modelId="{08025B29-8032-4988-9C54-D05A1A5B2D8C}" type="pres">
      <dgm:prSet presAssocID="{B5DE7917-7C40-4AC8-93F0-AD717CB3D699}" presName="parTx" presStyleLbl="alignNode1" presStyleIdx="3" presStyleCnt="4">
        <dgm:presLayoutVars>
          <dgm:chMax val="0"/>
          <dgm:chPref val="0"/>
          <dgm:bulletEnabled val="1"/>
        </dgm:presLayoutVars>
      </dgm:prSet>
      <dgm:spPr/>
    </dgm:pt>
    <dgm:pt modelId="{85E3A82E-BF2D-4FA2-B577-610C1E97741C}" type="pres">
      <dgm:prSet presAssocID="{B5DE7917-7C40-4AC8-93F0-AD717CB3D699}" presName="desTx" presStyleLbl="alignAccFollowNode1" presStyleIdx="3" presStyleCnt="4">
        <dgm:presLayoutVars>
          <dgm:bulletEnabled val="1"/>
        </dgm:presLayoutVars>
      </dgm:prSet>
      <dgm:spPr/>
    </dgm:pt>
  </dgm:ptLst>
  <dgm:cxnLst>
    <dgm:cxn modelId="{388E2400-FCA5-4B11-810E-A0C323C6F7D0}" type="presOf" srcId="{65A114A8-305D-4122-9209-DB593DC46245}" destId="{46E0E29F-7EAA-44F9-9B66-22C50F1D49E4}" srcOrd="0" destOrd="0" presId="urn:microsoft.com/office/officeart/2005/8/layout/hList1"/>
    <dgm:cxn modelId="{25366B05-811E-4BF4-8FE7-6A6AC9421C30}" type="presOf" srcId="{CA03ED3B-B177-4509-9F8C-43C3C9F61C54}" destId="{EF2DE192-CCE8-4903-80CD-4F5BF19D1F86}" srcOrd="0" destOrd="1" presId="urn:microsoft.com/office/officeart/2005/8/layout/hList1"/>
    <dgm:cxn modelId="{38366107-4822-4097-A3A7-5C8C051E3988}" srcId="{E3378679-3815-4E9C-94AC-CB2EC1E95684}" destId="{4C151D74-AD8C-47B5-B68C-76D2336E3BF7}" srcOrd="2" destOrd="0" parTransId="{5D1ACDB7-2C3E-4A92-A0C8-C6BB7E334A0A}" sibTransId="{87860905-D191-4791-980E-860BCF65C6C7}"/>
    <dgm:cxn modelId="{714B5308-F97F-4FD4-B56D-1313B9E8C3D8}" srcId="{6AA650A5-9A6E-4D69-8561-4BBA4C612774}" destId="{CA03ED3B-B177-4509-9F8C-43C3C9F61C54}" srcOrd="1" destOrd="0" parTransId="{E415138D-444B-47EE-95B7-A5A7149B0D49}" sibTransId="{B73C92F2-9B8F-4FB9-9064-928249FC4D30}"/>
    <dgm:cxn modelId="{DFC73914-08B2-4C8C-B8D3-05EE982E4E55}" srcId="{6AA650A5-9A6E-4D69-8561-4BBA4C612774}" destId="{E19C6581-0E36-4B5B-BAF8-4246A6B4A067}" srcOrd="0" destOrd="0" parTransId="{2210E474-2132-425C-B3B5-AA127B984ED7}" sibTransId="{B2CCEE5D-CE7E-4E9D-989A-FF82555D4473}"/>
    <dgm:cxn modelId="{68A3C814-85F7-4C6F-B907-726F24D5A414}" srcId="{AC46BF28-4C64-455C-918B-470E52FAD1C3}" destId="{B5DE7917-7C40-4AC8-93F0-AD717CB3D699}" srcOrd="3" destOrd="0" parTransId="{C63DE4CA-6C3C-4DE2-B41F-20442B771A13}" sibTransId="{0C51B4AD-1F9C-4124-8899-2F0BCD838737}"/>
    <dgm:cxn modelId="{E9CDA81A-689B-4045-92C4-174E99E45250}" srcId="{B5DE7917-7C40-4AC8-93F0-AD717CB3D699}" destId="{F067D397-0C19-4D77-902F-553A01DCB681}" srcOrd="1" destOrd="0" parTransId="{66CA2A4D-A9D4-46BE-99ED-8DFE80DDA492}" sibTransId="{47B286DD-65FA-499F-96E3-B0ED96B9ED80}"/>
    <dgm:cxn modelId="{D4811322-CC09-42EB-9ED3-2A025D7C919E}" srcId="{E3378679-3815-4E9C-94AC-CB2EC1E95684}" destId="{43EE5E74-391B-43F1-9A75-1D3CD7F4EFEB}" srcOrd="1" destOrd="0" parTransId="{E060859C-6EB6-4877-8A22-B6C22297438D}" sibTransId="{0DC4C70F-5B8E-4EC1-8660-24203872E157}"/>
    <dgm:cxn modelId="{5AD4982F-984C-4FF3-BF7E-CBD579F0F94A}" srcId="{E3378679-3815-4E9C-94AC-CB2EC1E95684}" destId="{65A114A8-305D-4122-9209-DB593DC46245}" srcOrd="0" destOrd="0" parTransId="{28670BA9-5576-484B-A3E5-21BF1EFB0ADD}" sibTransId="{7652AA4E-0C86-43D0-A9D6-7A132135A228}"/>
    <dgm:cxn modelId="{64B65F5D-DF41-4FA3-AB71-8F336759DE7E}" srcId="{39B9FEC8-BF04-473A-8FAA-2F1622F6DFAD}" destId="{1D624C4E-3A09-42E6-B300-2439D4C08996}" srcOrd="1" destOrd="0" parTransId="{8629E9FE-3070-4C2F-92A3-317A081527D6}" sibTransId="{6F753434-8C46-4606-9A1F-FD7E95059577}"/>
    <dgm:cxn modelId="{9122535E-931D-4025-AE38-15573AE9E806}" type="presOf" srcId="{43EE5E74-391B-43F1-9A75-1D3CD7F4EFEB}" destId="{46E0E29F-7EAA-44F9-9B66-22C50F1D49E4}" srcOrd="0" destOrd="1" presId="urn:microsoft.com/office/officeart/2005/8/layout/hList1"/>
    <dgm:cxn modelId="{CAF8D748-C264-4326-8D3C-BD60A0D873EF}" type="presOf" srcId="{AF15B7AA-08C1-47EE-AB27-0B44C4D44BB8}" destId="{85E3A82E-BF2D-4FA2-B577-610C1E97741C}" srcOrd="0" destOrd="2" presId="urn:microsoft.com/office/officeart/2005/8/layout/hList1"/>
    <dgm:cxn modelId="{9AE4444F-C9C9-49AC-A73A-A0DDE67A9725}" type="presOf" srcId="{2B4DDB3F-E304-4C3C-9229-16EAC0B7A766}" destId="{85E3A82E-BF2D-4FA2-B577-610C1E97741C}" srcOrd="0" destOrd="0" presId="urn:microsoft.com/office/officeart/2005/8/layout/hList1"/>
    <dgm:cxn modelId="{C6CAED51-7795-4213-AAC0-3F1D75D4151C}" srcId="{39B9FEC8-BF04-473A-8FAA-2F1622F6DFAD}" destId="{39BDA1A6-1943-4BB2-95E8-F547E5D0ED85}" srcOrd="0" destOrd="0" parTransId="{9A101A32-2C1E-43FB-A45E-FBC5B4B01098}" sibTransId="{BD0A6942-0320-4138-B05D-F3421AC2050E}"/>
    <dgm:cxn modelId="{B360B973-4DA9-40D7-849F-28FAE70E8F79}" type="presOf" srcId="{6AA650A5-9A6E-4D69-8561-4BBA4C612774}" destId="{EAB23EFF-5FCB-4B91-B31D-58EAA96343B0}" srcOrd="0" destOrd="0" presId="urn:microsoft.com/office/officeart/2005/8/layout/hList1"/>
    <dgm:cxn modelId="{706F2C79-2D1C-4DB9-B9CF-89622E00CA23}" type="presOf" srcId="{39B9FEC8-BF04-473A-8FAA-2F1622F6DFAD}" destId="{37A713E9-45CD-44E1-922A-E046517D63C3}" srcOrd="0" destOrd="0" presId="urn:microsoft.com/office/officeart/2005/8/layout/hList1"/>
    <dgm:cxn modelId="{D85D7579-287E-4808-9B5B-6AE749639D17}" type="presOf" srcId="{F067D397-0C19-4D77-902F-553A01DCB681}" destId="{85E3A82E-BF2D-4FA2-B577-610C1E97741C}" srcOrd="0" destOrd="1" presId="urn:microsoft.com/office/officeart/2005/8/layout/hList1"/>
    <dgm:cxn modelId="{0BD03E7D-050D-41EF-B86C-85CE6D0072AC}" type="presOf" srcId="{BEECB182-C75B-4975-BD6A-7CA7588FF701}" destId="{EF2DE192-CCE8-4903-80CD-4F5BF19D1F86}" srcOrd="0" destOrd="2" presId="urn:microsoft.com/office/officeart/2005/8/layout/hList1"/>
    <dgm:cxn modelId="{E230C87F-F7E5-49E7-A88A-34176311B2A3}" srcId="{B5DE7917-7C40-4AC8-93F0-AD717CB3D699}" destId="{2B4DDB3F-E304-4C3C-9229-16EAC0B7A766}" srcOrd="0" destOrd="0" parTransId="{14DD2C41-4D00-45E5-A213-FE54775F41AF}" sibTransId="{6522AAC0-C4B1-4B30-A12A-99EAC3842695}"/>
    <dgm:cxn modelId="{72E3A085-1628-4574-8DDB-990462EFFC9B}" type="presOf" srcId="{4C151D74-AD8C-47B5-B68C-76D2336E3BF7}" destId="{46E0E29F-7EAA-44F9-9B66-22C50F1D49E4}" srcOrd="0" destOrd="2" presId="urn:microsoft.com/office/officeart/2005/8/layout/hList1"/>
    <dgm:cxn modelId="{7520AD85-C103-4670-9780-42BED5B3E9E9}" srcId="{AC46BF28-4C64-455C-918B-470E52FAD1C3}" destId="{6AA650A5-9A6E-4D69-8561-4BBA4C612774}" srcOrd="1" destOrd="0" parTransId="{2BEC7F7B-C8A9-4D6F-BDAC-B0928DAFA8A9}" sibTransId="{579B38C6-B046-4F22-987B-4C0141BE0E10}"/>
    <dgm:cxn modelId="{8F2C25B2-8230-43E7-90AC-4EBBAC07071F}" type="presOf" srcId="{E3378679-3815-4E9C-94AC-CB2EC1E95684}" destId="{7E2338D4-0560-4C3F-8EED-0A18C8B205F5}" srcOrd="0" destOrd="0" presId="urn:microsoft.com/office/officeart/2005/8/layout/hList1"/>
    <dgm:cxn modelId="{BFD8D2BF-40E4-4B43-9167-939DAE3B3424}" type="presOf" srcId="{1D624C4E-3A09-42E6-B300-2439D4C08996}" destId="{B2C6D201-BABA-4409-A981-A42CB71A08DE}" srcOrd="0" destOrd="1" presId="urn:microsoft.com/office/officeart/2005/8/layout/hList1"/>
    <dgm:cxn modelId="{2EE149C3-F299-4EF2-879C-670B6FD03901}" srcId="{B5DE7917-7C40-4AC8-93F0-AD717CB3D699}" destId="{AF15B7AA-08C1-47EE-AB27-0B44C4D44BB8}" srcOrd="2" destOrd="0" parTransId="{5CF2A153-3DE0-4252-BDFC-82D230A6BA3F}" sibTransId="{66D70A71-DB9B-484A-8288-9121A37E10EB}"/>
    <dgm:cxn modelId="{F0F780C8-3DF6-47E7-A002-B4788222B28C}" srcId="{AC46BF28-4C64-455C-918B-470E52FAD1C3}" destId="{39B9FEC8-BF04-473A-8FAA-2F1622F6DFAD}" srcOrd="2" destOrd="0" parTransId="{91C70CF0-3AC4-4094-8259-346C9FE3476B}" sibTransId="{3AC0EA38-D95B-4C66-88FB-CC8F10FE7450}"/>
    <dgm:cxn modelId="{6B39F7D7-2069-4AD7-A6E8-17DB716D14B0}" type="presOf" srcId="{E19C6581-0E36-4B5B-BAF8-4246A6B4A067}" destId="{EF2DE192-CCE8-4903-80CD-4F5BF19D1F86}" srcOrd="0" destOrd="0" presId="urn:microsoft.com/office/officeart/2005/8/layout/hList1"/>
    <dgm:cxn modelId="{5A2846DB-4F5D-46DD-99A4-90EB735B7491}" type="presOf" srcId="{AC46BF28-4C64-455C-918B-470E52FAD1C3}" destId="{F3E0BA75-EBAD-4BA2-8548-CC2486909EB8}" srcOrd="0" destOrd="0" presId="urn:microsoft.com/office/officeart/2005/8/layout/hList1"/>
    <dgm:cxn modelId="{7ED329E9-B87C-4586-BE90-8E35662250B9}" type="presOf" srcId="{39BDA1A6-1943-4BB2-95E8-F547E5D0ED85}" destId="{B2C6D201-BABA-4409-A981-A42CB71A08DE}" srcOrd="0" destOrd="0" presId="urn:microsoft.com/office/officeart/2005/8/layout/hList1"/>
    <dgm:cxn modelId="{B1088CEF-B134-4CFD-AB18-6E21E3536747}" srcId="{AC46BF28-4C64-455C-918B-470E52FAD1C3}" destId="{E3378679-3815-4E9C-94AC-CB2EC1E95684}" srcOrd="0" destOrd="0" parTransId="{CAA39A9A-4FDF-41C6-9D97-C6F38A34821B}" sibTransId="{C0BB9A57-56E5-4B47-B94D-7AE13ADBAA08}"/>
    <dgm:cxn modelId="{AEF698FC-8C6C-4989-B61F-80B85EED9D61}" type="presOf" srcId="{B5DE7917-7C40-4AC8-93F0-AD717CB3D699}" destId="{08025B29-8032-4988-9C54-D05A1A5B2D8C}" srcOrd="0" destOrd="0" presId="urn:microsoft.com/office/officeart/2005/8/layout/hList1"/>
    <dgm:cxn modelId="{44C65DFD-9DE6-45EC-9257-185CEEC83F17}" srcId="{6AA650A5-9A6E-4D69-8561-4BBA4C612774}" destId="{BEECB182-C75B-4975-BD6A-7CA7588FF701}" srcOrd="2" destOrd="0" parTransId="{A30D59A7-964C-4165-9521-60E1EB6F68BE}" sibTransId="{8C583276-A831-4CE3-BA05-578C877054DD}"/>
    <dgm:cxn modelId="{8426306F-0C00-4A39-AF50-ABBEE8131A1D}" type="presParOf" srcId="{F3E0BA75-EBAD-4BA2-8548-CC2486909EB8}" destId="{A81E2BA7-56E8-4DF6-AC2B-169AD3252CBD}" srcOrd="0" destOrd="0" presId="urn:microsoft.com/office/officeart/2005/8/layout/hList1"/>
    <dgm:cxn modelId="{0E270CE7-8586-4FF6-A0B2-1E583A992299}" type="presParOf" srcId="{A81E2BA7-56E8-4DF6-AC2B-169AD3252CBD}" destId="{7E2338D4-0560-4C3F-8EED-0A18C8B205F5}" srcOrd="0" destOrd="0" presId="urn:microsoft.com/office/officeart/2005/8/layout/hList1"/>
    <dgm:cxn modelId="{DCEAA229-F6F7-4E58-B60A-9FE740015155}" type="presParOf" srcId="{A81E2BA7-56E8-4DF6-AC2B-169AD3252CBD}" destId="{46E0E29F-7EAA-44F9-9B66-22C50F1D49E4}" srcOrd="1" destOrd="0" presId="urn:microsoft.com/office/officeart/2005/8/layout/hList1"/>
    <dgm:cxn modelId="{69E785AF-53BD-48D0-81C4-0071A7210D69}" type="presParOf" srcId="{F3E0BA75-EBAD-4BA2-8548-CC2486909EB8}" destId="{B5289FA0-DBE5-4D57-9C37-581FA02B0B0D}" srcOrd="1" destOrd="0" presId="urn:microsoft.com/office/officeart/2005/8/layout/hList1"/>
    <dgm:cxn modelId="{AF5752C6-CEE5-40D4-8180-4474B1B87B2F}" type="presParOf" srcId="{F3E0BA75-EBAD-4BA2-8548-CC2486909EB8}" destId="{99E9AC51-D680-4EB6-8314-0AE2BE4B6F27}" srcOrd="2" destOrd="0" presId="urn:microsoft.com/office/officeart/2005/8/layout/hList1"/>
    <dgm:cxn modelId="{D553E922-461A-4466-AE1B-726E0AC2ED20}" type="presParOf" srcId="{99E9AC51-D680-4EB6-8314-0AE2BE4B6F27}" destId="{EAB23EFF-5FCB-4B91-B31D-58EAA96343B0}" srcOrd="0" destOrd="0" presId="urn:microsoft.com/office/officeart/2005/8/layout/hList1"/>
    <dgm:cxn modelId="{025324F8-8849-46D1-A94D-AF9EFEEA6524}" type="presParOf" srcId="{99E9AC51-D680-4EB6-8314-0AE2BE4B6F27}" destId="{EF2DE192-CCE8-4903-80CD-4F5BF19D1F86}" srcOrd="1" destOrd="0" presId="urn:microsoft.com/office/officeart/2005/8/layout/hList1"/>
    <dgm:cxn modelId="{03CBCFC1-2574-4382-A43F-A51CA95A0B08}" type="presParOf" srcId="{F3E0BA75-EBAD-4BA2-8548-CC2486909EB8}" destId="{C87FAC9D-C121-4A9B-93AE-363BB62A2E3C}" srcOrd="3" destOrd="0" presId="urn:microsoft.com/office/officeart/2005/8/layout/hList1"/>
    <dgm:cxn modelId="{FDEE2462-EE6B-4307-AD77-63C4DED3D533}" type="presParOf" srcId="{F3E0BA75-EBAD-4BA2-8548-CC2486909EB8}" destId="{B8B15915-451F-48E6-800B-482A3430514E}" srcOrd="4" destOrd="0" presId="urn:microsoft.com/office/officeart/2005/8/layout/hList1"/>
    <dgm:cxn modelId="{44C1130F-4B27-41C7-9AFB-1786F447776E}" type="presParOf" srcId="{B8B15915-451F-48E6-800B-482A3430514E}" destId="{37A713E9-45CD-44E1-922A-E046517D63C3}" srcOrd="0" destOrd="0" presId="urn:microsoft.com/office/officeart/2005/8/layout/hList1"/>
    <dgm:cxn modelId="{175239E5-7810-4962-BD12-448ADF3A3BD4}" type="presParOf" srcId="{B8B15915-451F-48E6-800B-482A3430514E}" destId="{B2C6D201-BABA-4409-A981-A42CB71A08DE}" srcOrd="1" destOrd="0" presId="urn:microsoft.com/office/officeart/2005/8/layout/hList1"/>
    <dgm:cxn modelId="{A578EAF8-7644-4D95-9D26-DF584A0AA1EA}" type="presParOf" srcId="{F3E0BA75-EBAD-4BA2-8548-CC2486909EB8}" destId="{393AFF77-1430-4F5C-94E8-35B5870315E6}" srcOrd="5" destOrd="0" presId="urn:microsoft.com/office/officeart/2005/8/layout/hList1"/>
    <dgm:cxn modelId="{40DB0E64-A706-4119-A1CB-CCFCAEADAD04}" type="presParOf" srcId="{F3E0BA75-EBAD-4BA2-8548-CC2486909EB8}" destId="{031CA175-F4C9-4D1B-AB0A-86E7D4AD1175}" srcOrd="6" destOrd="0" presId="urn:microsoft.com/office/officeart/2005/8/layout/hList1"/>
    <dgm:cxn modelId="{1C050B5B-93F1-43CE-B4E6-1A6AE2A0195F}" type="presParOf" srcId="{031CA175-F4C9-4D1B-AB0A-86E7D4AD1175}" destId="{08025B29-8032-4988-9C54-D05A1A5B2D8C}" srcOrd="0" destOrd="0" presId="urn:microsoft.com/office/officeart/2005/8/layout/hList1"/>
    <dgm:cxn modelId="{28759399-BF7A-47A0-8BA2-9247A8F3F961}" type="presParOf" srcId="{031CA175-F4C9-4D1B-AB0A-86E7D4AD1175}" destId="{85E3A82E-BF2D-4FA2-B577-610C1E97741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0EAB75E4-FFF4-42F1-B47E-D64598FAA563}"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30B4DCE1-6ECC-4831-9DC9-7AB22368E85F}">
      <dgm:prSet custT="1"/>
      <dgm:spPr/>
      <dgm:t>
        <a:bodyPr/>
        <a:lstStyle/>
        <a:p>
          <a:r>
            <a:rPr lang="en-US" sz="2400" baseline="0"/>
            <a:t>Aligned Index</a:t>
          </a:r>
          <a:endParaRPr lang="en-US" sz="2400"/>
        </a:p>
      </dgm:t>
    </dgm:pt>
    <dgm:pt modelId="{5838FF47-9802-4F30-A9CE-FC1E6616AA91}" type="parTrans" cxnId="{E6A4FF03-B239-4170-9EEA-C4377E1B7FB8}">
      <dgm:prSet/>
      <dgm:spPr/>
      <dgm:t>
        <a:bodyPr/>
        <a:lstStyle/>
        <a:p>
          <a:endParaRPr lang="en-US"/>
        </a:p>
      </dgm:t>
    </dgm:pt>
    <dgm:pt modelId="{F3FF553F-A4B7-4853-9DB5-297718946F79}" type="sibTrans" cxnId="{E6A4FF03-B239-4170-9EEA-C4377E1B7FB8}">
      <dgm:prSet/>
      <dgm:spPr/>
      <dgm:t>
        <a:bodyPr/>
        <a:lstStyle/>
        <a:p>
          <a:endParaRPr lang="en-US"/>
        </a:p>
      </dgm:t>
    </dgm:pt>
    <dgm:pt modelId="{562CC8F1-EC4A-42E9-AE64-D47593E4BAE6}">
      <dgm:prSet/>
      <dgm:spPr/>
      <dgm:t>
        <a:bodyPr/>
        <a:lstStyle/>
        <a:p>
          <a:r>
            <a:rPr lang="en-US" baseline="0"/>
            <a:t>An index that is built on the same partition scheme as its corresponding table.</a:t>
          </a:r>
          <a:endParaRPr lang="en-US"/>
        </a:p>
      </dgm:t>
    </dgm:pt>
    <dgm:pt modelId="{1D3B60BC-E57A-4008-A9DA-760CF8F87C7E}" type="parTrans" cxnId="{C7D857D7-9B75-4062-AD83-82B0A3E19F26}">
      <dgm:prSet/>
      <dgm:spPr/>
      <dgm:t>
        <a:bodyPr/>
        <a:lstStyle/>
        <a:p>
          <a:endParaRPr lang="en-US"/>
        </a:p>
      </dgm:t>
    </dgm:pt>
    <dgm:pt modelId="{E0E39015-06F5-414D-A062-44765F366358}" type="sibTrans" cxnId="{C7D857D7-9B75-4062-AD83-82B0A3E19F26}">
      <dgm:prSet/>
      <dgm:spPr/>
      <dgm:t>
        <a:bodyPr/>
        <a:lstStyle/>
        <a:p>
          <a:endParaRPr lang="en-US"/>
        </a:p>
      </dgm:t>
    </dgm:pt>
    <dgm:pt modelId="{66D5F1A1-137C-408D-A0AA-AEA0039DCD6D}">
      <dgm:prSet/>
      <dgm:spPr/>
      <dgm:t>
        <a:bodyPr/>
        <a:lstStyle/>
        <a:p>
          <a:r>
            <a:rPr lang="en-US" baseline="0"/>
            <a:t>When a table and its indexes Align, SQL Server can switch partitions quickly and efficiently.</a:t>
          </a:r>
          <a:endParaRPr lang="en-US"/>
        </a:p>
      </dgm:t>
    </dgm:pt>
    <dgm:pt modelId="{F90CE33A-7741-4858-AC95-158203C3B59F}" type="parTrans" cxnId="{7821012C-3A27-4D68-B7CF-287EF94BE39D}">
      <dgm:prSet/>
      <dgm:spPr/>
      <dgm:t>
        <a:bodyPr/>
        <a:lstStyle/>
        <a:p>
          <a:endParaRPr lang="en-US"/>
        </a:p>
      </dgm:t>
    </dgm:pt>
    <dgm:pt modelId="{384BDBF2-645E-4EF2-867A-55776E95EEEB}" type="sibTrans" cxnId="{7821012C-3A27-4D68-B7CF-287EF94BE39D}">
      <dgm:prSet/>
      <dgm:spPr/>
      <dgm:t>
        <a:bodyPr/>
        <a:lstStyle/>
        <a:p>
          <a:endParaRPr lang="en-US"/>
        </a:p>
      </dgm:t>
    </dgm:pt>
    <dgm:pt modelId="{62D42052-AC85-4A87-96D4-4150C249069B}">
      <dgm:prSet custT="1"/>
      <dgm:spPr/>
      <dgm:t>
        <a:bodyPr/>
        <a:lstStyle/>
        <a:p>
          <a:r>
            <a:rPr lang="en-US" sz="2400" baseline="0"/>
            <a:t>Non-aligned index</a:t>
          </a:r>
          <a:endParaRPr lang="en-US" sz="2400"/>
        </a:p>
      </dgm:t>
    </dgm:pt>
    <dgm:pt modelId="{5CB8AC19-16F9-4C64-A4CA-6550F517E45C}" type="parTrans" cxnId="{5E977332-5D78-45BB-914D-EEDEE02DA3C1}">
      <dgm:prSet/>
      <dgm:spPr/>
      <dgm:t>
        <a:bodyPr/>
        <a:lstStyle/>
        <a:p>
          <a:endParaRPr lang="en-US"/>
        </a:p>
      </dgm:t>
    </dgm:pt>
    <dgm:pt modelId="{F3E707F8-709E-401A-93ED-B8DD1F1F39E3}" type="sibTrans" cxnId="{5E977332-5D78-45BB-914D-EEDEE02DA3C1}">
      <dgm:prSet/>
      <dgm:spPr/>
      <dgm:t>
        <a:bodyPr/>
        <a:lstStyle/>
        <a:p>
          <a:endParaRPr lang="en-US"/>
        </a:p>
      </dgm:t>
    </dgm:pt>
    <dgm:pt modelId="{B719B3D3-FFA7-4660-866C-5D3E5BDA08A3}">
      <dgm:prSet/>
      <dgm:spPr/>
      <dgm:t>
        <a:bodyPr/>
        <a:lstStyle/>
        <a:p>
          <a:r>
            <a:rPr lang="en-US" baseline="0"/>
            <a:t>An index partitioned independently from its corresponding table.</a:t>
          </a:r>
          <a:endParaRPr lang="en-US"/>
        </a:p>
      </dgm:t>
    </dgm:pt>
    <dgm:pt modelId="{3C80F376-E7AF-457D-9E20-182AAAC35EDF}" type="parTrans" cxnId="{6DBA31B6-8603-4CC2-BDED-C068E634EDF6}">
      <dgm:prSet/>
      <dgm:spPr/>
      <dgm:t>
        <a:bodyPr/>
        <a:lstStyle/>
        <a:p>
          <a:endParaRPr lang="en-US"/>
        </a:p>
      </dgm:t>
    </dgm:pt>
    <dgm:pt modelId="{FB0B62C2-A6E5-4CFC-8BAD-CC49D4FC0546}" type="sibTrans" cxnId="{6DBA31B6-8603-4CC2-BDED-C068E634EDF6}">
      <dgm:prSet/>
      <dgm:spPr/>
      <dgm:t>
        <a:bodyPr/>
        <a:lstStyle/>
        <a:p>
          <a:endParaRPr lang="en-US"/>
        </a:p>
      </dgm:t>
    </dgm:pt>
    <dgm:pt modelId="{71A2E1FA-5D83-443F-8DF8-22A39F13AA21}">
      <dgm:prSet/>
      <dgm:spPr/>
      <dgm:t>
        <a:bodyPr/>
        <a:lstStyle/>
        <a:p>
          <a:r>
            <a:rPr lang="en-US" baseline="0"/>
            <a:t>Designing a non-aligned partitioned index can be useful in the following cases:</a:t>
          </a:r>
          <a:endParaRPr lang="en-US"/>
        </a:p>
      </dgm:t>
    </dgm:pt>
    <dgm:pt modelId="{113188EF-3F0A-4E4C-A362-47A78C7A42BC}" type="parTrans" cxnId="{D0D25CE1-2ABF-493E-896F-358DA01438B7}">
      <dgm:prSet/>
      <dgm:spPr/>
      <dgm:t>
        <a:bodyPr/>
        <a:lstStyle/>
        <a:p>
          <a:endParaRPr lang="en-US"/>
        </a:p>
      </dgm:t>
    </dgm:pt>
    <dgm:pt modelId="{8EF252D3-B9E2-4F82-801F-7003DD37CFF3}" type="sibTrans" cxnId="{D0D25CE1-2ABF-493E-896F-358DA01438B7}">
      <dgm:prSet/>
      <dgm:spPr/>
      <dgm:t>
        <a:bodyPr/>
        <a:lstStyle/>
        <a:p>
          <a:endParaRPr lang="en-US"/>
        </a:p>
      </dgm:t>
    </dgm:pt>
    <dgm:pt modelId="{4923A70B-C58C-4624-9BFB-23208173CEC4}">
      <dgm:prSet/>
      <dgm:spPr/>
      <dgm:t>
        <a:bodyPr/>
        <a:lstStyle/>
        <a:p>
          <a:r>
            <a:rPr lang="en-US" baseline="0"/>
            <a:t>The base table has not been partitioned.</a:t>
          </a:r>
          <a:endParaRPr lang="en-US"/>
        </a:p>
      </dgm:t>
    </dgm:pt>
    <dgm:pt modelId="{15E080A9-8D2B-47BD-839A-C90994EB745D}" type="parTrans" cxnId="{74A88FD0-E658-4BCB-AED8-3D02E3D9D142}">
      <dgm:prSet/>
      <dgm:spPr/>
      <dgm:t>
        <a:bodyPr/>
        <a:lstStyle/>
        <a:p>
          <a:endParaRPr lang="en-US"/>
        </a:p>
      </dgm:t>
    </dgm:pt>
    <dgm:pt modelId="{7F5C1397-4E25-4ED8-A9B0-1F756116F46D}" type="sibTrans" cxnId="{74A88FD0-E658-4BCB-AED8-3D02E3D9D142}">
      <dgm:prSet/>
      <dgm:spPr/>
      <dgm:t>
        <a:bodyPr/>
        <a:lstStyle/>
        <a:p>
          <a:endParaRPr lang="en-US"/>
        </a:p>
      </dgm:t>
    </dgm:pt>
    <dgm:pt modelId="{E2FBA558-FC6C-4430-9244-E5DA7777177E}">
      <dgm:prSet/>
      <dgm:spPr/>
      <dgm:t>
        <a:bodyPr/>
        <a:lstStyle/>
        <a:p>
          <a:r>
            <a:rPr lang="en-US" baseline="0"/>
            <a:t>The index key is unique, and it does not contain the partitioning column of the table.</a:t>
          </a:r>
          <a:endParaRPr lang="en-US"/>
        </a:p>
      </dgm:t>
    </dgm:pt>
    <dgm:pt modelId="{6C3424A7-B0D4-4275-A0E5-FCC881DF7982}" type="parTrans" cxnId="{D8235534-DB63-486F-B7B4-5A4DFA8F9818}">
      <dgm:prSet/>
      <dgm:spPr/>
      <dgm:t>
        <a:bodyPr/>
        <a:lstStyle/>
        <a:p>
          <a:endParaRPr lang="en-US"/>
        </a:p>
      </dgm:t>
    </dgm:pt>
    <dgm:pt modelId="{EFC9DDD7-A83D-4C7F-8BBD-8125E35C113D}" type="sibTrans" cxnId="{D8235534-DB63-486F-B7B4-5A4DFA8F9818}">
      <dgm:prSet/>
      <dgm:spPr/>
      <dgm:t>
        <a:bodyPr/>
        <a:lstStyle/>
        <a:p>
          <a:endParaRPr lang="en-US"/>
        </a:p>
      </dgm:t>
    </dgm:pt>
    <dgm:pt modelId="{BF19F41B-29A6-416B-B38B-E3BB3E70CFE9}">
      <dgm:prSet/>
      <dgm:spPr/>
      <dgm:t>
        <a:bodyPr/>
        <a:lstStyle/>
        <a:p>
          <a:r>
            <a:rPr lang="en-US" baseline="0"/>
            <a:t>Useful when want to joins with more tables using different join columns.</a:t>
          </a:r>
          <a:endParaRPr lang="en-US"/>
        </a:p>
      </dgm:t>
    </dgm:pt>
    <dgm:pt modelId="{C36C6EE3-384E-45E1-9430-A566F2BB1B7A}" type="parTrans" cxnId="{D5587BFB-EEA2-4F03-970B-F605B4C4B111}">
      <dgm:prSet/>
      <dgm:spPr/>
      <dgm:t>
        <a:bodyPr/>
        <a:lstStyle/>
        <a:p>
          <a:endParaRPr lang="en-US"/>
        </a:p>
      </dgm:t>
    </dgm:pt>
    <dgm:pt modelId="{20546BAB-6503-4CB1-9E8B-DFB2090D2DBB}" type="sibTrans" cxnId="{D5587BFB-EEA2-4F03-970B-F605B4C4B111}">
      <dgm:prSet/>
      <dgm:spPr/>
      <dgm:t>
        <a:bodyPr/>
        <a:lstStyle/>
        <a:p>
          <a:endParaRPr lang="en-US"/>
        </a:p>
      </dgm:t>
    </dgm:pt>
    <dgm:pt modelId="{4B470827-F6AC-4AF5-9990-749B1F868A38}" type="pres">
      <dgm:prSet presAssocID="{0EAB75E4-FFF4-42F1-B47E-D64598FAA563}" presName="Name0" presStyleCnt="0">
        <dgm:presLayoutVars>
          <dgm:dir/>
          <dgm:animLvl val="lvl"/>
          <dgm:resizeHandles val="exact"/>
        </dgm:presLayoutVars>
      </dgm:prSet>
      <dgm:spPr/>
    </dgm:pt>
    <dgm:pt modelId="{949803C5-17FA-4A0A-89E5-94E086119D34}" type="pres">
      <dgm:prSet presAssocID="{30B4DCE1-6ECC-4831-9DC9-7AB22368E85F}" presName="composite" presStyleCnt="0"/>
      <dgm:spPr/>
    </dgm:pt>
    <dgm:pt modelId="{CAD8EE0C-7F04-43A3-BB69-4287DED5DB06}" type="pres">
      <dgm:prSet presAssocID="{30B4DCE1-6ECC-4831-9DC9-7AB22368E85F}" presName="parTx" presStyleLbl="alignNode1" presStyleIdx="0" presStyleCnt="2">
        <dgm:presLayoutVars>
          <dgm:chMax val="0"/>
          <dgm:chPref val="0"/>
          <dgm:bulletEnabled val="1"/>
        </dgm:presLayoutVars>
      </dgm:prSet>
      <dgm:spPr/>
    </dgm:pt>
    <dgm:pt modelId="{0F9E5E52-CAB5-46C2-8CF0-D8D116190E7D}" type="pres">
      <dgm:prSet presAssocID="{30B4DCE1-6ECC-4831-9DC9-7AB22368E85F}" presName="desTx" presStyleLbl="alignAccFollowNode1" presStyleIdx="0" presStyleCnt="2">
        <dgm:presLayoutVars>
          <dgm:bulletEnabled val="1"/>
        </dgm:presLayoutVars>
      </dgm:prSet>
      <dgm:spPr/>
    </dgm:pt>
    <dgm:pt modelId="{17946970-F9CB-4F7C-A5CA-C5DC2B58D9D5}" type="pres">
      <dgm:prSet presAssocID="{F3FF553F-A4B7-4853-9DB5-297718946F79}" presName="space" presStyleCnt="0"/>
      <dgm:spPr/>
    </dgm:pt>
    <dgm:pt modelId="{D9E79FB9-B98B-41E5-A3E4-8BBF32ED1039}" type="pres">
      <dgm:prSet presAssocID="{62D42052-AC85-4A87-96D4-4150C249069B}" presName="composite" presStyleCnt="0"/>
      <dgm:spPr/>
    </dgm:pt>
    <dgm:pt modelId="{CBD98650-F3B8-419C-88CD-033633D82A97}" type="pres">
      <dgm:prSet presAssocID="{62D42052-AC85-4A87-96D4-4150C249069B}" presName="parTx" presStyleLbl="alignNode1" presStyleIdx="1" presStyleCnt="2">
        <dgm:presLayoutVars>
          <dgm:chMax val="0"/>
          <dgm:chPref val="0"/>
          <dgm:bulletEnabled val="1"/>
        </dgm:presLayoutVars>
      </dgm:prSet>
      <dgm:spPr/>
    </dgm:pt>
    <dgm:pt modelId="{D88BAB86-542E-44C0-925D-B70C533A5AA3}" type="pres">
      <dgm:prSet presAssocID="{62D42052-AC85-4A87-96D4-4150C249069B}" presName="desTx" presStyleLbl="alignAccFollowNode1" presStyleIdx="1" presStyleCnt="2">
        <dgm:presLayoutVars>
          <dgm:bulletEnabled val="1"/>
        </dgm:presLayoutVars>
      </dgm:prSet>
      <dgm:spPr/>
    </dgm:pt>
  </dgm:ptLst>
  <dgm:cxnLst>
    <dgm:cxn modelId="{E6A4FF03-B239-4170-9EEA-C4377E1B7FB8}" srcId="{0EAB75E4-FFF4-42F1-B47E-D64598FAA563}" destId="{30B4DCE1-6ECC-4831-9DC9-7AB22368E85F}" srcOrd="0" destOrd="0" parTransId="{5838FF47-9802-4F30-A9CE-FC1E6616AA91}" sibTransId="{F3FF553F-A4B7-4853-9DB5-297718946F79}"/>
    <dgm:cxn modelId="{0E38C604-7515-4197-A0A5-3A85D7DD2A3E}" type="presOf" srcId="{562CC8F1-EC4A-42E9-AE64-D47593E4BAE6}" destId="{0F9E5E52-CAB5-46C2-8CF0-D8D116190E7D}" srcOrd="0" destOrd="0" presId="urn:microsoft.com/office/officeart/2005/8/layout/hList1"/>
    <dgm:cxn modelId="{7821012C-3A27-4D68-B7CF-287EF94BE39D}" srcId="{30B4DCE1-6ECC-4831-9DC9-7AB22368E85F}" destId="{66D5F1A1-137C-408D-A0AA-AEA0039DCD6D}" srcOrd="1" destOrd="0" parTransId="{F90CE33A-7741-4858-AC95-158203C3B59F}" sibTransId="{384BDBF2-645E-4EF2-867A-55776E95EEEB}"/>
    <dgm:cxn modelId="{D561762C-096A-4C29-8DC2-89C065C00C69}" type="presOf" srcId="{66D5F1A1-137C-408D-A0AA-AEA0039DCD6D}" destId="{0F9E5E52-CAB5-46C2-8CF0-D8D116190E7D}" srcOrd="0" destOrd="1" presId="urn:microsoft.com/office/officeart/2005/8/layout/hList1"/>
    <dgm:cxn modelId="{82050F32-8897-4B67-9C03-1D90C5427BB4}" type="presOf" srcId="{BF19F41B-29A6-416B-B38B-E3BB3E70CFE9}" destId="{D88BAB86-542E-44C0-925D-B70C533A5AA3}" srcOrd="0" destOrd="4" presId="urn:microsoft.com/office/officeart/2005/8/layout/hList1"/>
    <dgm:cxn modelId="{5E977332-5D78-45BB-914D-EEDEE02DA3C1}" srcId="{0EAB75E4-FFF4-42F1-B47E-D64598FAA563}" destId="{62D42052-AC85-4A87-96D4-4150C249069B}" srcOrd="1" destOrd="0" parTransId="{5CB8AC19-16F9-4C64-A4CA-6550F517E45C}" sibTransId="{F3E707F8-709E-401A-93ED-B8DD1F1F39E3}"/>
    <dgm:cxn modelId="{D8235534-DB63-486F-B7B4-5A4DFA8F9818}" srcId="{71A2E1FA-5D83-443F-8DF8-22A39F13AA21}" destId="{E2FBA558-FC6C-4430-9244-E5DA7777177E}" srcOrd="1" destOrd="0" parTransId="{6C3424A7-B0D4-4275-A0E5-FCC881DF7982}" sibTransId="{EFC9DDD7-A83D-4C7F-8BBD-8125E35C113D}"/>
    <dgm:cxn modelId="{6B553B47-E6F0-461D-B51D-CDA9014533FB}" type="presOf" srcId="{30B4DCE1-6ECC-4831-9DC9-7AB22368E85F}" destId="{CAD8EE0C-7F04-43A3-BB69-4287DED5DB06}" srcOrd="0" destOrd="0" presId="urn:microsoft.com/office/officeart/2005/8/layout/hList1"/>
    <dgm:cxn modelId="{118F5569-88CF-4910-A961-72C0E7851079}" type="presOf" srcId="{4923A70B-C58C-4624-9BFB-23208173CEC4}" destId="{D88BAB86-542E-44C0-925D-B70C533A5AA3}" srcOrd="0" destOrd="2" presId="urn:microsoft.com/office/officeart/2005/8/layout/hList1"/>
    <dgm:cxn modelId="{56E1C175-D96E-43F1-BFD6-2D385BBB124E}" type="presOf" srcId="{71A2E1FA-5D83-443F-8DF8-22A39F13AA21}" destId="{D88BAB86-542E-44C0-925D-B70C533A5AA3}" srcOrd="0" destOrd="1" presId="urn:microsoft.com/office/officeart/2005/8/layout/hList1"/>
    <dgm:cxn modelId="{36E3D857-8828-45C0-BC8E-FF1389E55D09}" type="presOf" srcId="{B719B3D3-FFA7-4660-866C-5D3E5BDA08A3}" destId="{D88BAB86-542E-44C0-925D-B70C533A5AA3}" srcOrd="0" destOrd="0" presId="urn:microsoft.com/office/officeart/2005/8/layout/hList1"/>
    <dgm:cxn modelId="{E0D8979E-6835-44E1-944A-DFAE14EEFAB9}" type="presOf" srcId="{E2FBA558-FC6C-4430-9244-E5DA7777177E}" destId="{D88BAB86-542E-44C0-925D-B70C533A5AA3}" srcOrd="0" destOrd="3" presId="urn:microsoft.com/office/officeart/2005/8/layout/hList1"/>
    <dgm:cxn modelId="{6DBA31B6-8603-4CC2-BDED-C068E634EDF6}" srcId="{62D42052-AC85-4A87-96D4-4150C249069B}" destId="{B719B3D3-FFA7-4660-866C-5D3E5BDA08A3}" srcOrd="0" destOrd="0" parTransId="{3C80F376-E7AF-457D-9E20-182AAAC35EDF}" sibTransId="{FB0B62C2-A6E5-4CFC-8BAD-CC49D4FC0546}"/>
    <dgm:cxn modelId="{0387C4BC-5BC2-49D3-AC37-3EB8B0DB1C9A}" type="presOf" srcId="{0EAB75E4-FFF4-42F1-B47E-D64598FAA563}" destId="{4B470827-F6AC-4AF5-9990-749B1F868A38}" srcOrd="0" destOrd="0" presId="urn:microsoft.com/office/officeart/2005/8/layout/hList1"/>
    <dgm:cxn modelId="{FDDCB8C9-F384-4E21-A200-7C2C1E8D6AD0}" type="presOf" srcId="{62D42052-AC85-4A87-96D4-4150C249069B}" destId="{CBD98650-F3B8-419C-88CD-033633D82A97}" srcOrd="0" destOrd="0" presId="urn:microsoft.com/office/officeart/2005/8/layout/hList1"/>
    <dgm:cxn modelId="{74A88FD0-E658-4BCB-AED8-3D02E3D9D142}" srcId="{71A2E1FA-5D83-443F-8DF8-22A39F13AA21}" destId="{4923A70B-C58C-4624-9BFB-23208173CEC4}" srcOrd="0" destOrd="0" parTransId="{15E080A9-8D2B-47BD-839A-C90994EB745D}" sibTransId="{7F5C1397-4E25-4ED8-A9B0-1F756116F46D}"/>
    <dgm:cxn modelId="{C7D857D7-9B75-4062-AD83-82B0A3E19F26}" srcId="{30B4DCE1-6ECC-4831-9DC9-7AB22368E85F}" destId="{562CC8F1-EC4A-42E9-AE64-D47593E4BAE6}" srcOrd="0" destOrd="0" parTransId="{1D3B60BC-E57A-4008-A9DA-760CF8F87C7E}" sibTransId="{E0E39015-06F5-414D-A062-44765F366358}"/>
    <dgm:cxn modelId="{D0D25CE1-2ABF-493E-896F-358DA01438B7}" srcId="{62D42052-AC85-4A87-96D4-4150C249069B}" destId="{71A2E1FA-5D83-443F-8DF8-22A39F13AA21}" srcOrd="1" destOrd="0" parTransId="{113188EF-3F0A-4E4C-A362-47A78C7A42BC}" sibTransId="{8EF252D3-B9E2-4F82-801F-7003DD37CFF3}"/>
    <dgm:cxn modelId="{D5587BFB-EEA2-4F03-970B-F605B4C4B111}" srcId="{71A2E1FA-5D83-443F-8DF8-22A39F13AA21}" destId="{BF19F41B-29A6-416B-B38B-E3BB3E70CFE9}" srcOrd="2" destOrd="0" parTransId="{C36C6EE3-384E-45E1-9430-A566F2BB1B7A}" sibTransId="{20546BAB-6503-4CB1-9E8B-DFB2090D2DBB}"/>
    <dgm:cxn modelId="{95052A44-37AF-44AE-9175-CC60BE87D1B5}" type="presParOf" srcId="{4B470827-F6AC-4AF5-9990-749B1F868A38}" destId="{949803C5-17FA-4A0A-89E5-94E086119D34}" srcOrd="0" destOrd="0" presId="urn:microsoft.com/office/officeart/2005/8/layout/hList1"/>
    <dgm:cxn modelId="{5D2A4BD4-48A5-4F83-874E-CEB17E2162CE}" type="presParOf" srcId="{949803C5-17FA-4A0A-89E5-94E086119D34}" destId="{CAD8EE0C-7F04-43A3-BB69-4287DED5DB06}" srcOrd="0" destOrd="0" presId="urn:microsoft.com/office/officeart/2005/8/layout/hList1"/>
    <dgm:cxn modelId="{4026EBC4-DDC2-45E9-B4F8-926BFD6F0DA6}" type="presParOf" srcId="{949803C5-17FA-4A0A-89E5-94E086119D34}" destId="{0F9E5E52-CAB5-46C2-8CF0-D8D116190E7D}" srcOrd="1" destOrd="0" presId="urn:microsoft.com/office/officeart/2005/8/layout/hList1"/>
    <dgm:cxn modelId="{3E50D472-892E-41C4-8548-7047F63B5F8E}" type="presParOf" srcId="{4B470827-F6AC-4AF5-9990-749B1F868A38}" destId="{17946970-F9CB-4F7C-A5CA-C5DC2B58D9D5}" srcOrd="1" destOrd="0" presId="urn:microsoft.com/office/officeart/2005/8/layout/hList1"/>
    <dgm:cxn modelId="{0AF7CAD6-DEF1-4182-AA1D-0083DCAD9097}" type="presParOf" srcId="{4B470827-F6AC-4AF5-9990-749B1F868A38}" destId="{D9E79FB9-B98B-41E5-A3E4-8BBF32ED1039}" srcOrd="2" destOrd="0" presId="urn:microsoft.com/office/officeart/2005/8/layout/hList1"/>
    <dgm:cxn modelId="{A3AE11BE-A03D-4629-941C-489E29B53DCF}" type="presParOf" srcId="{D9E79FB9-B98B-41E5-A3E4-8BBF32ED1039}" destId="{CBD98650-F3B8-419C-88CD-033633D82A97}" srcOrd="0" destOrd="0" presId="urn:microsoft.com/office/officeart/2005/8/layout/hList1"/>
    <dgm:cxn modelId="{BAE21AE0-3C1A-4903-8FB4-7981C9B180C5}" type="presParOf" srcId="{D9E79FB9-B98B-41E5-A3E4-8BBF32ED1039}" destId="{D88BAB86-542E-44C0-925D-B70C533A5AA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06D86A0-E0AD-49A1-B9A7-487F47154E5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180405BF-1C00-43AC-907C-095CC9DFB09F}">
      <dgm:prSet custT="1"/>
      <dgm:spPr/>
      <dgm:t>
        <a:bodyPr/>
        <a:lstStyle/>
        <a:p>
          <a:r>
            <a:rPr lang="en-US" sz="2400" baseline="0" dirty="0"/>
            <a:t>Indexes are logically aligned when they use partitioning column.</a:t>
          </a:r>
          <a:endParaRPr lang="en-US" sz="2400" dirty="0"/>
        </a:p>
      </dgm:t>
    </dgm:pt>
    <dgm:pt modelId="{6F8448B5-BD42-47B1-9C3D-EE895F95EFC3}" type="parTrans" cxnId="{A1F92CA2-3822-4531-AD90-41AA8F9961D4}">
      <dgm:prSet/>
      <dgm:spPr/>
      <dgm:t>
        <a:bodyPr/>
        <a:lstStyle/>
        <a:p>
          <a:endParaRPr lang="en-US"/>
        </a:p>
      </dgm:t>
    </dgm:pt>
    <dgm:pt modelId="{42FF2364-6A57-4F93-9353-183ACC8641F3}" type="sibTrans" cxnId="{A1F92CA2-3822-4531-AD90-41AA8F9961D4}">
      <dgm:prSet/>
      <dgm:spPr/>
      <dgm:t>
        <a:bodyPr/>
        <a:lstStyle/>
        <a:p>
          <a:endParaRPr lang="en-US"/>
        </a:p>
      </dgm:t>
    </dgm:pt>
    <dgm:pt modelId="{DDA90A8A-A371-4AE7-8681-EBEBE7468EF9}">
      <dgm:prSet custT="1"/>
      <dgm:spPr/>
      <dgm:t>
        <a:bodyPr/>
        <a:lstStyle/>
        <a:p>
          <a:r>
            <a:rPr lang="en-US" sz="2400" baseline="0"/>
            <a:t>Storage Alignment</a:t>
          </a:r>
          <a:endParaRPr lang="en-US" sz="2400"/>
        </a:p>
      </dgm:t>
    </dgm:pt>
    <dgm:pt modelId="{3639FBA2-17D0-4585-9261-9C94EFBE20C3}" type="parTrans" cxnId="{01D21E1A-2B77-40E9-8359-6F0DB21445D9}">
      <dgm:prSet/>
      <dgm:spPr/>
      <dgm:t>
        <a:bodyPr/>
        <a:lstStyle/>
        <a:p>
          <a:endParaRPr lang="en-US"/>
        </a:p>
      </dgm:t>
    </dgm:pt>
    <dgm:pt modelId="{1E910E21-73B7-4889-9040-2D3F5E132CD7}" type="sibTrans" cxnId="{01D21E1A-2B77-40E9-8359-6F0DB21445D9}">
      <dgm:prSet/>
      <dgm:spPr/>
      <dgm:t>
        <a:bodyPr/>
        <a:lstStyle/>
        <a:p>
          <a:endParaRPr lang="en-US"/>
        </a:p>
      </dgm:t>
    </dgm:pt>
    <dgm:pt modelId="{39CA53DF-48EB-4FB8-B7AA-46BC2FC667E8}">
      <dgm:prSet custT="1"/>
      <dgm:spPr/>
      <dgm:t>
        <a:bodyPr/>
        <a:lstStyle/>
        <a:p>
          <a:r>
            <a:rPr lang="en-US" sz="2400" baseline="0"/>
            <a:t>By default, indexes will be created ON the partition scheme – ‘storage aligned’ indexes.</a:t>
          </a:r>
          <a:endParaRPr lang="en-US" sz="2400"/>
        </a:p>
      </dgm:t>
    </dgm:pt>
    <dgm:pt modelId="{83345C74-5854-4881-8823-8057A2215FA4}" type="parTrans" cxnId="{F2329CDB-442E-4005-9C0E-4D11950F4A75}">
      <dgm:prSet/>
      <dgm:spPr/>
      <dgm:t>
        <a:bodyPr/>
        <a:lstStyle/>
        <a:p>
          <a:endParaRPr lang="en-US"/>
        </a:p>
      </dgm:t>
    </dgm:pt>
    <dgm:pt modelId="{12E81524-189F-4012-8DE2-3E2BB6821D5C}" type="sibTrans" cxnId="{F2329CDB-442E-4005-9C0E-4D11950F4A75}">
      <dgm:prSet/>
      <dgm:spPr/>
      <dgm:t>
        <a:bodyPr/>
        <a:lstStyle/>
        <a:p>
          <a:endParaRPr lang="en-US"/>
        </a:p>
      </dgm:t>
    </dgm:pt>
    <dgm:pt modelId="{67A0335A-73D2-414C-B54F-C669EA647E81}">
      <dgm:prSet custT="1"/>
      <dgm:spPr/>
      <dgm:t>
        <a:bodyPr/>
        <a:lstStyle/>
        <a:p>
          <a:r>
            <a:rPr lang="en-US" sz="2400"/>
            <a:t>Logical Alignment</a:t>
          </a:r>
        </a:p>
      </dgm:t>
    </dgm:pt>
    <dgm:pt modelId="{EF7373B4-8C04-4E2C-B54C-C824B1AC4C1F}" type="parTrans" cxnId="{E872C732-CB60-4B62-B273-C006C8AD1436}">
      <dgm:prSet/>
      <dgm:spPr/>
      <dgm:t>
        <a:bodyPr/>
        <a:lstStyle/>
        <a:p>
          <a:endParaRPr lang="en-US"/>
        </a:p>
      </dgm:t>
    </dgm:pt>
    <dgm:pt modelId="{FAC6F08E-5ECD-4B45-84EE-95F7223CCB62}" type="sibTrans" cxnId="{E872C732-CB60-4B62-B273-C006C8AD1436}">
      <dgm:prSet/>
      <dgm:spPr/>
      <dgm:t>
        <a:bodyPr/>
        <a:lstStyle/>
        <a:p>
          <a:endParaRPr lang="en-US"/>
        </a:p>
      </dgm:t>
    </dgm:pt>
    <dgm:pt modelId="{CF23E68B-14E6-48A8-A0BE-46AB4F366A72}">
      <dgm:prSet custT="1"/>
      <dgm:spPr/>
      <dgm:t>
        <a:bodyPr/>
        <a:lstStyle/>
        <a:p>
          <a:r>
            <a:rPr lang="en-US" sz="2400" baseline="0"/>
            <a:t>Indexes are storage aligned when created on the same partitioning scheme.</a:t>
          </a:r>
          <a:endParaRPr lang="en-US" sz="2400"/>
        </a:p>
      </dgm:t>
    </dgm:pt>
    <dgm:pt modelId="{FB27E00C-5A24-4FF9-B4F8-E4AB4B85DA03}" type="parTrans" cxnId="{09D10237-567B-42A1-A8C0-4599A7FB6E58}">
      <dgm:prSet/>
      <dgm:spPr/>
      <dgm:t>
        <a:bodyPr/>
        <a:lstStyle/>
        <a:p>
          <a:endParaRPr lang="en-US"/>
        </a:p>
      </dgm:t>
    </dgm:pt>
    <dgm:pt modelId="{460E5F59-ECB0-4944-9F33-FE8CEFC479D6}" type="sibTrans" cxnId="{09D10237-567B-42A1-A8C0-4599A7FB6E58}">
      <dgm:prSet/>
      <dgm:spPr/>
      <dgm:t>
        <a:bodyPr/>
        <a:lstStyle/>
        <a:p>
          <a:endParaRPr lang="en-US"/>
        </a:p>
      </dgm:t>
    </dgm:pt>
    <dgm:pt modelId="{12DA73DF-D65E-400A-9022-49F7AF9B16C4}" type="pres">
      <dgm:prSet presAssocID="{006D86A0-E0AD-49A1-B9A7-487F47154E52}" presName="Name0" presStyleCnt="0">
        <dgm:presLayoutVars>
          <dgm:dir/>
          <dgm:animLvl val="lvl"/>
          <dgm:resizeHandles val="exact"/>
        </dgm:presLayoutVars>
      </dgm:prSet>
      <dgm:spPr/>
    </dgm:pt>
    <dgm:pt modelId="{3233186A-0D85-4F94-A983-597753C54E53}" type="pres">
      <dgm:prSet presAssocID="{67A0335A-73D2-414C-B54F-C669EA647E81}" presName="composite" presStyleCnt="0"/>
      <dgm:spPr/>
    </dgm:pt>
    <dgm:pt modelId="{79520E91-5606-4357-BB3B-60E8FE92AC93}" type="pres">
      <dgm:prSet presAssocID="{67A0335A-73D2-414C-B54F-C669EA647E81}" presName="parTx" presStyleLbl="alignNode1" presStyleIdx="0" presStyleCnt="2">
        <dgm:presLayoutVars>
          <dgm:chMax val="0"/>
          <dgm:chPref val="0"/>
          <dgm:bulletEnabled val="1"/>
        </dgm:presLayoutVars>
      </dgm:prSet>
      <dgm:spPr/>
    </dgm:pt>
    <dgm:pt modelId="{413827D7-DEB7-427C-8E7C-66D8A93F73BD}" type="pres">
      <dgm:prSet presAssocID="{67A0335A-73D2-414C-B54F-C669EA647E81}" presName="desTx" presStyleLbl="alignAccFollowNode1" presStyleIdx="0" presStyleCnt="2">
        <dgm:presLayoutVars>
          <dgm:bulletEnabled val="1"/>
        </dgm:presLayoutVars>
      </dgm:prSet>
      <dgm:spPr/>
    </dgm:pt>
    <dgm:pt modelId="{71950F0D-35B5-457E-AEAD-4B716F174E1A}" type="pres">
      <dgm:prSet presAssocID="{FAC6F08E-5ECD-4B45-84EE-95F7223CCB62}" presName="space" presStyleCnt="0"/>
      <dgm:spPr/>
    </dgm:pt>
    <dgm:pt modelId="{B7A5764E-AC29-4B74-8255-18DA42FA78EC}" type="pres">
      <dgm:prSet presAssocID="{DDA90A8A-A371-4AE7-8681-EBEBE7468EF9}" presName="composite" presStyleCnt="0"/>
      <dgm:spPr/>
    </dgm:pt>
    <dgm:pt modelId="{63DF79E6-9770-4748-A103-5CC2CB407A57}" type="pres">
      <dgm:prSet presAssocID="{DDA90A8A-A371-4AE7-8681-EBEBE7468EF9}" presName="parTx" presStyleLbl="alignNode1" presStyleIdx="1" presStyleCnt="2">
        <dgm:presLayoutVars>
          <dgm:chMax val="0"/>
          <dgm:chPref val="0"/>
          <dgm:bulletEnabled val="1"/>
        </dgm:presLayoutVars>
      </dgm:prSet>
      <dgm:spPr/>
    </dgm:pt>
    <dgm:pt modelId="{C576C4B4-D5AE-41D7-945B-1B13066CC5E2}" type="pres">
      <dgm:prSet presAssocID="{DDA90A8A-A371-4AE7-8681-EBEBE7468EF9}" presName="desTx" presStyleLbl="alignAccFollowNode1" presStyleIdx="1" presStyleCnt="2">
        <dgm:presLayoutVars>
          <dgm:bulletEnabled val="1"/>
        </dgm:presLayoutVars>
      </dgm:prSet>
      <dgm:spPr/>
    </dgm:pt>
  </dgm:ptLst>
  <dgm:cxnLst>
    <dgm:cxn modelId="{C4E29E19-3B9D-4CA5-845D-146D0F76E0E4}" type="presOf" srcId="{180405BF-1C00-43AC-907C-095CC9DFB09F}" destId="{413827D7-DEB7-427C-8E7C-66D8A93F73BD}" srcOrd="0" destOrd="0" presId="urn:microsoft.com/office/officeart/2005/8/layout/hList1"/>
    <dgm:cxn modelId="{01D21E1A-2B77-40E9-8359-6F0DB21445D9}" srcId="{006D86A0-E0AD-49A1-B9A7-487F47154E52}" destId="{DDA90A8A-A371-4AE7-8681-EBEBE7468EF9}" srcOrd="1" destOrd="0" parTransId="{3639FBA2-17D0-4585-9261-9C94EFBE20C3}" sibTransId="{1E910E21-73B7-4889-9040-2D3F5E132CD7}"/>
    <dgm:cxn modelId="{B9372D1E-993D-435B-AC73-9AF5E9ED459B}" type="presOf" srcId="{CF23E68B-14E6-48A8-A0BE-46AB4F366A72}" destId="{C576C4B4-D5AE-41D7-945B-1B13066CC5E2}" srcOrd="0" destOrd="0" presId="urn:microsoft.com/office/officeart/2005/8/layout/hList1"/>
    <dgm:cxn modelId="{5DAA2E2D-7851-4D1F-9400-D7CEAA7916BD}" type="presOf" srcId="{DDA90A8A-A371-4AE7-8681-EBEBE7468EF9}" destId="{63DF79E6-9770-4748-A103-5CC2CB407A57}" srcOrd="0" destOrd="0" presId="urn:microsoft.com/office/officeart/2005/8/layout/hList1"/>
    <dgm:cxn modelId="{E872C732-CB60-4B62-B273-C006C8AD1436}" srcId="{006D86A0-E0AD-49A1-B9A7-487F47154E52}" destId="{67A0335A-73D2-414C-B54F-C669EA647E81}" srcOrd="0" destOrd="0" parTransId="{EF7373B4-8C04-4E2C-B54C-C824B1AC4C1F}" sibTransId="{FAC6F08E-5ECD-4B45-84EE-95F7223CCB62}"/>
    <dgm:cxn modelId="{09D10237-567B-42A1-A8C0-4599A7FB6E58}" srcId="{DDA90A8A-A371-4AE7-8681-EBEBE7468EF9}" destId="{CF23E68B-14E6-48A8-A0BE-46AB4F366A72}" srcOrd="0" destOrd="0" parTransId="{FB27E00C-5A24-4FF9-B4F8-E4AB4B85DA03}" sibTransId="{460E5F59-ECB0-4944-9F33-FE8CEFC479D6}"/>
    <dgm:cxn modelId="{B6BA5A3A-11ED-4DA3-A5DA-2138DD2A459C}" type="presOf" srcId="{006D86A0-E0AD-49A1-B9A7-487F47154E52}" destId="{12DA73DF-D65E-400A-9022-49F7AF9B16C4}" srcOrd="0" destOrd="0" presId="urn:microsoft.com/office/officeart/2005/8/layout/hList1"/>
    <dgm:cxn modelId="{3F6A7173-1815-4FB9-B18B-1BCA90E37766}" type="presOf" srcId="{67A0335A-73D2-414C-B54F-C669EA647E81}" destId="{79520E91-5606-4357-BB3B-60E8FE92AC93}" srcOrd="0" destOrd="0" presId="urn:microsoft.com/office/officeart/2005/8/layout/hList1"/>
    <dgm:cxn modelId="{A1F92CA2-3822-4531-AD90-41AA8F9961D4}" srcId="{67A0335A-73D2-414C-B54F-C669EA647E81}" destId="{180405BF-1C00-43AC-907C-095CC9DFB09F}" srcOrd="0" destOrd="0" parTransId="{6F8448B5-BD42-47B1-9C3D-EE895F95EFC3}" sibTransId="{42FF2364-6A57-4F93-9353-183ACC8641F3}"/>
    <dgm:cxn modelId="{270E84D7-D44E-443E-AD93-8D9F16B4ADF2}" type="presOf" srcId="{39CA53DF-48EB-4FB8-B7AA-46BC2FC667E8}" destId="{C576C4B4-D5AE-41D7-945B-1B13066CC5E2}" srcOrd="0" destOrd="1" presId="urn:microsoft.com/office/officeart/2005/8/layout/hList1"/>
    <dgm:cxn modelId="{F2329CDB-442E-4005-9C0E-4D11950F4A75}" srcId="{DDA90A8A-A371-4AE7-8681-EBEBE7468EF9}" destId="{39CA53DF-48EB-4FB8-B7AA-46BC2FC667E8}" srcOrd="1" destOrd="0" parTransId="{83345C74-5854-4881-8823-8057A2215FA4}" sibTransId="{12E81524-189F-4012-8DE2-3E2BB6821D5C}"/>
    <dgm:cxn modelId="{91CEAF06-E482-4507-A311-70A04A3E3D0A}" type="presParOf" srcId="{12DA73DF-D65E-400A-9022-49F7AF9B16C4}" destId="{3233186A-0D85-4F94-A983-597753C54E53}" srcOrd="0" destOrd="0" presId="urn:microsoft.com/office/officeart/2005/8/layout/hList1"/>
    <dgm:cxn modelId="{87C74611-161B-4284-A459-7ABF038DD494}" type="presParOf" srcId="{3233186A-0D85-4F94-A983-597753C54E53}" destId="{79520E91-5606-4357-BB3B-60E8FE92AC93}" srcOrd="0" destOrd="0" presId="urn:microsoft.com/office/officeart/2005/8/layout/hList1"/>
    <dgm:cxn modelId="{60ADCDBC-C364-4951-B80D-F2B1ABC6630C}" type="presParOf" srcId="{3233186A-0D85-4F94-A983-597753C54E53}" destId="{413827D7-DEB7-427C-8E7C-66D8A93F73BD}" srcOrd="1" destOrd="0" presId="urn:microsoft.com/office/officeart/2005/8/layout/hList1"/>
    <dgm:cxn modelId="{97DAEE3F-8C3B-4DEB-A515-58393CC4A49A}" type="presParOf" srcId="{12DA73DF-D65E-400A-9022-49F7AF9B16C4}" destId="{71950F0D-35B5-457E-AEAD-4B716F174E1A}" srcOrd="1" destOrd="0" presId="urn:microsoft.com/office/officeart/2005/8/layout/hList1"/>
    <dgm:cxn modelId="{7057B8C9-6AE5-45F2-BF2B-B0B2FC1F2316}" type="presParOf" srcId="{12DA73DF-D65E-400A-9022-49F7AF9B16C4}" destId="{B7A5764E-AC29-4B74-8255-18DA42FA78EC}" srcOrd="2" destOrd="0" presId="urn:microsoft.com/office/officeart/2005/8/layout/hList1"/>
    <dgm:cxn modelId="{8E2E8E97-6152-4607-8DFE-43C6BA0B0869}" type="presParOf" srcId="{B7A5764E-AC29-4B74-8255-18DA42FA78EC}" destId="{63DF79E6-9770-4748-A103-5CC2CB407A57}" srcOrd="0" destOrd="0" presId="urn:microsoft.com/office/officeart/2005/8/layout/hList1"/>
    <dgm:cxn modelId="{F27C8E4C-4B7B-4891-9A3C-240C1B9B22C6}" type="presParOf" srcId="{B7A5764E-AC29-4B74-8255-18DA42FA78EC}" destId="{C576C4B4-D5AE-41D7-945B-1B13066CC5E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41556ACD-E1A5-4B29-9504-D8AEB7027567}">
      <dgm:prSet/>
      <dgm:spPr/>
      <dgm:t>
        <a:bodyPr/>
        <a:lstStyle/>
        <a:p>
          <a:r>
            <a:rPr lang="en-US" baseline="0" dirty="0"/>
            <a:t>A SARGable item in a search predicate is able to use an index.</a:t>
          </a:r>
          <a:endParaRPr lang="en-US" dirty="0"/>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aseline="0" dirty="0"/>
            <a:t>Non-SARGable expressions can significantly slow down queries.</a:t>
          </a:r>
          <a:endParaRPr lang="en-US" dirty="0"/>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custLinFactNeighborX="1342" custLinFactNeighborY="-137">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AC3F23BD-BE76-413F-9AF3-421901E144D9}"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5BEED9E1-6F14-468A-B4E7-660138058FBD}">
      <dgm:prSet/>
      <dgm:spPr/>
      <dgm:t>
        <a:bodyPr/>
        <a:lstStyle/>
        <a:p>
          <a:r>
            <a:rPr lang="en-US" baseline="0"/>
            <a:t>SWITCH  </a:t>
          </a:r>
          <a:endParaRPr lang="en-US"/>
        </a:p>
      </dgm:t>
    </dgm:pt>
    <dgm:pt modelId="{C064591C-D7A4-4C81-9943-34B9197DC841}" type="parTrans" cxnId="{331B4762-39B4-42EB-9F2C-815260B2A1D7}">
      <dgm:prSet/>
      <dgm:spPr/>
      <dgm:t>
        <a:bodyPr/>
        <a:lstStyle/>
        <a:p>
          <a:endParaRPr lang="en-US"/>
        </a:p>
      </dgm:t>
    </dgm:pt>
    <dgm:pt modelId="{DFED6CBE-D096-47EA-9837-8D770BA95A77}" type="sibTrans" cxnId="{331B4762-39B4-42EB-9F2C-815260B2A1D7}">
      <dgm:prSet/>
      <dgm:spPr/>
      <dgm:t>
        <a:bodyPr/>
        <a:lstStyle/>
        <a:p>
          <a:endParaRPr lang="en-US"/>
        </a:p>
      </dgm:t>
    </dgm:pt>
    <dgm:pt modelId="{9DE5B3A2-1B62-411B-B5FE-0EEA0ABB159A}">
      <dgm:prSet/>
      <dgm:spPr/>
      <dgm:t>
        <a:bodyPr/>
        <a:lstStyle/>
        <a:p>
          <a:r>
            <a:rPr lang="en-US" baseline="0"/>
            <a:t>Uses staging table</a:t>
          </a:r>
          <a:endParaRPr lang="en-US"/>
        </a:p>
      </dgm:t>
    </dgm:pt>
    <dgm:pt modelId="{CCB93B28-AA9F-466D-A78B-6D1282F9E56A}" type="parTrans" cxnId="{67E7AC36-8647-4EEF-9531-20FAA1B63124}">
      <dgm:prSet/>
      <dgm:spPr/>
      <dgm:t>
        <a:bodyPr/>
        <a:lstStyle/>
        <a:p>
          <a:endParaRPr lang="en-US"/>
        </a:p>
      </dgm:t>
    </dgm:pt>
    <dgm:pt modelId="{6C532DAF-1942-4544-A220-0D3EEAD014D5}" type="sibTrans" cxnId="{67E7AC36-8647-4EEF-9531-20FAA1B63124}">
      <dgm:prSet/>
      <dgm:spPr/>
      <dgm:t>
        <a:bodyPr/>
        <a:lstStyle/>
        <a:p>
          <a:endParaRPr lang="en-US"/>
        </a:p>
      </dgm:t>
    </dgm:pt>
    <dgm:pt modelId="{E57602CD-7463-4156-99C9-28A51F11DDB4}">
      <dgm:prSet/>
      <dgm:spPr/>
      <dgm:t>
        <a:bodyPr/>
        <a:lstStyle/>
        <a:p>
          <a:r>
            <a:rPr lang="en-US" baseline="0"/>
            <a:t>MERGE</a:t>
          </a:r>
          <a:endParaRPr lang="en-US"/>
        </a:p>
      </dgm:t>
    </dgm:pt>
    <dgm:pt modelId="{4A83AF51-0A02-4B90-B644-47B363AAAA5C}" type="parTrans" cxnId="{F401FD43-BC98-43E6-8606-928292F14785}">
      <dgm:prSet/>
      <dgm:spPr/>
      <dgm:t>
        <a:bodyPr/>
        <a:lstStyle/>
        <a:p>
          <a:endParaRPr lang="en-US"/>
        </a:p>
      </dgm:t>
    </dgm:pt>
    <dgm:pt modelId="{53D3467A-8340-4C9D-BACC-CA405C84FFFF}" type="sibTrans" cxnId="{F401FD43-BC98-43E6-8606-928292F14785}">
      <dgm:prSet/>
      <dgm:spPr/>
      <dgm:t>
        <a:bodyPr/>
        <a:lstStyle/>
        <a:p>
          <a:endParaRPr lang="en-US"/>
        </a:p>
      </dgm:t>
    </dgm:pt>
    <dgm:pt modelId="{8FACF4DE-40E6-42FD-BFE9-6134DD254E32}">
      <dgm:prSet/>
      <dgm:spPr/>
      <dgm:t>
        <a:bodyPr/>
        <a:lstStyle/>
        <a:p>
          <a:r>
            <a:rPr lang="en-US" baseline="0" dirty="0"/>
            <a:t>Used to eliminate an empty partition, by merging it with another partition</a:t>
          </a:r>
          <a:endParaRPr lang="en-US" dirty="0"/>
        </a:p>
      </dgm:t>
    </dgm:pt>
    <dgm:pt modelId="{7E7DB909-A2A9-4F17-BA86-FEBDDA9A094F}" type="parTrans" cxnId="{00B9A5A6-7685-4ADB-A61F-078E96A9A46F}">
      <dgm:prSet/>
      <dgm:spPr/>
      <dgm:t>
        <a:bodyPr/>
        <a:lstStyle/>
        <a:p>
          <a:endParaRPr lang="en-US"/>
        </a:p>
      </dgm:t>
    </dgm:pt>
    <dgm:pt modelId="{A5099C19-2B6B-49CB-A732-C858C8E972BD}" type="sibTrans" cxnId="{00B9A5A6-7685-4ADB-A61F-078E96A9A46F}">
      <dgm:prSet/>
      <dgm:spPr/>
      <dgm:t>
        <a:bodyPr/>
        <a:lstStyle/>
        <a:p>
          <a:endParaRPr lang="en-US"/>
        </a:p>
      </dgm:t>
    </dgm:pt>
    <dgm:pt modelId="{5B5CDF1D-D769-4672-B8D5-D483979612B5}">
      <dgm:prSet/>
      <dgm:spPr/>
      <dgm:t>
        <a:bodyPr/>
        <a:lstStyle/>
        <a:p>
          <a:r>
            <a:rPr lang="en-US" baseline="0"/>
            <a:t>SPLIT</a:t>
          </a:r>
          <a:endParaRPr lang="en-US"/>
        </a:p>
      </dgm:t>
    </dgm:pt>
    <dgm:pt modelId="{596EC9FD-2202-4367-955D-71E9B938C98C}" type="parTrans" cxnId="{98412DFE-493A-4833-BDA6-48BBECB4305E}">
      <dgm:prSet/>
      <dgm:spPr/>
      <dgm:t>
        <a:bodyPr/>
        <a:lstStyle/>
        <a:p>
          <a:endParaRPr lang="en-US"/>
        </a:p>
      </dgm:t>
    </dgm:pt>
    <dgm:pt modelId="{4B747DA0-81B5-4BDE-9027-79C88F3825AF}" type="sibTrans" cxnId="{98412DFE-493A-4833-BDA6-48BBECB4305E}">
      <dgm:prSet/>
      <dgm:spPr/>
      <dgm:t>
        <a:bodyPr/>
        <a:lstStyle/>
        <a:p>
          <a:endParaRPr lang="en-US"/>
        </a:p>
      </dgm:t>
    </dgm:pt>
    <dgm:pt modelId="{6DBF2712-DF31-4376-A577-0E25F4917D56}">
      <dgm:prSet/>
      <dgm:spPr/>
      <dgm:t>
        <a:bodyPr/>
        <a:lstStyle/>
        <a:p>
          <a:r>
            <a:rPr lang="en-US" baseline="0"/>
            <a:t>Used to create a new empty partition from an existing partition</a:t>
          </a:r>
          <a:endParaRPr lang="en-US"/>
        </a:p>
      </dgm:t>
    </dgm:pt>
    <dgm:pt modelId="{D191F03C-B1EB-4C8A-9529-0A6BA36E5B33}" type="parTrans" cxnId="{4E9FD9C0-775D-4041-8F95-03BE230C498A}">
      <dgm:prSet/>
      <dgm:spPr/>
      <dgm:t>
        <a:bodyPr/>
        <a:lstStyle/>
        <a:p>
          <a:endParaRPr lang="en-US"/>
        </a:p>
      </dgm:t>
    </dgm:pt>
    <dgm:pt modelId="{9917D713-DE53-4117-8604-EB9F4C5A276A}" type="sibTrans" cxnId="{4E9FD9C0-775D-4041-8F95-03BE230C498A}">
      <dgm:prSet/>
      <dgm:spPr/>
      <dgm:t>
        <a:bodyPr/>
        <a:lstStyle/>
        <a:p>
          <a:endParaRPr lang="en-US"/>
        </a:p>
      </dgm:t>
    </dgm:pt>
    <dgm:pt modelId="{F7CC7828-0E69-4A6D-A081-590DBC19EDC2}">
      <dgm:prSet/>
      <dgm:spPr/>
      <dgm:t>
        <a:bodyPr/>
        <a:lstStyle/>
        <a:p>
          <a:r>
            <a:rPr lang="en-US" baseline="0"/>
            <a:t>MUST have same schema as Partitioned table</a:t>
          </a:r>
          <a:endParaRPr lang="en-US"/>
        </a:p>
      </dgm:t>
    </dgm:pt>
    <dgm:pt modelId="{C8C55A2B-2493-48B7-B701-F397C12D1053}" type="parTrans" cxnId="{61634D0E-E192-4842-B7C8-B00F7876BB7C}">
      <dgm:prSet/>
      <dgm:spPr/>
      <dgm:t>
        <a:bodyPr/>
        <a:lstStyle/>
        <a:p>
          <a:endParaRPr lang="en-US"/>
        </a:p>
      </dgm:t>
    </dgm:pt>
    <dgm:pt modelId="{0104D313-4987-4E25-9D7D-020D51E3018A}" type="sibTrans" cxnId="{61634D0E-E192-4842-B7C8-B00F7876BB7C}">
      <dgm:prSet/>
      <dgm:spPr/>
      <dgm:t>
        <a:bodyPr/>
        <a:lstStyle/>
        <a:p>
          <a:endParaRPr lang="en-US"/>
        </a:p>
      </dgm:t>
    </dgm:pt>
    <dgm:pt modelId="{82B0C68B-1A71-4FDB-BDDA-93E146E9A7C6}" type="pres">
      <dgm:prSet presAssocID="{AC3F23BD-BE76-413F-9AF3-421901E144D9}" presName="Name0" presStyleCnt="0">
        <dgm:presLayoutVars>
          <dgm:dir/>
          <dgm:animLvl val="lvl"/>
          <dgm:resizeHandles val="exact"/>
        </dgm:presLayoutVars>
      </dgm:prSet>
      <dgm:spPr/>
    </dgm:pt>
    <dgm:pt modelId="{1D3EF5E0-0017-41AD-B2F4-9E85B17B5BC6}" type="pres">
      <dgm:prSet presAssocID="{5BEED9E1-6F14-468A-B4E7-660138058FBD}" presName="composite" presStyleCnt="0"/>
      <dgm:spPr/>
    </dgm:pt>
    <dgm:pt modelId="{D4857AEA-4F31-4139-BBF0-04DB9538D05D}" type="pres">
      <dgm:prSet presAssocID="{5BEED9E1-6F14-468A-B4E7-660138058FBD}" presName="parTx" presStyleLbl="alignNode1" presStyleIdx="0" presStyleCnt="3">
        <dgm:presLayoutVars>
          <dgm:chMax val="0"/>
          <dgm:chPref val="0"/>
          <dgm:bulletEnabled val="1"/>
        </dgm:presLayoutVars>
      </dgm:prSet>
      <dgm:spPr/>
    </dgm:pt>
    <dgm:pt modelId="{DA866CE6-D326-4D8A-BAD6-91130FFAAD06}" type="pres">
      <dgm:prSet presAssocID="{5BEED9E1-6F14-468A-B4E7-660138058FBD}" presName="desTx" presStyleLbl="alignAccFollowNode1" presStyleIdx="0" presStyleCnt="3">
        <dgm:presLayoutVars>
          <dgm:bulletEnabled val="1"/>
        </dgm:presLayoutVars>
      </dgm:prSet>
      <dgm:spPr/>
    </dgm:pt>
    <dgm:pt modelId="{389E377E-9940-46CC-B048-4AF5CB3831CF}" type="pres">
      <dgm:prSet presAssocID="{DFED6CBE-D096-47EA-9837-8D770BA95A77}" presName="space" presStyleCnt="0"/>
      <dgm:spPr/>
    </dgm:pt>
    <dgm:pt modelId="{17D8CAF6-3ED6-4685-9F16-713168961432}" type="pres">
      <dgm:prSet presAssocID="{E57602CD-7463-4156-99C9-28A51F11DDB4}" presName="composite" presStyleCnt="0"/>
      <dgm:spPr/>
    </dgm:pt>
    <dgm:pt modelId="{1471983A-8C8B-43C6-A6F7-4ABD1271CAFE}" type="pres">
      <dgm:prSet presAssocID="{E57602CD-7463-4156-99C9-28A51F11DDB4}" presName="parTx" presStyleLbl="alignNode1" presStyleIdx="1" presStyleCnt="3">
        <dgm:presLayoutVars>
          <dgm:chMax val="0"/>
          <dgm:chPref val="0"/>
          <dgm:bulletEnabled val="1"/>
        </dgm:presLayoutVars>
      </dgm:prSet>
      <dgm:spPr/>
    </dgm:pt>
    <dgm:pt modelId="{0F9FE860-7545-4DB7-BF18-CE47F5B61FD8}" type="pres">
      <dgm:prSet presAssocID="{E57602CD-7463-4156-99C9-28A51F11DDB4}" presName="desTx" presStyleLbl="alignAccFollowNode1" presStyleIdx="1" presStyleCnt="3">
        <dgm:presLayoutVars>
          <dgm:bulletEnabled val="1"/>
        </dgm:presLayoutVars>
      </dgm:prSet>
      <dgm:spPr/>
    </dgm:pt>
    <dgm:pt modelId="{EA800A51-30F7-440A-BD44-7E84F9C428A7}" type="pres">
      <dgm:prSet presAssocID="{53D3467A-8340-4C9D-BACC-CA405C84FFFF}" presName="space" presStyleCnt="0"/>
      <dgm:spPr/>
    </dgm:pt>
    <dgm:pt modelId="{F3C4C7F8-EABC-4987-8E65-7BD7B2266B34}" type="pres">
      <dgm:prSet presAssocID="{5B5CDF1D-D769-4672-B8D5-D483979612B5}" presName="composite" presStyleCnt="0"/>
      <dgm:spPr/>
    </dgm:pt>
    <dgm:pt modelId="{63B3C317-A2CF-4A88-A8F3-EC6802DC6707}" type="pres">
      <dgm:prSet presAssocID="{5B5CDF1D-D769-4672-B8D5-D483979612B5}" presName="parTx" presStyleLbl="alignNode1" presStyleIdx="2" presStyleCnt="3">
        <dgm:presLayoutVars>
          <dgm:chMax val="0"/>
          <dgm:chPref val="0"/>
          <dgm:bulletEnabled val="1"/>
        </dgm:presLayoutVars>
      </dgm:prSet>
      <dgm:spPr/>
    </dgm:pt>
    <dgm:pt modelId="{1E512FB7-39B5-4733-9AAC-365FCA673D9F}" type="pres">
      <dgm:prSet presAssocID="{5B5CDF1D-D769-4672-B8D5-D483979612B5}" presName="desTx" presStyleLbl="alignAccFollowNode1" presStyleIdx="2" presStyleCnt="3">
        <dgm:presLayoutVars>
          <dgm:bulletEnabled val="1"/>
        </dgm:presLayoutVars>
      </dgm:prSet>
      <dgm:spPr/>
    </dgm:pt>
  </dgm:ptLst>
  <dgm:cxnLst>
    <dgm:cxn modelId="{61634D0E-E192-4842-B7C8-B00F7876BB7C}" srcId="{5BEED9E1-6F14-468A-B4E7-660138058FBD}" destId="{F7CC7828-0E69-4A6D-A081-590DBC19EDC2}" srcOrd="1" destOrd="0" parTransId="{C8C55A2B-2493-48B7-B701-F397C12D1053}" sibTransId="{0104D313-4987-4E25-9D7D-020D51E3018A}"/>
    <dgm:cxn modelId="{A20E2F11-989A-427D-9E5F-0879FA12B8E8}" type="presOf" srcId="{5BEED9E1-6F14-468A-B4E7-660138058FBD}" destId="{D4857AEA-4F31-4139-BBF0-04DB9538D05D}" srcOrd="0" destOrd="0" presId="urn:microsoft.com/office/officeart/2005/8/layout/hList1"/>
    <dgm:cxn modelId="{67E7AC36-8647-4EEF-9531-20FAA1B63124}" srcId="{5BEED9E1-6F14-468A-B4E7-660138058FBD}" destId="{9DE5B3A2-1B62-411B-B5FE-0EEA0ABB159A}" srcOrd="0" destOrd="0" parTransId="{CCB93B28-AA9F-466D-A78B-6D1282F9E56A}" sibTransId="{6C532DAF-1942-4544-A220-0D3EEAD014D5}"/>
    <dgm:cxn modelId="{372F7B5D-B1B3-4037-8276-5AC3244F2553}" type="presOf" srcId="{9DE5B3A2-1B62-411B-B5FE-0EEA0ABB159A}" destId="{DA866CE6-D326-4D8A-BAD6-91130FFAAD06}" srcOrd="0" destOrd="0" presId="urn:microsoft.com/office/officeart/2005/8/layout/hList1"/>
    <dgm:cxn modelId="{331B4762-39B4-42EB-9F2C-815260B2A1D7}" srcId="{AC3F23BD-BE76-413F-9AF3-421901E144D9}" destId="{5BEED9E1-6F14-468A-B4E7-660138058FBD}" srcOrd="0" destOrd="0" parTransId="{C064591C-D7A4-4C81-9943-34B9197DC841}" sibTransId="{DFED6CBE-D096-47EA-9837-8D770BA95A77}"/>
    <dgm:cxn modelId="{F401FD43-BC98-43E6-8606-928292F14785}" srcId="{AC3F23BD-BE76-413F-9AF3-421901E144D9}" destId="{E57602CD-7463-4156-99C9-28A51F11DDB4}" srcOrd="1" destOrd="0" parTransId="{4A83AF51-0A02-4B90-B644-47B363AAAA5C}" sibTransId="{53D3467A-8340-4C9D-BACC-CA405C84FFFF}"/>
    <dgm:cxn modelId="{58AA5B46-F34C-41F9-8536-674590D29222}" type="presOf" srcId="{8FACF4DE-40E6-42FD-BFE9-6134DD254E32}" destId="{0F9FE860-7545-4DB7-BF18-CE47F5B61FD8}" srcOrd="0" destOrd="0" presId="urn:microsoft.com/office/officeart/2005/8/layout/hList1"/>
    <dgm:cxn modelId="{CBAA917B-58DC-4FB5-BED5-EF94CE584FE4}" type="presOf" srcId="{6DBF2712-DF31-4376-A577-0E25F4917D56}" destId="{1E512FB7-39B5-4733-9AAC-365FCA673D9F}" srcOrd="0" destOrd="0" presId="urn:microsoft.com/office/officeart/2005/8/layout/hList1"/>
    <dgm:cxn modelId="{C41E79A5-E44D-41C5-9702-D2091D586AD4}" type="presOf" srcId="{5B5CDF1D-D769-4672-B8D5-D483979612B5}" destId="{63B3C317-A2CF-4A88-A8F3-EC6802DC6707}" srcOrd="0" destOrd="0" presId="urn:microsoft.com/office/officeart/2005/8/layout/hList1"/>
    <dgm:cxn modelId="{00B9A5A6-7685-4ADB-A61F-078E96A9A46F}" srcId="{E57602CD-7463-4156-99C9-28A51F11DDB4}" destId="{8FACF4DE-40E6-42FD-BFE9-6134DD254E32}" srcOrd="0" destOrd="0" parTransId="{7E7DB909-A2A9-4F17-BA86-FEBDDA9A094F}" sibTransId="{A5099C19-2B6B-49CB-A732-C858C8E972BD}"/>
    <dgm:cxn modelId="{4E9FD9C0-775D-4041-8F95-03BE230C498A}" srcId="{5B5CDF1D-D769-4672-B8D5-D483979612B5}" destId="{6DBF2712-DF31-4376-A577-0E25F4917D56}" srcOrd="0" destOrd="0" parTransId="{D191F03C-B1EB-4C8A-9529-0A6BA36E5B33}" sibTransId="{9917D713-DE53-4117-8604-EB9F4C5A276A}"/>
    <dgm:cxn modelId="{061AD3DC-4EA3-4CE9-A809-7ADD0E88370D}" type="presOf" srcId="{E57602CD-7463-4156-99C9-28A51F11DDB4}" destId="{1471983A-8C8B-43C6-A6F7-4ABD1271CAFE}" srcOrd="0" destOrd="0" presId="urn:microsoft.com/office/officeart/2005/8/layout/hList1"/>
    <dgm:cxn modelId="{45E603EA-DEB7-4BF1-8480-33B9A49BB070}" type="presOf" srcId="{AC3F23BD-BE76-413F-9AF3-421901E144D9}" destId="{82B0C68B-1A71-4FDB-BDDA-93E146E9A7C6}" srcOrd="0" destOrd="0" presId="urn:microsoft.com/office/officeart/2005/8/layout/hList1"/>
    <dgm:cxn modelId="{903059EF-9FE2-4029-B852-FC31676DF15A}" type="presOf" srcId="{F7CC7828-0E69-4A6D-A081-590DBC19EDC2}" destId="{DA866CE6-D326-4D8A-BAD6-91130FFAAD06}" srcOrd="0" destOrd="1" presId="urn:microsoft.com/office/officeart/2005/8/layout/hList1"/>
    <dgm:cxn modelId="{98412DFE-493A-4833-BDA6-48BBECB4305E}" srcId="{AC3F23BD-BE76-413F-9AF3-421901E144D9}" destId="{5B5CDF1D-D769-4672-B8D5-D483979612B5}" srcOrd="2" destOrd="0" parTransId="{596EC9FD-2202-4367-955D-71E9B938C98C}" sibTransId="{4B747DA0-81B5-4BDE-9027-79C88F3825AF}"/>
    <dgm:cxn modelId="{6129696F-1CFC-4DE2-AC96-01FB375177A8}" type="presParOf" srcId="{82B0C68B-1A71-4FDB-BDDA-93E146E9A7C6}" destId="{1D3EF5E0-0017-41AD-B2F4-9E85B17B5BC6}" srcOrd="0" destOrd="0" presId="urn:microsoft.com/office/officeart/2005/8/layout/hList1"/>
    <dgm:cxn modelId="{21ECF38A-78D9-477D-BF79-3791C4587C2B}" type="presParOf" srcId="{1D3EF5E0-0017-41AD-B2F4-9E85B17B5BC6}" destId="{D4857AEA-4F31-4139-BBF0-04DB9538D05D}" srcOrd="0" destOrd="0" presId="urn:microsoft.com/office/officeart/2005/8/layout/hList1"/>
    <dgm:cxn modelId="{CA51F01E-9AE9-4B17-B95E-4A82DB985BBC}" type="presParOf" srcId="{1D3EF5E0-0017-41AD-B2F4-9E85B17B5BC6}" destId="{DA866CE6-D326-4D8A-BAD6-91130FFAAD06}" srcOrd="1" destOrd="0" presId="urn:microsoft.com/office/officeart/2005/8/layout/hList1"/>
    <dgm:cxn modelId="{B414FDE9-1ECA-42A2-AC51-C6B21E01EEBC}" type="presParOf" srcId="{82B0C68B-1A71-4FDB-BDDA-93E146E9A7C6}" destId="{389E377E-9940-46CC-B048-4AF5CB3831CF}" srcOrd="1" destOrd="0" presId="urn:microsoft.com/office/officeart/2005/8/layout/hList1"/>
    <dgm:cxn modelId="{454E43D4-7005-482B-89E8-0DAA3DD19099}" type="presParOf" srcId="{82B0C68B-1A71-4FDB-BDDA-93E146E9A7C6}" destId="{17D8CAF6-3ED6-4685-9F16-713168961432}" srcOrd="2" destOrd="0" presId="urn:microsoft.com/office/officeart/2005/8/layout/hList1"/>
    <dgm:cxn modelId="{159335B8-5109-483B-B5A6-7A314ECE6D6B}" type="presParOf" srcId="{17D8CAF6-3ED6-4685-9F16-713168961432}" destId="{1471983A-8C8B-43C6-A6F7-4ABD1271CAFE}" srcOrd="0" destOrd="0" presId="urn:microsoft.com/office/officeart/2005/8/layout/hList1"/>
    <dgm:cxn modelId="{F205FCC0-A601-4764-9962-5B5BC7BD4BC8}" type="presParOf" srcId="{17D8CAF6-3ED6-4685-9F16-713168961432}" destId="{0F9FE860-7545-4DB7-BF18-CE47F5B61FD8}" srcOrd="1" destOrd="0" presId="urn:microsoft.com/office/officeart/2005/8/layout/hList1"/>
    <dgm:cxn modelId="{CB9DD81E-EA3C-4F9D-A136-3EE49EFD7357}" type="presParOf" srcId="{82B0C68B-1A71-4FDB-BDDA-93E146E9A7C6}" destId="{EA800A51-30F7-440A-BD44-7E84F9C428A7}" srcOrd="3" destOrd="0" presId="urn:microsoft.com/office/officeart/2005/8/layout/hList1"/>
    <dgm:cxn modelId="{5E3F5EC7-3505-4925-A510-3902C5530B88}" type="presParOf" srcId="{82B0C68B-1A71-4FDB-BDDA-93E146E9A7C6}" destId="{F3C4C7F8-EABC-4987-8E65-7BD7B2266B34}" srcOrd="4" destOrd="0" presId="urn:microsoft.com/office/officeart/2005/8/layout/hList1"/>
    <dgm:cxn modelId="{753826D5-7DF4-4700-8860-EA99AB0EA05C}" type="presParOf" srcId="{F3C4C7F8-EABC-4987-8E65-7BD7B2266B34}" destId="{63B3C317-A2CF-4A88-A8F3-EC6802DC6707}" srcOrd="0" destOrd="0" presId="urn:microsoft.com/office/officeart/2005/8/layout/hList1"/>
    <dgm:cxn modelId="{FE567D8F-A01C-4C43-BCD3-F61A286A2CB7}" type="presParOf" srcId="{F3C4C7F8-EABC-4987-8E65-7BD7B2266B34}" destId="{1E512FB7-39B5-4733-9AAC-365FCA673D9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three structures are required to support partitions?</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some benefits of partitioning?</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used for data movement in partitions or table?</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622BFC72-AED9-4856-AD95-E27E377214E5}"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818C7C8B-9AD2-4D96-9136-75D7F2B87843}">
      <dgm:prSet custT="1"/>
      <dgm:spPr/>
      <dgm:t>
        <a:bodyPr/>
        <a:lstStyle/>
        <a:p>
          <a:r>
            <a:rPr lang="en-US" sz="2400" baseline="0"/>
            <a:t>Data access and distribution changes over time.</a:t>
          </a:r>
          <a:endParaRPr lang="en-US" sz="2400"/>
        </a:p>
      </dgm:t>
    </dgm:pt>
    <dgm:pt modelId="{B965B95E-379C-4FBB-AACF-F4F891D83541}" type="parTrans" cxnId="{A183B404-F2F9-44E8-B161-2507831EE0E5}">
      <dgm:prSet/>
      <dgm:spPr/>
      <dgm:t>
        <a:bodyPr/>
        <a:lstStyle/>
        <a:p>
          <a:endParaRPr lang="en-US"/>
        </a:p>
      </dgm:t>
    </dgm:pt>
    <dgm:pt modelId="{27EC045D-386D-43A3-B46F-5ECE1FA42486}" type="sibTrans" cxnId="{A183B404-F2F9-44E8-B161-2507831EE0E5}">
      <dgm:prSet/>
      <dgm:spPr/>
      <dgm:t>
        <a:bodyPr/>
        <a:lstStyle/>
        <a:p>
          <a:endParaRPr lang="en-US"/>
        </a:p>
      </dgm:t>
    </dgm:pt>
    <dgm:pt modelId="{452E1482-3E28-4549-956B-C79AC7683740}">
      <dgm:prSet custT="1"/>
      <dgm:spPr/>
      <dgm:t>
        <a:bodyPr/>
        <a:lstStyle/>
        <a:p>
          <a:r>
            <a:rPr lang="en-US" sz="2400" baseline="0" dirty="0"/>
            <a:t>By reviewing index usage, we can ensure that the indexes are appropriate for the current workload.</a:t>
          </a:r>
          <a:endParaRPr lang="en-US" sz="2400" dirty="0"/>
        </a:p>
      </dgm:t>
    </dgm:pt>
    <dgm:pt modelId="{4D4D81A1-60E0-42B2-9415-E4215F59FEA7}" type="parTrans" cxnId="{3E19F38C-E0EB-41D2-8AF0-70934CAE04CC}">
      <dgm:prSet/>
      <dgm:spPr/>
      <dgm:t>
        <a:bodyPr/>
        <a:lstStyle/>
        <a:p>
          <a:endParaRPr lang="en-US"/>
        </a:p>
      </dgm:t>
    </dgm:pt>
    <dgm:pt modelId="{DAFCD9D3-7DB1-4AA1-886C-07CA6116C444}" type="sibTrans" cxnId="{3E19F38C-E0EB-41D2-8AF0-70934CAE04CC}">
      <dgm:prSet/>
      <dgm:spPr/>
      <dgm:t>
        <a:bodyPr/>
        <a:lstStyle/>
        <a:p>
          <a:endParaRPr lang="en-US"/>
        </a:p>
      </dgm:t>
    </dgm:pt>
    <dgm:pt modelId="{A71F1EFB-757D-4DF5-8D6F-DD30DB3387C9}">
      <dgm:prSet custT="1"/>
      <dgm:spPr/>
      <dgm:t>
        <a:bodyPr/>
        <a:lstStyle/>
        <a:p>
          <a:r>
            <a:rPr lang="en-US" sz="2400" kern="1200" baseline="0">
              <a:latin typeface="Segoe UI"/>
              <a:ea typeface="+mn-ea"/>
              <a:cs typeface="+mn-cs"/>
            </a:rPr>
            <a:t>Use</a:t>
          </a:r>
          <a:r>
            <a:rPr lang="en-US" sz="2400" kern="1200" baseline="0"/>
            <a:t> </a:t>
          </a:r>
          <a:r>
            <a:rPr lang="en-US" sz="2400" kern="1200" baseline="0">
              <a:latin typeface="Segoe UI"/>
              <a:ea typeface="+mn-ea"/>
              <a:cs typeface="+mn-cs"/>
            </a:rPr>
            <a:t>sys.dm_db_index_usage_stats </a:t>
          </a:r>
          <a:r>
            <a:rPr lang="en-US" sz="2400" kern="1200" baseline="0"/>
            <a:t>and sys.dm_db_index_operational_stats to monitor index usage.</a:t>
          </a:r>
          <a:endParaRPr lang="en-US" sz="2400" kern="1200"/>
        </a:p>
      </dgm:t>
    </dgm:pt>
    <dgm:pt modelId="{0DB0367E-CE17-4DE4-A1A8-35D1E0EB5DB5}" type="parTrans" cxnId="{204D40BA-F3B7-4D82-B593-EF4E3DC19ACA}">
      <dgm:prSet/>
      <dgm:spPr/>
      <dgm:t>
        <a:bodyPr/>
        <a:lstStyle/>
        <a:p>
          <a:endParaRPr lang="en-US"/>
        </a:p>
      </dgm:t>
    </dgm:pt>
    <dgm:pt modelId="{813E3C1A-B685-41A2-AF52-A3754C03D981}" type="sibTrans" cxnId="{204D40BA-F3B7-4D82-B593-EF4E3DC19ACA}">
      <dgm:prSet/>
      <dgm:spPr/>
      <dgm:t>
        <a:bodyPr/>
        <a:lstStyle/>
        <a:p>
          <a:endParaRPr lang="en-US"/>
        </a:p>
      </dgm:t>
    </dgm:pt>
    <dgm:pt modelId="{8D25F543-1158-4D31-8D58-0E2A492DE7BB}">
      <dgm:prSet custT="1"/>
      <dgm:spPr/>
      <dgm:t>
        <a:bodyPr/>
        <a:lstStyle/>
        <a:p>
          <a:r>
            <a:rPr lang="en-US" sz="2400" baseline="0"/>
            <a:t>Database standard report also monitors Index usage and Physical Statistics. </a:t>
          </a:r>
          <a:endParaRPr lang="en-US" sz="2400"/>
        </a:p>
      </dgm:t>
    </dgm:pt>
    <dgm:pt modelId="{D16E75BB-734E-48A5-9572-1B6DA881BEF5}" type="parTrans" cxnId="{3F7B479D-3463-4F93-BA68-625855096B2A}">
      <dgm:prSet/>
      <dgm:spPr/>
      <dgm:t>
        <a:bodyPr/>
        <a:lstStyle/>
        <a:p>
          <a:endParaRPr lang="en-US"/>
        </a:p>
      </dgm:t>
    </dgm:pt>
    <dgm:pt modelId="{2BD26993-E137-4739-B2F3-1D00C76746B9}" type="sibTrans" cxnId="{3F7B479D-3463-4F93-BA68-625855096B2A}">
      <dgm:prSet/>
      <dgm:spPr/>
      <dgm:t>
        <a:bodyPr/>
        <a:lstStyle/>
        <a:p>
          <a:endParaRPr lang="en-US"/>
        </a:p>
      </dgm:t>
    </dgm:pt>
    <dgm:pt modelId="{242B0F13-631C-4016-B678-3FF7C8825159}" type="pres">
      <dgm:prSet presAssocID="{622BFC72-AED9-4856-AD95-E27E377214E5}" presName="linear" presStyleCnt="0">
        <dgm:presLayoutVars>
          <dgm:animLvl val="lvl"/>
          <dgm:resizeHandles val="exact"/>
        </dgm:presLayoutVars>
      </dgm:prSet>
      <dgm:spPr/>
    </dgm:pt>
    <dgm:pt modelId="{8602B1F8-B029-4B99-91A8-CE1E383A2315}" type="pres">
      <dgm:prSet presAssocID="{818C7C8B-9AD2-4D96-9136-75D7F2B87843}" presName="parentText" presStyleLbl="node1" presStyleIdx="0" presStyleCnt="4">
        <dgm:presLayoutVars>
          <dgm:chMax val="0"/>
          <dgm:bulletEnabled val="1"/>
        </dgm:presLayoutVars>
      </dgm:prSet>
      <dgm:spPr/>
    </dgm:pt>
    <dgm:pt modelId="{E8FCE056-10BB-4077-917B-663DB7D7B745}" type="pres">
      <dgm:prSet presAssocID="{27EC045D-386D-43A3-B46F-5ECE1FA42486}" presName="spacer" presStyleCnt="0"/>
      <dgm:spPr/>
    </dgm:pt>
    <dgm:pt modelId="{E6D86303-23A1-4B21-B6BC-134290A7CEFD}" type="pres">
      <dgm:prSet presAssocID="{452E1482-3E28-4549-956B-C79AC7683740}" presName="parentText" presStyleLbl="node1" presStyleIdx="1" presStyleCnt="4">
        <dgm:presLayoutVars>
          <dgm:chMax val="0"/>
          <dgm:bulletEnabled val="1"/>
        </dgm:presLayoutVars>
      </dgm:prSet>
      <dgm:spPr/>
    </dgm:pt>
    <dgm:pt modelId="{A76F5E30-2A55-4AF7-AE9B-B7E6A1F201D7}" type="pres">
      <dgm:prSet presAssocID="{DAFCD9D3-7DB1-4AA1-886C-07CA6116C444}" presName="spacer" presStyleCnt="0"/>
      <dgm:spPr/>
    </dgm:pt>
    <dgm:pt modelId="{26E70C0C-F5FD-49C3-8713-CCF302D4DD1F}" type="pres">
      <dgm:prSet presAssocID="{A71F1EFB-757D-4DF5-8D6F-DD30DB3387C9}" presName="parentText" presStyleLbl="node1" presStyleIdx="2" presStyleCnt="4">
        <dgm:presLayoutVars>
          <dgm:chMax val="0"/>
          <dgm:bulletEnabled val="1"/>
        </dgm:presLayoutVars>
      </dgm:prSet>
      <dgm:spPr/>
    </dgm:pt>
    <dgm:pt modelId="{29DF7871-5A89-456A-AFCB-8C8FBDB9E9BD}" type="pres">
      <dgm:prSet presAssocID="{813E3C1A-B685-41A2-AF52-A3754C03D981}" presName="spacer" presStyleCnt="0"/>
      <dgm:spPr/>
    </dgm:pt>
    <dgm:pt modelId="{BED7B686-B782-45EF-9B4E-6B0A8CF64E7E}" type="pres">
      <dgm:prSet presAssocID="{8D25F543-1158-4D31-8D58-0E2A492DE7BB}" presName="parentText" presStyleLbl="node1" presStyleIdx="3" presStyleCnt="4">
        <dgm:presLayoutVars>
          <dgm:chMax val="0"/>
          <dgm:bulletEnabled val="1"/>
        </dgm:presLayoutVars>
      </dgm:prSet>
      <dgm:spPr/>
    </dgm:pt>
  </dgm:ptLst>
  <dgm:cxnLst>
    <dgm:cxn modelId="{A183B404-F2F9-44E8-B161-2507831EE0E5}" srcId="{622BFC72-AED9-4856-AD95-E27E377214E5}" destId="{818C7C8B-9AD2-4D96-9136-75D7F2B87843}" srcOrd="0" destOrd="0" parTransId="{B965B95E-379C-4FBB-AACF-F4F891D83541}" sibTransId="{27EC045D-386D-43A3-B46F-5ECE1FA42486}"/>
    <dgm:cxn modelId="{5DBD870C-C9B5-4BD6-A2DF-FAA4BF28D85D}" type="presOf" srcId="{8D25F543-1158-4D31-8D58-0E2A492DE7BB}" destId="{BED7B686-B782-45EF-9B4E-6B0A8CF64E7E}" srcOrd="0" destOrd="0" presId="urn:microsoft.com/office/officeart/2005/8/layout/vList2"/>
    <dgm:cxn modelId="{8154B418-D062-4CEC-90BD-4E47F53F860E}" type="presOf" srcId="{622BFC72-AED9-4856-AD95-E27E377214E5}" destId="{242B0F13-631C-4016-B678-3FF7C8825159}" srcOrd="0" destOrd="0" presId="urn:microsoft.com/office/officeart/2005/8/layout/vList2"/>
    <dgm:cxn modelId="{0E35D53D-9472-49CF-9770-9B2C1DDBD0A4}" type="presOf" srcId="{452E1482-3E28-4549-956B-C79AC7683740}" destId="{E6D86303-23A1-4B21-B6BC-134290A7CEFD}" srcOrd="0" destOrd="0" presId="urn:microsoft.com/office/officeart/2005/8/layout/vList2"/>
    <dgm:cxn modelId="{81674A8C-91B7-485A-B75E-9FF43025774B}" type="presOf" srcId="{A71F1EFB-757D-4DF5-8D6F-DD30DB3387C9}" destId="{26E70C0C-F5FD-49C3-8713-CCF302D4DD1F}" srcOrd="0" destOrd="0" presId="urn:microsoft.com/office/officeart/2005/8/layout/vList2"/>
    <dgm:cxn modelId="{3E19F38C-E0EB-41D2-8AF0-70934CAE04CC}" srcId="{622BFC72-AED9-4856-AD95-E27E377214E5}" destId="{452E1482-3E28-4549-956B-C79AC7683740}" srcOrd="1" destOrd="0" parTransId="{4D4D81A1-60E0-42B2-9415-E4215F59FEA7}" sibTransId="{DAFCD9D3-7DB1-4AA1-886C-07CA6116C444}"/>
    <dgm:cxn modelId="{DBCE3291-5CD9-492C-A789-C6A7CB87D799}" type="presOf" srcId="{818C7C8B-9AD2-4D96-9136-75D7F2B87843}" destId="{8602B1F8-B029-4B99-91A8-CE1E383A2315}" srcOrd="0" destOrd="0" presId="urn:microsoft.com/office/officeart/2005/8/layout/vList2"/>
    <dgm:cxn modelId="{3F7B479D-3463-4F93-BA68-625855096B2A}" srcId="{622BFC72-AED9-4856-AD95-E27E377214E5}" destId="{8D25F543-1158-4D31-8D58-0E2A492DE7BB}" srcOrd="3" destOrd="0" parTransId="{D16E75BB-734E-48A5-9572-1B6DA881BEF5}" sibTransId="{2BD26993-E137-4739-B2F3-1D00C76746B9}"/>
    <dgm:cxn modelId="{204D40BA-F3B7-4D82-B593-EF4E3DC19ACA}" srcId="{622BFC72-AED9-4856-AD95-E27E377214E5}" destId="{A71F1EFB-757D-4DF5-8D6F-DD30DB3387C9}" srcOrd="2" destOrd="0" parTransId="{0DB0367E-CE17-4DE4-A1A8-35D1E0EB5DB5}" sibTransId="{813E3C1A-B685-41A2-AF52-A3754C03D981}"/>
    <dgm:cxn modelId="{7B8653EA-798F-4FFC-924D-6117B9AE874A}" type="presParOf" srcId="{242B0F13-631C-4016-B678-3FF7C8825159}" destId="{8602B1F8-B029-4B99-91A8-CE1E383A2315}" srcOrd="0" destOrd="0" presId="urn:microsoft.com/office/officeart/2005/8/layout/vList2"/>
    <dgm:cxn modelId="{BEC14923-8FF7-41B7-8BE0-6845AB2B8EAC}" type="presParOf" srcId="{242B0F13-631C-4016-B678-3FF7C8825159}" destId="{E8FCE056-10BB-4077-917B-663DB7D7B745}" srcOrd="1" destOrd="0" presId="urn:microsoft.com/office/officeart/2005/8/layout/vList2"/>
    <dgm:cxn modelId="{8CECCBA9-C18E-4FD9-A52E-289AE25D36AD}" type="presParOf" srcId="{242B0F13-631C-4016-B678-3FF7C8825159}" destId="{E6D86303-23A1-4B21-B6BC-134290A7CEFD}" srcOrd="2" destOrd="0" presId="urn:microsoft.com/office/officeart/2005/8/layout/vList2"/>
    <dgm:cxn modelId="{814AEC97-301A-40D8-B85E-DFE7E04224A5}" type="presParOf" srcId="{242B0F13-631C-4016-B678-3FF7C8825159}" destId="{A76F5E30-2A55-4AF7-AE9B-B7E6A1F201D7}" srcOrd="3" destOrd="0" presId="urn:microsoft.com/office/officeart/2005/8/layout/vList2"/>
    <dgm:cxn modelId="{A9CC3CA3-52D4-4A2F-B4F7-D4F7387B4A8E}" type="presParOf" srcId="{242B0F13-631C-4016-B678-3FF7C8825159}" destId="{26E70C0C-F5FD-49C3-8713-CCF302D4DD1F}" srcOrd="4" destOrd="0" presId="urn:microsoft.com/office/officeart/2005/8/layout/vList2"/>
    <dgm:cxn modelId="{CEC5DA75-40CC-4890-9D5A-BD4222238EDA}" type="presParOf" srcId="{242B0F13-631C-4016-B678-3FF7C8825159}" destId="{29DF7871-5A89-456A-AFCB-8C8FBDB9E9BD}" srcOrd="5" destOrd="0" presId="urn:microsoft.com/office/officeart/2005/8/layout/vList2"/>
    <dgm:cxn modelId="{1B89218C-DB26-45B0-A519-FBE7296A2F15}" type="presParOf" srcId="{242B0F13-631C-4016-B678-3FF7C8825159}" destId="{BED7B686-B782-45EF-9B4E-6B0A8CF64E7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2DD37B5-6A11-41D4-A886-9FFF022E8E2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73D9ED28-9151-4190-A3BB-ACA6DC091472}">
      <dgm:prSet/>
      <dgm:spPr/>
      <dgm:t>
        <a:bodyPr/>
        <a:lstStyle/>
        <a:p>
          <a:pPr>
            <a:lnSpc>
              <a:spcPct val="100000"/>
            </a:lnSpc>
          </a:pPr>
          <a:r>
            <a:rPr lang="en-US" dirty="0"/>
            <a:t>Logical fragmentation</a:t>
          </a:r>
        </a:p>
      </dgm:t>
    </dgm:pt>
    <dgm:pt modelId="{70CD2FF3-8B5B-4EF7-B809-51995BC5E6B3}" type="parTrans" cxnId="{23D4F79B-0BB6-42C8-81C0-4A49A443EE2C}">
      <dgm:prSet/>
      <dgm:spPr/>
      <dgm:t>
        <a:bodyPr/>
        <a:lstStyle/>
        <a:p>
          <a:endParaRPr lang="en-US"/>
        </a:p>
      </dgm:t>
    </dgm:pt>
    <dgm:pt modelId="{61EC6D44-59B4-4DEF-8FA9-FAAC6A030983}" type="sibTrans" cxnId="{23D4F79B-0BB6-42C8-81C0-4A49A443EE2C}">
      <dgm:prSet/>
      <dgm:spPr/>
      <dgm:t>
        <a:bodyPr/>
        <a:lstStyle/>
        <a:p>
          <a:endParaRPr lang="en-US"/>
        </a:p>
      </dgm:t>
    </dgm:pt>
    <dgm:pt modelId="{0956B101-27E3-4A85-91AF-1BCD38CB4250}">
      <dgm:prSet/>
      <dgm:spPr/>
      <dgm:t>
        <a:bodyPr/>
        <a:lstStyle/>
        <a:p>
          <a:r>
            <a:rPr lang="en-US"/>
            <a:t>Occurs when leaf level pages are not physically corresponding to the logical order of the index:</a:t>
          </a:r>
        </a:p>
      </dgm:t>
    </dgm:pt>
    <dgm:pt modelId="{36B208DE-C605-4213-9CD1-C5ADAD3FE086}" type="parTrans" cxnId="{3C5914FA-25D1-4D71-9CB8-DCDAAE05634B}">
      <dgm:prSet/>
      <dgm:spPr/>
      <dgm:t>
        <a:bodyPr/>
        <a:lstStyle/>
        <a:p>
          <a:endParaRPr lang="en-US"/>
        </a:p>
      </dgm:t>
    </dgm:pt>
    <dgm:pt modelId="{8015C74F-7C87-4DDB-9EEB-E35BAC7D96C1}" type="sibTrans" cxnId="{3C5914FA-25D1-4D71-9CB8-DCDAAE05634B}">
      <dgm:prSet/>
      <dgm:spPr/>
      <dgm:t>
        <a:bodyPr/>
        <a:lstStyle/>
        <a:p>
          <a:endParaRPr lang="en-US"/>
        </a:p>
      </dgm:t>
    </dgm:pt>
    <dgm:pt modelId="{9ED7650E-8825-4EB4-B979-A5BF88F89511}">
      <dgm:prSet/>
      <dgm:spPr/>
      <dgm:t>
        <a:bodyPr/>
        <a:lstStyle/>
        <a:p>
          <a:r>
            <a:rPr lang="en-US"/>
            <a:t>Pages are not in the most efficient order for scanning purposes.</a:t>
          </a:r>
        </a:p>
      </dgm:t>
    </dgm:pt>
    <dgm:pt modelId="{B8148CC2-E959-4A38-A366-E746EED36634}" type="parTrans" cxnId="{FFF8D6E4-EBA0-48EA-9685-2F256D7E23E7}">
      <dgm:prSet/>
      <dgm:spPr/>
      <dgm:t>
        <a:bodyPr/>
        <a:lstStyle/>
        <a:p>
          <a:endParaRPr lang="en-US"/>
        </a:p>
      </dgm:t>
    </dgm:pt>
    <dgm:pt modelId="{C893F246-F78D-4EB5-8EA6-805C96734A65}" type="sibTrans" cxnId="{FFF8D6E4-EBA0-48EA-9685-2F256D7E23E7}">
      <dgm:prSet/>
      <dgm:spPr/>
      <dgm:t>
        <a:bodyPr/>
        <a:lstStyle/>
        <a:p>
          <a:endParaRPr lang="en-US"/>
        </a:p>
      </dgm:t>
    </dgm:pt>
    <dgm:pt modelId="{C8B381AE-7352-4AFE-94FF-280BC8211C94}">
      <dgm:prSet/>
      <dgm:spPr/>
      <dgm:t>
        <a:bodyPr/>
        <a:lstStyle/>
        <a:p>
          <a:r>
            <a:rPr lang="en-US"/>
            <a:t>Limits the efficiency of read-ahead scans, but not seeks. </a:t>
          </a:r>
        </a:p>
      </dgm:t>
    </dgm:pt>
    <dgm:pt modelId="{F3370837-3D1D-4370-9CED-63794A3A2A45}" type="parTrans" cxnId="{700C9665-6120-4610-9148-40863F90CEC9}">
      <dgm:prSet/>
      <dgm:spPr/>
      <dgm:t>
        <a:bodyPr/>
        <a:lstStyle/>
        <a:p>
          <a:endParaRPr lang="en-US"/>
        </a:p>
      </dgm:t>
    </dgm:pt>
    <dgm:pt modelId="{6D41AAA6-434A-4C96-9552-B71811653EE1}" type="sibTrans" cxnId="{700C9665-6120-4610-9148-40863F90CEC9}">
      <dgm:prSet/>
      <dgm:spPr/>
      <dgm:t>
        <a:bodyPr/>
        <a:lstStyle/>
        <a:p>
          <a:endParaRPr lang="en-US"/>
        </a:p>
      </dgm:t>
    </dgm:pt>
    <dgm:pt modelId="{DECBEAAE-D565-48C7-BD63-390657079615}">
      <dgm:prSet/>
      <dgm:spPr/>
      <dgm:t>
        <a:bodyPr/>
        <a:lstStyle/>
        <a:p>
          <a:pPr>
            <a:lnSpc>
              <a:spcPct val="100000"/>
            </a:lnSpc>
          </a:pPr>
          <a:r>
            <a:rPr lang="en-US" dirty="0"/>
            <a:t>Page density</a:t>
          </a:r>
        </a:p>
      </dgm:t>
    </dgm:pt>
    <dgm:pt modelId="{80ADA7D4-09F9-4C18-A846-90FE53BE6750}" type="parTrans" cxnId="{105EA0C3-9EA4-4222-B297-1A5E595278CC}">
      <dgm:prSet/>
      <dgm:spPr/>
      <dgm:t>
        <a:bodyPr/>
        <a:lstStyle/>
        <a:p>
          <a:endParaRPr lang="en-US"/>
        </a:p>
      </dgm:t>
    </dgm:pt>
    <dgm:pt modelId="{BEDB0194-3EC6-40C8-8814-81593A7FCFD0}" type="sibTrans" cxnId="{105EA0C3-9EA4-4222-B297-1A5E595278CC}">
      <dgm:prSet/>
      <dgm:spPr/>
      <dgm:t>
        <a:bodyPr/>
        <a:lstStyle/>
        <a:p>
          <a:endParaRPr lang="en-US"/>
        </a:p>
      </dgm:t>
    </dgm:pt>
    <dgm:pt modelId="{0DEBE17C-3BBB-4FD6-B128-4196C1FAA38E}">
      <dgm:prSet/>
      <dgm:spPr/>
      <dgm:t>
        <a:bodyPr/>
        <a:lstStyle/>
        <a:p>
          <a:pPr>
            <a:lnSpc>
              <a:spcPct val="100000"/>
            </a:lnSpc>
          </a:pPr>
          <a:r>
            <a:rPr lang="en-US" dirty="0"/>
            <a:t>How full a page is when a rebuild/reorganization occurs.</a:t>
          </a:r>
        </a:p>
      </dgm:t>
    </dgm:pt>
    <dgm:pt modelId="{74EBBBB4-3B7A-45C4-ACD3-C50B64BD6F3D}" type="parTrans" cxnId="{CE2496C7-9610-4645-99DF-821C453F712E}">
      <dgm:prSet/>
      <dgm:spPr/>
      <dgm:t>
        <a:bodyPr/>
        <a:lstStyle/>
        <a:p>
          <a:endParaRPr lang="en-US"/>
        </a:p>
      </dgm:t>
    </dgm:pt>
    <dgm:pt modelId="{37C6E58F-BE1A-4ACC-BD55-B583CD6E19F9}" type="sibTrans" cxnId="{CE2496C7-9610-4645-99DF-821C453F712E}">
      <dgm:prSet/>
      <dgm:spPr/>
      <dgm:t>
        <a:bodyPr/>
        <a:lstStyle/>
        <a:p>
          <a:endParaRPr lang="en-US"/>
        </a:p>
      </dgm:t>
    </dgm:pt>
    <dgm:pt modelId="{85708182-DA46-48FF-8B68-B1ECDCBD858A}">
      <dgm:prSet/>
      <dgm:spPr/>
      <dgm:t>
        <a:bodyPr/>
        <a:lstStyle/>
        <a:p>
          <a:pPr>
            <a:lnSpc>
              <a:spcPct val="100000"/>
            </a:lnSpc>
          </a:pPr>
          <a:r>
            <a:rPr lang="en-US" dirty="0"/>
            <a:t>The fuller a page is, the more likely page splits occur when data is modified.</a:t>
          </a:r>
        </a:p>
      </dgm:t>
    </dgm:pt>
    <dgm:pt modelId="{2390C6F1-FA81-41E2-AEB2-F5EE6C915BB3}" type="parTrans" cxnId="{B7DAEF91-FFD9-43E8-AA64-EEC9928E72CB}">
      <dgm:prSet/>
      <dgm:spPr/>
      <dgm:t>
        <a:bodyPr/>
        <a:lstStyle/>
        <a:p>
          <a:endParaRPr lang="en-US"/>
        </a:p>
      </dgm:t>
    </dgm:pt>
    <dgm:pt modelId="{AC62A907-3379-465B-9DB3-C42FB50C9A37}" type="sibTrans" cxnId="{B7DAEF91-FFD9-43E8-AA64-EEC9928E72CB}">
      <dgm:prSet/>
      <dgm:spPr/>
      <dgm:t>
        <a:bodyPr/>
        <a:lstStyle/>
        <a:p>
          <a:endParaRPr lang="en-US"/>
        </a:p>
      </dgm:t>
    </dgm:pt>
    <dgm:pt modelId="{85331DEE-8EB0-4FCB-B9C2-500CFBCEF8B8}">
      <dgm:prSet/>
      <dgm:spPr/>
      <dgm:t>
        <a:bodyPr/>
        <a:lstStyle/>
        <a:p>
          <a:pPr>
            <a:lnSpc>
              <a:spcPct val="100000"/>
            </a:lnSpc>
          </a:pPr>
          <a:r>
            <a:rPr lang="en-US" dirty="0"/>
            <a:t>The less full a page is, the more wasted space in the buffer pool when reading pages.</a:t>
          </a:r>
        </a:p>
      </dgm:t>
    </dgm:pt>
    <dgm:pt modelId="{FF767325-9619-4786-9476-7F0817E48E6D}" type="parTrans" cxnId="{B94BC474-9F58-4680-8408-DFBAFD0D3310}">
      <dgm:prSet/>
      <dgm:spPr/>
      <dgm:t>
        <a:bodyPr/>
        <a:lstStyle/>
        <a:p>
          <a:endParaRPr lang="en-US"/>
        </a:p>
      </dgm:t>
    </dgm:pt>
    <dgm:pt modelId="{928AF1BD-A7EF-45EA-B7E5-C00FD4041E8C}" type="sibTrans" cxnId="{B94BC474-9F58-4680-8408-DFBAFD0D3310}">
      <dgm:prSet/>
      <dgm:spPr/>
      <dgm:t>
        <a:bodyPr/>
        <a:lstStyle/>
        <a:p>
          <a:endParaRPr lang="en-US"/>
        </a:p>
      </dgm:t>
    </dgm:pt>
    <dgm:pt modelId="{C4CD706D-897E-4D4F-AEC5-24401612504F}" type="pres">
      <dgm:prSet presAssocID="{42DD37B5-6A11-41D4-A886-9FFF022E8E22}" presName="Name0" presStyleCnt="0">
        <dgm:presLayoutVars>
          <dgm:dir/>
          <dgm:animLvl val="lvl"/>
          <dgm:resizeHandles val="exact"/>
        </dgm:presLayoutVars>
      </dgm:prSet>
      <dgm:spPr/>
    </dgm:pt>
    <dgm:pt modelId="{51A400BB-77A3-49BC-B025-9BF78E837B31}" type="pres">
      <dgm:prSet presAssocID="{73D9ED28-9151-4190-A3BB-ACA6DC091472}" presName="composite" presStyleCnt="0"/>
      <dgm:spPr/>
    </dgm:pt>
    <dgm:pt modelId="{E5E38D23-4F5A-46C2-9C4E-C8819AB3118D}" type="pres">
      <dgm:prSet presAssocID="{73D9ED28-9151-4190-A3BB-ACA6DC091472}" presName="parTx" presStyleLbl="alignNode1" presStyleIdx="0" presStyleCnt="2">
        <dgm:presLayoutVars>
          <dgm:chMax val="0"/>
          <dgm:chPref val="0"/>
          <dgm:bulletEnabled val="1"/>
        </dgm:presLayoutVars>
      </dgm:prSet>
      <dgm:spPr/>
    </dgm:pt>
    <dgm:pt modelId="{3469F410-2A05-43B8-84DB-D10E42D0EA9C}" type="pres">
      <dgm:prSet presAssocID="{73D9ED28-9151-4190-A3BB-ACA6DC091472}" presName="desTx" presStyleLbl="alignAccFollowNode1" presStyleIdx="0" presStyleCnt="2">
        <dgm:presLayoutVars>
          <dgm:bulletEnabled val="1"/>
        </dgm:presLayoutVars>
      </dgm:prSet>
      <dgm:spPr/>
    </dgm:pt>
    <dgm:pt modelId="{3CCB6D98-2CE4-4788-92C4-D8A16119F3CD}" type="pres">
      <dgm:prSet presAssocID="{61EC6D44-59B4-4DEF-8FA9-FAAC6A030983}" presName="space" presStyleCnt="0"/>
      <dgm:spPr/>
    </dgm:pt>
    <dgm:pt modelId="{127B67BE-3ACD-4480-AD10-2EC17956DC34}" type="pres">
      <dgm:prSet presAssocID="{DECBEAAE-D565-48C7-BD63-390657079615}" presName="composite" presStyleCnt="0"/>
      <dgm:spPr/>
    </dgm:pt>
    <dgm:pt modelId="{A7014651-2CCA-4E07-B04E-06E52AFC8E74}" type="pres">
      <dgm:prSet presAssocID="{DECBEAAE-D565-48C7-BD63-390657079615}" presName="parTx" presStyleLbl="alignNode1" presStyleIdx="1" presStyleCnt="2">
        <dgm:presLayoutVars>
          <dgm:chMax val="0"/>
          <dgm:chPref val="0"/>
          <dgm:bulletEnabled val="1"/>
        </dgm:presLayoutVars>
      </dgm:prSet>
      <dgm:spPr/>
    </dgm:pt>
    <dgm:pt modelId="{CD977AA8-4F76-4E54-AE6F-EAAC6ECF6B9A}" type="pres">
      <dgm:prSet presAssocID="{DECBEAAE-D565-48C7-BD63-390657079615}" presName="desTx" presStyleLbl="alignAccFollowNode1" presStyleIdx="1" presStyleCnt="2">
        <dgm:presLayoutVars>
          <dgm:bulletEnabled val="1"/>
        </dgm:presLayoutVars>
      </dgm:prSet>
      <dgm:spPr/>
    </dgm:pt>
  </dgm:ptLst>
  <dgm:cxnLst>
    <dgm:cxn modelId="{B02A7339-DB32-4A35-B5EB-FBFF880F12FF}" type="presOf" srcId="{DECBEAAE-D565-48C7-BD63-390657079615}" destId="{A7014651-2CCA-4E07-B04E-06E52AFC8E74}" srcOrd="0" destOrd="0" presId="urn:microsoft.com/office/officeart/2005/8/layout/hList1"/>
    <dgm:cxn modelId="{700C9665-6120-4610-9148-40863F90CEC9}" srcId="{73D9ED28-9151-4190-A3BB-ACA6DC091472}" destId="{C8B381AE-7352-4AFE-94FF-280BC8211C94}" srcOrd="1" destOrd="0" parTransId="{F3370837-3D1D-4370-9CED-63794A3A2A45}" sibTransId="{6D41AAA6-434A-4C96-9552-B71811653EE1}"/>
    <dgm:cxn modelId="{8A34BA45-A2FF-40EF-9FA0-8EACA04283F1}" type="presOf" srcId="{9ED7650E-8825-4EB4-B979-A5BF88F89511}" destId="{3469F410-2A05-43B8-84DB-D10E42D0EA9C}" srcOrd="0" destOrd="1" presId="urn:microsoft.com/office/officeart/2005/8/layout/hList1"/>
    <dgm:cxn modelId="{B94BC474-9F58-4680-8408-DFBAFD0D3310}" srcId="{DECBEAAE-D565-48C7-BD63-390657079615}" destId="{85331DEE-8EB0-4FCB-B9C2-500CFBCEF8B8}" srcOrd="2" destOrd="0" parTransId="{FF767325-9619-4786-9476-7F0817E48E6D}" sibTransId="{928AF1BD-A7EF-45EA-B7E5-C00FD4041E8C}"/>
    <dgm:cxn modelId="{B7DAEF91-FFD9-43E8-AA64-EEC9928E72CB}" srcId="{DECBEAAE-D565-48C7-BD63-390657079615}" destId="{85708182-DA46-48FF-8B68-B1ECDCBD858A}" srcOrd="1" destOrd="0" parTransId="{2390C6F1-FA81-41E2-AEB2-F5EE6C915BB3}" sibTransId="{AC62A907-3379-465B-9DB3-C42FB50C9A37}"/>
    <dgm:cxn modelId="{663BC993-7219-4ECE-B9DA-2AAEF85DBEA3}" type="presOf" srcId="{C8B381AE-7352-4AFE-94FF-280BC8211C94}" destId="{3469F410-2A05-43B8-84DB-D10E42D0EA9C}" srcOrd="0" destOrd="2" presId="urn:microsoft.com/office/officeart/2005/8/layout/hList1"/>
    <dgm:cxn modelId="{23D4F79B-0BB6-42C8-81C0-4A49A443EE2C}" srcId="{42DD37B5-6A11-41D4-A886-9FFF022E8E22}" destId="{73D9ED28-9151-4190-A3BB-ACA6DC091472}" srcOrd="0" destOrd="0" parTransId="{70CD2FF3-8B5B-4EF7-B809-51995BC5E6B3}" sibTransId="{61EC6D44-59B4-4DEF-8FA9-FAAC6A030983}"/>
    <dgm:cxn modelId="{8D67AAA1-A973-4056-908D-A5FE8603226F}" type="presOf" srcId="{85331DEE-8EB0-4FCB-B9C2-500CFBCEF8B8}" destId="{CD977AA8-4F76-4E54-AE6F-EAAC6ECF6B9A}" srcOrd="0" destOrd="2" presId="urn:microsoft.com/office/officeart/2005/8/layout/hList1"/>
    <dgm:cxn modelId="{5861E0A2-B984-4E4B-85D6-26119DB161D4}" type="presOf" srcId="{42DD37B5-6A11-41D4-A886-9FFF022E8E22}" destId="{C4CD706D-897E-4D4F-AEC5-24401612504F}" srcOrd="0" destOrd="0" presId="urn:microsoft.com/office/officeart/2005/8/layout/hList1"/>
    <dgm:cxn modelId="{105EA0C3-9EA4-4222-B297-1A5E595278CC}" srcId="{42DD37B5-6A11-41D4-A886-9FFF022E8E22}" destId="{DECBEAAE-D565-48C7-BD63-390657079615}" srcOrd="1" destOrd="0" parTransId="{80ADA7D4-09F9-4C18-A846-90FE53BE6750}" sibTransId="{BEDB0194-3EC6-40C8-8814-81593A7FCFD0}"/>
    <dgm:cxn modelId="{7D6B39C4-64F9-49EF-AADD-93036506EF72}" type="presOf" srcId="{0956B101-27E3-4A85-91AF-1BCD38CB4250}" destId="{3469F410-2A05-43B8-84DB-D10E42D0EA9C}" srcOrd="0" destOrd="0" presId="urn:microsoft.com/office/officeart/2005/8/layout/hList1"/>
    <dgm:cxn modelId="{874071C4-82A7-4053-87E6-5FE5CE7DD55B}" type="presOf" srcId="{85708182-DA46-48FF-8B68-B1ECDCBD858A}" destId="{CD977AA8-4F76-4E54-AE6F-EAAC6ECF6B9A}" srcOrd="0" destOrd="1" presId="urn:microsoft.com/office/officeart/2005/8/layout/hList1"/>
    <dgm:cxn modelId="{CE2496C7-9610-4645-99DF-821C453F712E}" srcId="{DECBEAAE-D565-48C7-BD63-390657079615}" destId="{0DEBE17C-3BBB-4FD6-B128-4196C1FAA38E}" srcOrd="0" destOrd="0" parTransId="{74EBBBB4-3B7A-45C4-ACD3-C50B64BD6F3D}" sibTransId="{37C6E58F-BE1A-4ACC-BD55-B583CD6E19F9}"/>
    <dgm:cxn modelId="{66B340CB-34F5-4912-A219-20398424C51A}" type="presOf" srcId="{73D9ED28-9151-4190-A3BB-ACA6DC091472}" destId="{E5E38D23-4F5A-46C2-9C4E-C8819AB3118D}" srcOrd="0" destOrd="0" presId="urn:microsoft.com/office/officeart/2005/8/layout/hList1"/>
    <dgm:cxn modelId="{8F37A6CB-C863-4592-92C0-DB9C3BF18777}" type="presOf" srcId="{0DEBE17C-3BBB-4FD6-B128-4196C1FAA38E}" destId="{CD977AA8-4F76-4E54-AE6F-EAAC6ECF6B9A}" srcOrd="0" destOrd="0" presId="urn:microsoft.com/office/officeart/2005/8/layout/hList1"/>
    <dgm:cxn modelId="{FFF8D6E4-EBA0-48EA-9685-2F256D7E23E7}" srcId="{0956B101-27E3-4A85-91AF-1BCD38CB4250}" destId="{9ED7650E-8825-4EB4-B979-A5BF88F89511}" srcOrd="0" destOrd="0" parTransId="{B8148CC2-E959-4A38-A366-E746EED36634}" sibTransId="{C893F246-F78D-4EB5-8EA6-805C96734A65}"/>
    <dgm:cxn modelId="{3C5914FA-25D1-4D71-9CB8-DCDAAE05634B}" srcId="{73D9ED28-9151-4190-A3BB-ACA6DC091472}" destId="{0956B101-27E3-4A85-91AF-1BCD38CB4250}" srcOrd="0" destOrd="0" parTransId="{36B208DE-C605-4213-9CD1-C5ADAD3FE086}" sibTransId="{8015C74F-7C87-4DDB-9EEB-E35BAC7D96C1}"/>
    <dgm:cxn modelId="{7E0B72DC-7AC7-45FA-A04A-B11942C3B0F7}" type="presParOf" srcId="{C4CD706D-897E-4D4F-AEC5-24401612504F}" destId="{51A400BB-77A3-49BC-B025-9BF78E837B31}" srcOrd="0" destOrd="0" presId="urn:microsoft.com/office/officeart/2005/8/layout/hList1"/>
    <dgm:cxn modelId="{435A7E3A-39D8-4F2E-BC8C-C446D82C446D}" type="presParOf" srcId="{51A400BB-77A3-49BC-B025-9BF78E837B31}" destId="{E5E38D23-4F5A-46C2-9C4E-C8819AB3118D}" srcOrd="0" destOrd="0" presId="urn:microsoft.com/office/officeart/2005/8/layout/hList1"/>
    <dgm:cxn modelId="{3216F61B-3240-4BF1-AAAB-CB43C371BA7D}" type="presParOf" srcId="{51A400BB-77A3-49BC-B025-9BF78E837B31}" destId="{3469F410-2A05-43B8-84DB-D10E42D0EA9C}" srcOrd="1" destOrd="0" presId="urn:microsoft.com/office/officeart/2005/8/layout/hList1"/>
    <dgm:cxn modelId="{F84BBC50-6AF5-40E9-9D0A-21CE1735DCE5}" type="presParOf" srcId="{C4CD706D-897E-4D4F-AEC5-24401612504F}" destId="{3CCB6D98-2CE4-4788-92C4-D8A16119F3CD}" srcOrd="1" destOrd="0" presId="urn:microsoft.com/office/officeart/2005/8/layout/hList1"/>
    <dgm:cxn modelId="{7E231836-7E69-47AB-AFF3-86E2B0D30599}" type="presParOf" srcId="{C4CD706D-897E-4D4F-AEC5-24401612504F}" destId="{127B67BE-3ACD-4480-AD10-2EC17956DC34}" srcOrd="2" destOrd="0" presId="urn:microsoft.com/office/officeart/2005/8/layout/hList1"/>
    <dgm:cxn modelId="{D4C2B5BB-7BC7-4C1F-819B-970D79FA7F26}" type="presParOf" srcId="{127B67BE-3ACD-4480-AD10-2EC17956DC34}" destId="{A7014651-2CCA-4E07-B04E-06E52AFC8E74}" srcOrd="0" destOrd="0" presId="urn:microsoft.com/office/officeart/2005/8/layout/hList1"/>
    <dgm:cxn modelId="{CF595358-0E14-4E3E-882E-2223994247E3}" type="presParOf" srcId="{127B67BE-3ACD-4480-AD10-2EC17956DC34}" destId="{CD977AA8-4F76-4E54-AE6F-EAAC6ECF6B9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6A19455-B93F-4A52-B39F-A76E92E3FD7B}"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73D6A90D-203B-4F48-9674-05C47F016A90}">
      <dgm:prSet custT="1"/>
      <dgm:spPr/>
      <dgm:t>
        <a:bodyPr/>
        <a:lstStyle/>
        <a:p>
          <a:r>
            <a:rPr lang="en-US" sz="2000" baseline="0"/>
            <a:t>Mechanism to optimize inserts and updates </a:t>
          </a:r>
          <a:endParaRPr lang="en-US" sz="2000"/>
        </a:p>
      </dgm:t>
    </dgm:pt>
    <dgm:pt modelId="{671C075B-CC22-4B76-A28D-88B4BD52CC11}" type="parTrans" cxnId="{611ED9C9-99E7-4D41-8E86-030B087FEBB7}">
      <dgm:prSet/>
      <dgm:spPr/>
      <dgm:t>
        <a:bodyPr/>
        <a:lstStyle/>
        <a:p>
          <a:endParaRPr lang="en-US"/>
        </a:p>
      </dgm:t>
    </dgm:pt>
    <dgm:pt modelId="{0A4CC98D-D9EB-4C2C-B095-271B9A912E9E}" type="sibTrans" cxnId="{611ED9C9-99E7-4D41-8E86-030B087FEBB7}">
      <dgm:prSet/>
      <dgm:spPr/>
      <dgm:t>
        <a:bodyPr/>
        <a:lstStyle/>
        <a:p>
          <a:endParaRPr lang="en-US"/>
        </a:p>
      </dgm:t>
    </dgm:pt>
    <dgm:pt modelId="{88FE7CAA-1D77-47B4-9BDD-C2E2E3F6B833}">
      <dgm:prSet custT="1"/>
      <dgm:spPr/>
      <dgm:t>
        <a:bodyPr/>
        <a:lstStyle/>
        <a:p>
          <a:r>
            <a:rPr lang="en-US" sz="2000" baseline="0"/>
            <a:t>Occurs when page is full to hold a new or updated row</a:t>
          </a:r>
          <a:endParaRPr lang="en-US" sz="2000"/>
        </a:p>
      </dgm:t>
    </dgm:pt>
    <dgm:pt modelId="{699B0E30-E562-48A1-973F-71BDB265D3D0}" type="parTrans" cxnId="{7057DC1A-24C4-48F4-890E-70BDD667E6DE}">
      <dgm:prSet/>
      <dgm:spPr/>
      <dgm:t>
        <a:bodyPr/>
        <a:lstStyle/>
        <a:p>
          <a:endParaRPr lang="en-US"/>
        </a:p>
      </dgm:t>
    </dgm:pt>
    <dgm:pt modelId="{F35CF95F-A5F8-46A6-926B-EB3266B88C78}" type="sibTrans" cxnId="{7057DC1A-24C4-48F4-890E-70BDD667E6DE}">
      <dgm:prSet/>
      <dgm:spPr/>
      <dgm:t>
        <a:bodyPr/>
        <a:lstStyle/>
        <a:p>
          <a:endParaRPr lang="en-US"/>
        </a:p>
      </dgm:t>
    </dgm:pt>
    <dgm:pt modelId="{4171BE86-1120-432D-AA15-AF89194A63C6}">
      <dgm:prSet custT="1"/>
      <dgm:spPr/>
      <dgm:t>
        <a:bodyPr/>
        <a:lstStyle/>
        <a:p>
          <a:r>
            <a:rPr lang="en-US" sz="2000" kern="1200" baseline="0">
              <a:latin typeface="Segoe UI"/>
              <a:ea typeface="+mn-ea"/>
              <a:cs typeface="+mn-cs"/>
            </a:rPr>
            <a:t>Half the rows are moved to a new page</a:t>
          </a:r>
        </a:p>
      </dgm:t>
    </dgm:pt>
    <dgm:pt modelId="{01827BBB-E954-4873-B10E-E9EC1D0390A3}" type="parTrans" cxnId="{F6AD2293-6103-44E7-92CF-10E3EC3F3253}">
      <dgm:prSet/>
      <dgm:spPr/>
      <dgm:t>
        <a:bodyPr/>
        <a:lstStyle/>
        <a:p>
          <a:endParaRPr lang="en-US"/>
        </a:p>
      </dgm:t>
    </dgm:pt>
    <dgm:pt modelId="{3E89C675-D2F8-4073-9782-7B5012D7A71A}" type="sibTrans" cxnId="{F6AD2293-6103-44E7-92CF-10E3EC3F3253}">
      <dgm:prSet/>
      <dgm:spPr/>
      <dgm:t>
        <a:bodyPr/>
        <a:lstStyle/>
        <a:p>
          <a:endParaRPr lang="en-US"/>
        </a:p>
      </dgm:t>
    </dgm:pt>
    <dgm:pt modelId="{1828F0AE-6A2F-4A53-88DC-C0E6DCE71603}">
      <dgm:prSet custT="1"/>
      <dgm:spPr/>
      <dgm:t>
        <a:bodyPr/>
        <a:lstStyle/>
        <a:p>
          <a:r>
            <a:rPr lang="en-US" sz="2000" kern="1200" baseline="0">
              <a:latin typeface="Segoe UI"/>
              <a:ea typeface="+mn-ea"/>
              <a:cs typeface="+mn-cs"/>
            </a:rPr>
            <a:t>The new page is added after the last existing page</a:t>
          </a:r>
        </a:p>
      </dgm:t>
    </dgm:pt>
    <dgm:pt modelId="{25C2A380-3E5A-4453-8F2D-949898A11794}" type="parTrans" cxnId="{C663B6B9-5CD0-4D86-AF7B-1BAF84FDAB52}">
      <dgm:prSet/>
      <dgm:spPr/>
      <dgm:t>
        <a:bodyPr/>
        <a:lstStyle/>
        <a:p>
          <a:endParaRPr lang="en-US"/>
        </a:p>
      </dgm:t>
    </dgm:pt>
    <dgm:pt modelId="{6D0836A8-F7E7-43B5-AD62-A80219DAC9BA}" type="sibTrans" cxnId="{C663B6B9-5CD0-4D86-AF7B-1BAF84FDAB52}">
      <dgm:prSet/>
      <dgm:spPr/>
      <dgm:t>
        <a:bodyPr/>
        <a:lstStyle/>
        <a:p>
          <a:endParaRPr lang="en-US"/>
        </a:p>
      </dgm:t>
    </dgm:pt>
    <dgm:pt modelId="{C0BF5E6E-305E-4298-82C5-6984F8BE73DE}">
      <dgm:prSet custT="1"/>
      <dgm:spPr/>
      <dgm:t>
        <a:bodyPr/>
        <a:lstStyle/>
        <a:p>
          <a:r>
            <a:rPr lang="en-US" sz="2000" baseline="0"/>
            <a:t>Cost associated with Page splits</a:t>
          </a:r>
          <a:endParaRPr lang="en-US" sz="2000"/>
        </a:p>
      </dgm:t>
    </dgm:pt>
    <dgm:pt modelId="{1C3DF5E9-D8FE-48D9-B506-5D9CD0CDA6A5}" type="parTrans" cxnId="{3A730D11-58D9-4C8D-A147-87EB7FE99673}">
      <dgm:prSet/>
      <dgm:spPr/>
      <dgm:t>
        <a:bodyPr/>
        <a:lstStyle/>
        <a:p>
          <a:endParaRPr lang="en-US"/>
        </a:p>
      </dgm:t>
    </dgm:pt>
    <dgm:pt modelId="{81FBE1DF-EF27-4BB1-BC99-C346319B5105}" type="sibTrans" cxnId="{3A730D11-58D9-4C8D-A147-87EB7FE99673}">
      <dgm:prSet/>
      <dgm:spPr/>
      <dgm:t>
        <a:bodyPr/>
        <a:lstStyle/>
        <a:p>
          <a:endParaRPr lang="en-US"/>
        </a:p>
      </dgm:t>
    </dgm:pt>
    <dgm:pt modelId="{F573EFE0-7C21-4387-AF32-5CFA150418D9}">
      <dgm:prSet custT="1"/>
      <dgm:spPr/>
      <dgm:t>
        <a:bodyPr/>
        <a:lstStyle/>
        <a:p>
          <a:r>
            <a:rPr lang="en-US" sz="1800" baseline="0"/>
            <a:t>Fragmentation, which affects scan performance</a:t>
          </a:r>
          <a:endParaRPr lang="en-US" sz="1800"/>
        </a:p>
      </dgm:t>
    </dgm:pt>
    <dgm:pt modelId="{8985DC05-D868-45AD-82F5-E8586B1869C0}" type="parTrans" cxnId="{9CAD5C32-9341-46B2-B902-20E5AE968381}">
      <dgm:prSet/>
      <dgm:spPr/>
      <dgm:t>
        <a:bodyPr/>
        <a:lstStyle/>
        <a:p>
          <a:endParaRPr lang="en-US"/>
        </a:p>
      </dgm:t>
    </dgm:pt>
    <dgm:pt modelId="{4F56EFFF-9620-4B37-98AC-4BD4D73E3D73}" type="sibTrans" cxnId="{9CAD5C32-9341-46B2-B902-20E5AE968381}">
      <dgm:prSet/>
      <dgm:spPr/>
      <dgm:t>
        <a:bodyPr/>
        <a:lstStyle/>
        <a:p>
          <a:endParaRPr lang="en-US"/>
        </a:p>
      </dgm:t>
    </dgm:pt>
    <dgm:pt modelId="{186BBCFD-2715-425E-BB74-1FFA87CD8F87}">
      <dgm:prSet custT="1"/>
      <dgm:spPr/>
      <dgm:t>
        <a:bodyPr/>
        <a:lstStyle/>
        <a:p>
          <a:r>
            <a:rPr lang="en-US" sz="1800" baseline="0"/>
            <a:t>Wasted free space, which affects Page Density</a:t>
          </a:r>
          <a:endParaRPr lang="en-US" sz="1800"/>
        </a:p>
      </dgm:t>
    </dgm:pt>
    <dgm:pt modelId="{3014074B-9FA6-4360-A136-0407CB549AA3}" type="parTrans" cxnId="{C95A08ED-22DA-4FE9-AB15-439CFC45FF8E}">
      <dgm:prSet/>
      <dgm:spPr/>
      <dgm:t>
        <a:bodyPr/>
        <a:lstStyle/>
        <a:p>
          <a:endParaRPr lang="en-US"/>
        </a:p>
      </dgm:t>
    </dgm:pt>
    <dgm:pt modelId="{E7831D9A-CB74-43FA-9121-88E6693ADD47}" type="sibTrans" cxnId="{C95A08ED-22DA-4FE9-AB15-439CFC45FF8E}">
      <dgm:prSet/>
      <dgm:spPr/>
      <dgm:t>
        <a:bodyPr/>
        <a:lstStyle/>
        <a:p>
          <a:endParaRPr lang="en-US"/>
        </a:p>
      </dgm:t>
    </dgm:pt>
    <dgm:pt modelId="{25686C36-26B5-47FD-A467-84404D55BC66}" type="pres">
      <dgm:prSet presAssocID="{D6A19455-B93F-4A52-B39F-A76E92E3FD7B}" presName="linear" presStyleCnt="0">
        <dgm:presLayoutVars>
          <dgm:dir/>
          <dgm:animLvl val="lvl"/>
          <dgm:resizeHandles val="exact"/>
        </dgm:presLayoutVars>
      </dgm:prSet>
      <dgm:spPr/>
    </dgm:pt>
    <dgm:pt modelId="{49954D58-D43A-4FD7-A4A7-DC49CB89280C}" type="pres">
      <dgm:prSet presAssocID="{73D6A90D-203B-4F48-9674-05C47F016A90}" presName="parentLin" presStyleCnt="0"/>
      <dgm:spPr/>
    </dgm:pt>
    <dgm:pt modelId="{50D0FF44-B068-4EA7-BB6A-B69588B4E4B7}" type="pres">
      <dgm:prSet presAssocID="{73D6A90D-203B-4F48-9674-05C47F016A90}" presName="parentLeftMargin" presStyleLbl="node1" presStyleIdx="0" presStyleCnt="5"/>
      <dgm:spPr/>
    </dgm:pt>
    <dgm:pt modelId="{241BEF7F-D210-4B4B-8E27-4916FD9A71AF}" type="pres">
      <dgm:prSet presAssocID="{73D6A90D-203B-4F48-9674-05C47F016A90}" presName="parentText" presStyleLbl="node1" presStyleIdx="0" presStyleCnt="5" custScaleY="148070">
        <dgm:presLayoutVars>
          <dgm:chMax val="0"/>
          <dgm:bulletEnabled val="1"/>
        </dgm:presLayoutVars>
      </dgm:prSet>
      <dgm:spPr/>
    </dgm:pt>
    <dgm:pt modelId="{32BA57E7-82D1-40A8-B6BC-1572B276DBFE}" type="pres">
      <dgm:prSet presAssocID="{73D6A90D-203B-4F48-9674-05C47F016A90}" presName="negativeSpace" presStyleCnt="0"/>
      <dgm:spPr/>
    </dgm:pt>
    <dgm:pt modelId="{FE71F34A-3D42-4749-9088-A97ACDC87882}" type="pres">
      <dgm:prSet presAssocID="{73D6A90D-203B-4F48-9674-05C47F016A90}" presName="childText" presStyleLbl="conFgAcc1" presStyleIdx="0" presStyleCnt="5">
        <dgm:presLayoutVars>
          <dgm:bulletEnabled val="1"/>
        </dgm:presLayoutVars>
      </dgm:prSet>
      <dgm:spPr/>
    </dgm:pt>
    <dgm:pt modelId="{9A816EE8-86B6-44AD-A1EA-474AEF74F21D}" type="pres">
      <dgm:prSet presAssocID="{0A4CC98D-D9EB-4C2C-B095-271B9A912E9E}" presName="spaceBetweenRectangles" presStyleCnt="0"/>
      <dgm:spPr/>
    </dgm:pt>
    <dgm:pt modelId="{743152DB-834E-4A6E-8977-E61F02BC4F1E}" type="pres">
      <dgm:prSet presAssocID="{88FE7CAA-1D77-47B4-9BDD-C2E2E3F6B833}" presName="parentLin" presStyleCnt="0"/>
      <dgm:spPr/>
    </dgm:pt>
    <dgm:pt modelId="{144E89CD-7A9C-4C3A-9613-F0589265BFA8}" type="pres">
      <dgm:prSet presAssocID="{88FE7CAA-1D77-47B4-9BDD-C2E2E3F6B833}" presName="parentLeftMargin" presStyleLbl="node1" presStyleIdx="0" presStyleCnt="5"/>
      <dgm:spPr/>
    </dgm:pt>
    <dgm:pt modelId="{33094C48-9D65-4ACB-8EC7-8616878F438D}" type="pres">
      <dgm:prSet presAssocID="{88FE7CAA-1D77-47B4-9BDD-C2E2E3F6B833}" presName="parentText" presStyleLbl="node1" presStyleIdx="1" presStyleCnt="5" custScaleY="148070">
        <dgm:presLayoutVars>
          <dgm:chMax val="0"/>
          <dgm:bulletEnabled val="1"/>
        </dgm:presLayoutVars>
      </dgm:prSet>
      <dgm:spPr/>
    </dgm:pt>
    <dgm:pt modelId="{EFF4362C-7D10-45C7-BAF0-B9A733C55AAF}" type="pres">
      <dgm:prSet presAssocID="{88FE7CAA-1D77-47B4-9BDD-C2E2E3F6B833}" presName="negativeSpace" presStyleCnt="0"/>
      <dgm:spPr/>
    </dgm:pt>
    <dgm:pt modelId="{C4D36423-DC7B-46D6-A2CB-F30E3176435D}" type="pres">
      <dgm:prSet presAssocID="{88FE7CAA-1D77-47B4-9BDD-C2E2E3F6B833}" presName="childText" presStyleLbl="conFgAcc1" presStyleIdx="1" presStyleCnt="5">
        <dgm:presLayoutVars>
          <dgm:bulletEnabled val="1"/>
        </dgm:presLayoutVars>
      </dgm:prSet>
      <dgm:spPr/>
    </dgm:pt>
    <dgm:pt modelId="{F1BCC1CD-2BEA-48AF-A833-A214D9D8714E}" type="pres">
      <dgm:prSet presAssocID="{F35CF95F-A5F8-46A6-926B-EB3266B88C78}" presName="spaceBetweenRectangles" presStyleCnt="0"/>
      <dgm:spPr/>
    </dgm:pt>
    <dgm:pt modelId="{3E6F4690-4CF4-4215-ADC2-DA386CE32BE8}" type="pres">
      <dgm:prSet presAssocID="{4171BE86-1120-432D-AA15-AF89194A63C6}" presName="parentLin" presStyleCnt="0"/>
      <dgm:spPr/>
    </dgm:pt>
    <dgm:pt modelId="{307FF8D3-C8B4-4DDA-9360-ACFE014D6136}" type="pres">
      <dgm:prSet presAssocID="{4171BE86-1120-432D-AA15-AF89194A63C6}" presName="parentLeftMargin" presStyleLbl="node1" presStyleIdx="1" presStyleCnt="5"/>
      <dgm:spPr/>
    </dgm:pt>
    <dgm:pt modelId="{54EB3887-831A-47EE-876A-E299C0B494FB}" type="pres">
      <dgm:prSet presAssocID="{4171BE86-1120-432D-AA15-AF89194A63C6}" presName="parentText" presStyleLbl="node1" presStyleIdx="2" presStyleCnt="5" custScaleY="148070">
        <dgm:presLayoutVars>
          <dgm:chMax val="0"/>
          <dgm:bulletEnabled val="1"/>
        </dgm:presLayoutVars>
      </dgm:prSet>
      <dgm:spPr/>
    </dgm:pt>
    <dgm:pt modelId="{538D9502-038A-4669-8642-42BDF7D2D96C}" type="pres">
      <dgm:prSet presAssocID="{4171BE86-1120-432D-AA15-AF89194A63C6}" presName="negativeSpace" presStyleCnt="0"/>
      <dgm:spPr/>
    </dgm:pt>
    <dgm:pt modelId="{A4A9B60A-D4D8-4EC7-95A8-60B90CC12A55}" type="pres">
      <dgm:prSet presAssocID="{4171BE86-1120-432D-AA15-AF89194A63C6}" presName="childText" presStyleLbl="conFgAcc1" presStyleIdx="2" presStyleCnt="5">
        <dgm:presLayoutVars>
          <dgm:bulletEnabled val="1"/>
        </dgm:presLayoutVars>
      </dgm:prSet>
      <dgm:spPr/>
    </dgm:pt>
    <dgm:pt modelId="{ECCD853A-85E4-49F5-8BB3-022F927842E5}" type="pres">
      <dgm:prSet presAssocID="{3E89C675-D2F8-4073-9782-7B5012D7A71A}" presName="spaceBetweenRectangles" presStyleCnt="0"/>
      <dgm:spPr/>
    </dgm:pt>
    <dgm:pt modelId="{1A8BEDDF-05C4-4A8B-8B67-9FCF3C3196C5}" type="pres">
      <dgm:prSet presAssocID="{1828F0AE-6A2F-4A53-88DC-C0E6DCE71603}" presName="parentLin" presStyleCnt="0"/>
      <dgm:spPr/>
    </dgm:pt>
    <dgm:pt modelId="{F921635A-62F1-40BF-A773-5BF6572FF401}" type="pres">
      <dgm:prSet presAssocID="{1828F0AE-6A2F-4A53-88DC-C0E6DCE71603}" presName="parentLeftMargin" presStyleLbl="node1" presStyleIdx="2" presStyleCnt="5"/>
      <dgm:spPr/>
    </dgm:pt>
    <dgm:pt modelId="{470C2440-2F90-48FD-8381-940DBCDF2C8E}" type="pres">
      <dgm:prSet presAssocID="{1828F0AE-6A2F-4A53-88DC-C0E6DCE71603}" presName="parentText" presStyleLbl="node1" presStyleIdx="3" presStyleCnt="5" custScaleY="148070" custLinFactNeighborX="-10417" custLinFactNeighborY="4739">
        <dgm:presLayoutVars>
          <dgm:chMax val="0"/>
          <dgm:bulletEnabled val="1"/>
        </dgm:presLayoutVars>
      </dgm:prSet>
      <dgm:spPr/>
    </dgm:pt>
    <dgm:pt modelId="{F5D501ED-96AD-4F6A-85BE-B0189D120F10}" type="pres">
      <dgm:prSet presAssocID="{1828F0AE-6A2F-4A53-88DC-C0E6DCE71603}" presName="negativeSpace" presStyleCnt="0"/>
      <dgm:spPr/>
    </dgm:pt>
    <dgm:pt modelId="{5C105931-40FD-480C-9483-B2153ED20022}" type="pres">
      <dgm:prSet presAssocID="{1828F0AE-6A2F-4A53-88DC-C0E6DCE71603}" presName="childText" presStyleLbl="conFgAcc1" presStyleIdx="3" presStyleCnt="5">
        <dgm:presLayoutVars>
          <dgm:bulletEnabled val="1"/>
        </dgm:presLayoutVars>
      </dgm:prSet>
      <dgm:spPr/>
    </dgm:pt>
    <dgm:pt modelId="{13F75000-B18B-430F-B291-73DA56115F81}" type="pres">
      <dgm:prSet presAssocID="{6D0836A8-F7E7-43B5-AD62-A80219DAC9BA}" presName="spaceBetweenRectangles" presStyleCnt="0"/>
      <dgm:spPr/>
    </dgm:pt>
    <dgm:pt modelId="{E029AED7-92F7-4F9D-834B-FCFAE37AD393}" type="pres">
      <dgm:prSet presAssocID="{C0BF5E6E-305E-4298-82C5-6984F8BE73DE}" presName="parentLin" presStyleCnt="0"/>
      <dgm:spPr/>
    </dgm:pt>
    <dgm:pt modelId="{E2DBAB1D-0560-4ADD-9CFE-984488270DAE}" type="pres">
      <dgm:prSet presAssocID="{C0BF5E6E-305E-4298-82C5-6984F8BE73DE}" presName="parentLeftMargin" presStyleLbl="node1" presStyleIdx="3" presStyleCnt="5"/>
      <dgm:spPr/>
    </dgm:pt>
    <dgm:pt modelId="{A30B2381-01A4-46E2-8C3B-067D48F2DA13}" type="pres">
      <dgm:prSet presAssocID="{C0BF5E6E-305E-4298-82C5-6984F8BE73DE}" presName="parentText" presStyleLbl="node1" presStyleIdx="4" presStyleCnt="5" custScaleY="148070">
        <dgm:presLayoutVars>
          <dgm:chMax val="0"/>
          <dgm:bulletEnabled val="1"/>
        </dgm:presLayoutVars>
      </dgm:prSet>
      <dgm:spPr/>
    </dgm:pt>
    <dgm:pt modelId="{127814B9-87B8-4A9A-868C-855229AB250C}" type="pres">
      <dgm:prSet presAssocID="{C0BF5E6E-305E-4298-82C5-6984F8BE73DE}" presName="negativeSpace" presStyleCnt="0"/>
      <dgm:spPr/>
    </dgm:pt>
    <dgm:pt modelId="{02CDDF7E-094F-4EFB-9772-B6785B8C782B}" type="pres">
      <dgm:prSet presAssocID="{C0BF5E6E-305E-4298-82C5-6984F8BE73DE}" presName="childText" presStyleLbl="conFgAcc1" presStyleIdx="4" presStyleCnt="5">
        <dgm:presLayoutVars>
          <dgm:bulletEnabled val="1"/>
        </dgm:presLayoutVars>
      </dgm:prSet>
      <dgm:spPr/>
    </dgm:pt>
  </dgm:ptLst>
  <dgm:cxnLst>
    <dgm:cxn modelId="{4075480B-BA3D-4F30-B72C-55BB09DAD656}" type="presOf" srcId="{C0BF5E6E-305E-4298-82C5-6984F8BE73DE}" destId="{A30B2381-01A4-46E2-8C3B-067D48F2DA13}" srcOrd="1" destOrd="0" presId="urn:microsoft.com/office/officeart/2005/8/layout/list1"/>
    <dgm:cxn modelId="{3A730D11-58D9-4C8D-A147-87EB7FE99673}" srcId="{D6A19455-B93F-4A52-B39F-A76E92E3FD7B}" destId="{C0BF5E6E-305E-4298-82C5-6984F8BE73DE}" srcOrd="4" destOrd="0" parTransId="{1C3DF5E9-D8FE-48D9-B506-5D9CD0CDA6A5}" sibTransId="{81FBE1DF-EF27-4BB1-BC99-C346319B5105}"/>
    <dgm:cxn modelId="{7057DC1A-24C4-48F4-890E-70BDD667E6DE}" srcId="{D6A19455-B93F-4A52-B39F-A76E92E3FD7B}" destId="{88FE7CAA-1D77-47B4-9BDD-C2E2E3F6B833}" srcOrd="1" destOrd="0" parTransId="{699B0E30-E562-48A1-973F-71BDB265D3D0}" sibTransId="{F35CF95F-A5F8-46A6-926B-EB3266B88C78}"/>
    <dgm:cxn modelId="{1C6C091C-0A92-4412-93FD-52F740DD3F4C}" type="presOf" srcId="{C0BF5E6E-305E-4298-82C5-6984F8BE73DE}" destId="{E2DBAB1D-0560-4ADD-9CFE-984488270DAE}" srcOrd="0" destOrd="0" presId="urn:microsoft.com/office/officeart/2005/8/layout/list1"/>
    <dgm:cxn modelId="{9CAD5C32-9341-46B2-B902-20E5AE968381}" srcId="{C0BF5E6E-305E-4298-82C5-6984F8BE73DE}" destId="{F573EFE0-7C21-4387-AF32-5CFA150418D9}" srcOrd="0" destOrd="0" parTransId="{8985DC05-D868-45AD-82F5-E8586B1869C0}" sibTransId="{4F56EFFF-9620-4B37-98AC-4BD4D73E3D73}"/>
    <dgm:cxn modelId="{AFC35F5B-6C93-4AB0-A81F-BBC0378902EF}" type="presOf" srcId="{4171BE86-1120-432D-AA15-AF89194A63C6}" destId="{54EB3887-831A-47EE-876A-E299C0B494FB}" srcOrd="1" destOrd="0" presId="urn:microsoft.com/office/officeart/2005/8/layout/list1"/>
    <dgm:cxn modelId="{4CDBB269-23F7-4B47-B940-FC0582F07ED9}" type="presOf" srcId="{88FE7CAA-1D77-47B4-9BDD-C2E2E3F6B833}" destId="{33094C48-9D65-4ACB-8EC7-8616878F438D}" srcOrd="1" destOrd="0" presId="urn:microsoft.com/office/officeart/2005/8/layout/list1"/>
    <dgm:cxn modelId="{D631826E-A2E6-4DBD-AC58-A06738F365E3}" type="presOf" srcId="{F573EFE0-7C21-4387-AF32-5CFA150418D9}" destId="{02CDDF7E-094F-4EFB-9772-B6785B8C782B}" srcOrd="0" destOrd="0" presId="urn:microsoft.com/office/officeart/2005/8/layout/list1"/>
    <dgm:cxn modelId="{4F1B9A55-113C-4ACE-B7C4-DC26A056664C}" type="presOf" srcId="{4171BE86-1120-432D-AA15-AF89194A63C6}" destId="{307FF8D3-C8B4-4DDA-9360-ACFE014D6136}" srcOrd="0" destOrd="0" presId="urn:microsoft.com/office/officeart/2005/8/layout/list1"/>
    <dgm:cxn modelId="{EA216B56-EB20-4CB9-B382-F14783E5D220}" type="presOf" srcId="{D6A19455-B93F-4A52-B39F-A76E92E3FD7B}" destId="{25686C36-26B5-47FD-A467-84404D55BC66}" srcOrd="0" destOrd="0" presId="urn:microsoft.com/office/officeart/2005/8/layout/list1"/>
    <dgm:cxn modelId="{F6AD2293-6103-44E7-92CF-10E3EC3F3253}" srcId="{D6A19455-B93F-4A52-B39F-A76E92E3FD7B}" destId="{4171BE86-1120-432D-AA15-AF89194A63C6}" srcOrd="2" destOrd="0" parTransId="{01827BBB-E954-4873-B10E-E9EC1D0390A3}" sibTransId="{3E89C675-D2F8-4073-9782-7B5012D7A71A}"/>
    <dgm:cxn modelId="{E8BB3FB9-AB90-4DC0-A629-5AB2BC797045}" type="presOf" srcId="{88FE7CAA-1D77-47B4-9BDD-C2E2E3F6B833}" destId="{144E89CD-7A9C-4C3A-9613-F0589265BFA8}" srcOrd="0" destOrd="0" presId="urn:microsoft.com/office/officeart/2005/8/layout/list1"/>
    <dgm:cxn modelId="{C663B6B9-5CD0-4D86-AF7B-1BAF84FDAB52}" srcId="{D6A19455-B93F-4A52-B39F-A76E92E3FD7B}" destId="{1828F0AE-6A2F-4A53-88DC-C0E6DCE71603}" srcOrd="3" destOrd="0" parTransId="{25C2A380-3E5A-4453-8F2D-949898A11794}" sibTransId="{6D0836A8-F7E7-43B5-AD62-A80219DAC9BA}"/>
    <dgm:cxn modelId="{263533BA-5905-4289-8A8A-3C201E66B2FF}" type="presOf" srcId="{73D6A90D-203B-4F48-9674-05C47F016A90}" destId="{50D0FF44-B068-4EA7-BB6A-B69588B4E4B7}" srcOrd="0" destOrd="0" presId="urn:microsoft.com/office/officeart/2005/8/layout/list1"/>
    <dgm:cxn modelId="{A396A8C7-54E8-45E6-B8D9-59C2ACF1CF40}" type="presOf" srcId="{1828F0AE-6A2F-4A53-88DC-C0E6DCE71603}" destId="{F921635A-62F1-40BF-A773-5BF6572FF401}" srcOrd="0" destOrd="0" presId="urn:microsoft.com/office/officeart/2005/8/layout/list1"/>
    <dgm:cxn modelId="{611ED9C9-99E7-4D41-8E86-030B087FEBB7}" srcId="{D6A19455-B93F-4A52-B39F-A76E92E3FD7B}" destId="{73D6A90D-203B-4F48-9674-05C47F016A90}" srcOrd="0" destOrd="0" parTransId="{671C075B-CC22-4B76-A28D-88B4BD52CC11}" sibTransId="{0A4CC98D-D9EB-4C2C-B095-271B9A912E9E}"/>
    <dgm:cxn modelId="{8DC6ADDF-EA70-4319-B1B0-AFE58E311D6D}" type="presOf" srcId="{186BBCFD-2715-425E-BB74-1FFA87CD8F87}" destId="{02CDDF7E-094F-4EFB-9772-B6785B8C782B}" srcOrd="0" destOrd="1" presId="urn:microsoft.com/office/officeart/2005/8/layout/list1"/>
    <dgm:cxn modelId="{C95A08ED-22DA-4FE9-AB15-439CFC45FF8E}" srcId="{C0BF5E6E-305E-4298-82C5-6984F8BE73DE}" destId="{186BBCFD-2715-425E-BB74-1FFA87CD8F87}" srcOrd="1" destOrd="0" parTransId="{3014074B-9FA6-4360-A136-0407CB549AA3}" sibTransId="{E7831D9A-CB74-43FA-9121-88E6693ADD47}"/>
    <dgm:cxn modelId="{0A641CF0-3D8E-411F-92B6-17CDDC077FC7}" type="presOf" srcId="{73D6A90D-203B-4F48-9674-05C47F016A90}" destId="{241BEF7F-D210-4B4B-8E27-4916FD9A71AF}" srcOrd="1" destOrd="0" presId="urn:microsoft.com/office/officeart/2005/8/layout/list1"/>
    <dgm:cxn modelId="{80F126F0-64C9-4FE8-B530-11C4F0750DC1}" type="presOf" srcId="{1828F0AE-6A2F-4A53-88DC-C0E6DCE71603}" destId="{470C2440-2F90-48FD-8381-940DBCDF2C8E}" srcOrd="1" destOrd="0" presId="urn:microsoft.com/office/officeart/2005/8/layout/list1"/>
    <dgm:cxn modelId="{E17E3BFD-4D3B-4A7B-9554-B48167662095}" type="presParOf" srcId="{25686C36-26B5-47FD-A467-84404D55BC66}" destId="{49954D58-D43A-4FD7-A4A7-DC49CB89280C}" srcOrd="0" destOrd="0" presId="urn:microsoft.com/office/officeart/2005/8/layout/list1"/>
    <dgm:cxn modelId="{488566E6-5F09-42C4-B32C-7BABA154C831}" type="presParOf" srcId="{49954D58-D43A-4FD7-A4A7-DC49CB89280C}" destId="{50D0FF44-B068-4EA7-BB6A-B69588B4E4B7}" srcOrd="0" destOrd="0" presId="urn:microsoft.com/office/officeart/2005/8/layout/list1"/>
    <dgm:cxn modelId="{7699B822-11FB-4F05-9822-48AB291FCA37}" type="presParOf" srcId="{49954D58-D43A-4FD7-A4A7-DC49CB89280C}" destId="{241BEF7F-D210-4B4B-8E27-4916FD9A71AF}" srcOrd="1" destOrd="0" presId="urn:microsoft.com/office/officeart/2005/8/layout/list1"/>
    <dgm:cxn modelId="{5B30DCF8-9916-405F-B12B-1120351C7400}" type="presParOf" srcId="{25686C36-26B5-47FD-A467-84404D55BC66}" destId="{32BA57E7-82D1-40A8-B6BC-1572B276DBFE}" srcOrd="1" destOrd="0" presId="urn:microsoft.com/office/officeart/2005/8/layout/list1"/>
    <dgm:cxn modelId="{408B6A21-BB58-4669-9757-0344EF5ED6E2}" type="presParOf" srcId="{25686C36-26B5-47FD-A467-84404D55BC66}" destId="{FE71F34A-3D42-4749-9088-A97ACDC87882}" srcOrd="2" destOrd="0" presId="urn:microsoft.com/office/officeart/2005/8/layout/list1"/>
    <dgm:cxn modelId="{48DCA2F6-A6C9-4EB0-89A6-08363F8F9BB7}" type="presParOf" srcId="{25686C36-26B5-47FD-A467-84404D55BC66}" destId="{9A816EE8-86B6-44AD-A1EA-474AEF74F21D}" srcOrd="3" destOrd="0" presId="urn:microsoft.com/office/officeart/2005/8/layout/list1"/>
    <dgm:cxn modelId="{07D06B21-2F6A-4693-BF82-F9C84D17151B}" type="presParOf" srcId="{25686C36-26B5-47FD-A467-84404D55BC66}" destId="{743152DB-834E-4A6E-8977-E61F02BC4F1E}" srcOrd="4" destOrd="0" presId="urn:microsoft.com/office/officeart/2005/8/layout/list1"/>
    <dgm:cxn modelId="{13BC8041-DB11-4919-97BC-60DE70BD2716}" type="presParOf" srcId="{743152DB-834E-4A6E-8977-E61F02BC4F1E}" destId="{144E89CD-7A9C-4C3A-9613-F0589265BFA8}" srcOrd="0" destOrd="0" presId="urn:microsoft.com/office/officeart/2005/8/layout/list1"/>
    <dgm:cxn modelId="{5E86925D-E5C6-445F-9473-7B141B9E0D41}" type="presParOf" srcId="{743152DB-834E-4A6E-8977-E61F02BC4F1E}" destId="{33094C48-9D65-4ACB-8EC7-8616878F438D}" srcOrd="1" destOrd="0" presId="urn:microsoft.com/office/officeart/2005/8/layout/list1"/>
    <dgm:cxn modelId="{C326195D-DEE6-4DDD-92EB-A22AF1954AF7}" type="presParOf" srcId="{25686C36-26B5-47FD-A467-84404D55BC66}" destId="{EFF4362C-7D10-45C7-BAF0-B9A733C55AAF}" srcOrd="5" destOrd="0" presId="urn:microsoft.com/office/officeart/2005/8/layout/list1"/>
    <dgm:cxn modelId="{DE9C13EB-AF79-48AE-9762-9A78D83D9D3F}" type="presParOf" srcId="{25686C36-26B5-47FD-A467-84404D55BC66}" destId="{C4D36423-DC7B-46D6-A2CB-F30E3176435D}" srcOrd="6" destOrd="0" presId="urn:microsoft.com/office/officeart/2005/8/layout/list1"/>
    <dgm:cxn modelId="{830D9FF5-3ECE-49CE-82ED-C2AFE915464B}" type="presParOf" srcId="{25686C36-26B5-47FD-A467-84404D55BC66}" destId="{F1BCC1CD-2BEA-48AF-A833-A214D9D8714E}" srcOrd="7" destOrd="0" presId="urn:microsoft.com/office/officeart/2005/8/layout/list1"/>
    <dgm:cxn modelId="{D31BF3F4-E196-467B-8A4A-4754C03F6FA3}" type="presParOf" srcId="{25686C36-26B5-47FD-A467-84404D55BC66}" destId="{3E6F4690-4CF4-4215-ADC2-DA386CE32BE8}" srcOrd="8" destOrd="0" presId="urn:microsoft.com/office/officeart/2005/8/layout/list1"/>
    <dgm:cxn modelId="{657F67BB-83CA-4C12-A600-D5B2C6CDC937}" type="presParOf" srcId="{3E6F4690-4CF4-4215-ADC2-DA386CE32BE8}" destId="{307FF8D3-C8B4-4DDA-9360-ACFE014D6136}" srcOrd="0" destOrd="0" presId="urn:microsoft.com/office/officeart/2005/8/layout/list1"/>
    <dgm:cxn modelId="{A875A742-2A82-4ED8-B83E-7E3B0F349C36}" type="presParOf" srcId="{3E6F4690-4CF4-4215-ADC2-DA386CE32BE8}" destId="{54EB3887-831A-47EE-876A-E299C0B494FB}" srcOrd="1" destOrd="0" presId="urn:microsoft.com/office/officeart/2005/8/layout/list1"/>
    <dgm:cxn modelId="{3DD21C4B-AABD-4881-807D-9D3350D28832}" type="presParOf" srcId="{25686C36-26B5-47FD-A467-84404D55BC66}" destId="{538D9502-038A-4669-8642-42BDF7D2D96C}" srcOrd="9" destOrd="0" presId="urn:microsoft.com/office/officeart/2005/8/layout/list1"/>
    <dgm:cxn modelId="{B17BBCA2-B8A4-4C35-A1E3-ED74D9180C66}" type="presParOf" srcId="{25686C36-26B5-47FD-A467-84404D55BC66}" destId="{A4A9B60A-D4D8-4EC7-95A8-60B90CC12A55}" srcOrd="10" destOrd="0" presId="urn:microsoft.com/office/officeart/2005/8/layout/list1"/>
    <dgm:cxn modelId="{A648F89A-2B06-4F80-9832-B58A97D54526}" type="presParOf" srcId="{25686C36-26B5-47FD-A467-84404D55BC66}" destId="{ECCD853A-85E4-49F5-8BB3-022F927842E5}" srcOrd="11" destOrd="0" presId="urn:microsoft.com/office/officeart/2005/8/layout/list1"/>
    <dgm:cxn modelId="{1F1F0806-0549-4F12-B5CD-44F4F0B1DEF0}" type="presParOf" srcId="{25686C36-26B5-47FD-A467-84404D55BC66}" destId="{1A8BEDDF-05C4-4A8B-8B67-9FCF3C3196C5}" srcOrd="12" destOrd="0" presId="urn:microsoft.com/office/officeart/2005/8/layout/list1"/>
    <dgm:cxn modelId="{4821F70D-1118-4342-A945-BD204E663852}" type="presParOf" srcId="{1A8BEDDF-05C4-4A8B-8B67-9FCF3C3196C5}" destId="{F921635A-62F1-40BF-A773-5BF6572FF401}" srcOrd="0" destOrd="0" presId="urn:microsoft.com/office/officeart/2005/8/layout/list1"/>
    <dgm:cxn modelId="{2D227699-C452-4A5F-A464-2EC6E9C4730F}" type="presParOf" srcId="{1A8BEDDF-05C4-4A8B-8B67-9FCF3C3196C5}" destId="{470C2440-2F90-48FD-8381-940DBCDF2C8E}" srcOrd="1" destOrd="0" presId="urn:microsoft.com/office/officeart/2005/8/layout/list1"/>
    <dgm:cxn modelId="{8A7E1E46-2C42-42F7-B6C4-F7D9AC8E8673}" type="presParOf" srcId="{25686C36-26B5-47FD-A467-84404D55BC66}" destId="{F5D501ED-96AD-4F6A-85BE-B0189D120F10}" srcOrd="13" destOrd="0" presId="urn:microsoft.com/office/officeart/2005/8/layout/list1"/>
    <dgm:cxn modelId="{B0148998-4B79-43F6-82DD-49C2501373DC}" type="presParOf" srcId="{25686C36-26B5-47FD-A467-84404D55BC66}" destId="{5C105931-40FD-480C-9483-B2153ED20022}" srcOrd="14" destOrd="0" presId="urn:microsoft.com/office/officeart/2005/8/layout/list1"/>
    <dgm:cxn modelId="{D03611FB-9393-4FEF-B472-05554A06411A}" type="presParOf" srcId="{25686C36-26B5-47FD-A467-84404D55BC66}" destId="{13F75000-B18B-430F-B291-73DA56115F81}" srcOrd="15" destOrd="0" presId="urn:microsoft.com/office/officeart/2005/8/layout/list1"/>
    <dgm:cxn modelId="{B1092463-31FA-46F8-A547-D1C6B640C3F2}" type="presParOf" srcId="{25686C36-26B5-47FD-A467-84404D55BC66}" destId="{E029AED7-92F7-4F9D-834B-FCFAE37AD393}" srcOrd="16" destOrd="0" presId="urn:microsoft.com/office/officeart/2005/8/layout/list1"/>
    <dgm:cxn modelId="{3A8D8289-0F2F-4ED8-9D31-12CBB50DCB94}" type="presParOf" srcId="{E029AED7-92F7-4F9D-834B-FCFAE37AD393}" destId="{E2DBAB1D-0560-4ADD-9CFE-984488270DAE}" srcOrd="0" destOrd="0" presId="urn:microsoft.com/office/officeart/2005/8/layout/list1"/>
    <dgm:cxn modelId="{BDB51ABB-0808-4904-BD98-D179925C5804}" type="presParOf" srcId="{E029AED7-92F7-4F9D-834B-FCFAE37AD393}" destId="{A30B2381-01A4-46E2-8C3B-067D48F2DA13}" srcOrd="1" destOrd="0" presId="urn:microsoft.com/office/officeart/2005/8/layout/list1"/>
    <dgm:cxn modelId="{640675A8-B007-48B5-80B6-EE140C73CF73}" type="presParOf" srcId="{25686C36-26B5-47FD-A467-84404D55BC66}" destId="{127814B9-87B8-4A9A-868C-855229AB250C}" srcOrd="17" destOrd="0" presId="urn:microsoft.com/office/officeart/2005/8/layout/list1"/>
    <dgm:cxn modelId="{93CFAEC3-7D3D-415A-96D4-00CCE5ED7820}" type="presParOf" srcId="{25686C36-26B5-47FD-A467-84404D55BC66}" destId="{02CDDF7E-094F-4EFB-9772-B6785B8C782B}"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C879D35-8B4C-4075-98AB-550F8BC0C5D5}"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4A18463-413F-4B2D-BCD8-40CCF5850E34}">
      <dgm:prSet/>
      <dgm:spPr/>
      <dgm:t>
        <a:bodyPr/>
        <a:lstStyle/>
        <a:p>
          <a:r>
            <a:rPr lang="en-US" baseline="0"/>
            <a:t>SSMS -&gt; Index Physical Statistics report </a:t>
          </a:r>
          <a:endParaRPr lang="en-US"/>
        </a:p>
      </dgm:t>
    </dgm:pt>
    <dgm:pt modelId="{BB7FA90C-751C-4DA4-B45B-1B31797FB2E0}" type="parTrans" cxnId="{DDEB4301-CDD5-4A98-B12D-25FA70216129}">
      <dgm:prSet/>
      <dgm:spPr/>
      <dgm:t>
        <a:bodyPr/>
        <a:lstStyle/>
        <a:p>
          <a:endParaRPr lang="en-US"/>
        </a:p>
      </dgm:t>
    </dgm:pt>
    <dgm:pt modelId="{AEC3F5E2-E180-4358-B38C-A28CB8B98D76}" type="sibTrans" cxnId="{DDEB4301-CDD5-4A98-B12D-25FA70216129}">
      <dgm:prSet/>
      <dgm:spPr/>
      <dgm:t>
        <a:bodyPr/>
        <a:lstStyle/>
        <a:p>
          <a:endParaRPr lang="en-US"/>
        </a:p>
      </dgm:t>
    </dgm:pt>
    <dgm:pt modelId="{C3AB487F-DD2E-4872-9719-0CD9B0503C03}">
      <dgm:prSet/>
      <dgm:spPr/>
      <dgm:t>
        <a:bodyPr/>
        <a:lstStyle/>
        <a:p>
          <a:r>
            <a:rPr lang="en-US" baseline="0"/>
            <a:t>Will report fragmentation and recommend solution at database level</a:t>
          </a:r>
          <a:endParaRPr lang="en-US"/>
        </a:p>
      </dgm:t>
    </dgm:pt>
    <dgm:pt modelId="{8E0BB17A-2E10-41F3-B141-B0010DEED561}" type="parTrans" cxnId="{9AC0B70E-9136-4DA3-9A6D-C4986F4B2BBE}">
      <dgm:prSet/>
      <dgm:spPr/>
      <dgm:t>
        <a:bodyPr/>
        <a:lstStyle/>
        <a:p>
          <a:endParaRPr lang="en-US"/>
        </a:p>
      </dgm:t>
    </dgm:pt>
    <dgm:pt modelId="{86D22D12-B329-4D2A-B822-34E903A597E7}" type="sibTrans" cxnId="{9AC0B70E-9136-4DA3-9A6D-C4986F4B2BBE}">
      <dgm:prSet/>
      <dgm:spPr/>
      <dgm:t>
        <a:bodyPr/>
        <a:lstStyle/>
        <a:p>
          <a:endParaRPr lang="en-US"/>
        </a:p>
      </dgm:t>
    </dgm:pt>
    <dgm:pt modelId="{D829DDF6-191C-42CE-B034-261D7BBDA1C2}">
      <dgm:prSet/>
      <dgm:spPr/>
      <dgm:t>
        <a:bodyPr/>
        <a:lstStyle/>
        <a:p>
          <a:r>
            <a:rPr lang="en-US" baseline="0"/>
            <a:t>Custom Solution</a:t>
          </a:r>
          <a:endParaRPr lang="en-US"/>
        </a:p>
      </dgm:t>
    </dgm:pt>
    <dgm:pt modelId="{E674B723-CC4A-4E70-9260-F7EA07D29DBF}" type="parTrans" cxnId="{B690F986-3EEB-497F-8624-9A812AC63575}">
      <dgm:prSet/>
      <dgm:spPr/>
      <dgm:t>
        <a:bodyPr/>
        <a:lstStyle/>
        <a:p>
          <a:endParaRPr lang="en-US"/>
        </a:p>
      </dgm:t>
    </dgm:pt>
    <dgm:pt modelId="{8D094E88-2F52-4C78-8BBA-8DC64D4005B2}" type="sibTrans" cxnId="{B690F986-3EEB-497F-8624-9A812AC63575}">
      <dgm:prSet/>
      <dgm:spPr/>
      <dgm:t>
        <a:bodyPr/>
        <a:lstStyle/>
        <a:p>
          <a:endParaRPr lang="en-US"/>
        </a:p>
      </dgm:t>
    </dgm:pt>
    <dgm:pt modelId="{53EBF035-6E3B-42DB-B1B0-6D8DA3B55269}">
      <dgm:prSet/>
      <dgm:spPr/>
      <dgm:t>
        <a:bodyPr/>
        <a:lstStyle/>
        <a:p>
          <a:r>
            <a:rPr lang="en-US" baseline="0"/>
            <a:t>Find fragmentation  using Sys.dm_db_index_physical_stats</a:t>
          </a:r>
          <a:endParaRPr lang="en-US"/>
        </a:p>
      </dgm:t>
    </dgm:pt>
    <dgm:pt modelId="{316C303F-B534-4B7D-BEFA-73F8033770CC}" type="parTrans" cxnId="{DE559F9D-327D-4DC0-8FBF-B7F32FA6BFB0}">
      <dgm:prSet/>
      <dgm:spPr/>
      <dgm:t>
        <a:bodyPr/>
        <a:lstStyle/>
        <a:p>
          <a:endParaRPr lang="en-US"/>
        </a:p>
      </dgm:t>
    </dgm:pt>
    <dgm:pt modelId="{23A1CA50-7FED-4E5F-8313-0FE56FC36EE8}" type="sibTrans" cxnId="{DE559F9D-327D-4DC0-8FBF-B7F32FA6BFB0}">
      <dgm:prSet/>
      <dgm:spPr/>
      <dgm:t>
        <a:bodyPr/>
        <a:lstStyle/>
        <a:p>
          <a:endParaRPr lang="en-US"/>
        </a:p>
      </dgm:t>
    </dgm:pt>
    <dgm:pt modelId="{F80CA93F-813F-4A54-9AD4-9535E8F4585A}">
      <dgm:prSet/>
      <dgm:spPr/>
      <dgm:t>
        <a:bodyPr/>
        <a:lstStyle/>
        <a:p>
          <a:r>
            <a:rPr lang="en-US" baseline="0"/>
            <a:t>Correct fragmentation </a:t>
          </a:r>
          <a:endParaRPr lang="en-US"/>
        </a:p>
      </dgm:t>
    </dgm:pt>
    <dgm:pt modelId="{ECEE077E-90DD-41CF-9348-915E43EC893E}" type="parTrans" cxnId="{2E254FAF-74E8-48BF-A1DE-33EFA7649810}">
      <dgm:prSet/>
      <dgm:spPr/>
      <dgm:t>
        <a:bodyPr/>
        <a:lstStyle/>
        <a:p>
          <a:endParaRPr lang="en-US"/>
        </a:p>
      </dgm:t>
    </dgm:pt>
    <dgm:pt modelId="{98BE8DB2-9D55-4C85-8055-33181DDEC957}" type="sibTrans" cxnId="{2E254FAF-74E8-48BF-A1DE-33EFA7649810}">
      <dgm:prSet/>
      <dgm:spPr/>
      <dgm:t>
        <a:bodyPr/>
        <a:lstStyle/>
        <a:p>
          <a:endParaRPr lang="en-US"/>
        </a:p>
      </dgm:t>
    </dgm:pt>
    <dgm:pt modelId="{DFEBAC53-ABEE-46F0-88C7-F29B8979E196}">
      <dgm:prSet/>
      <dgm:spPr/>
      <dgm:t>
        <a:bodyPr/>
        <a:lstStyle/>
        <a:p>
          <a:r>
            <a:rPr lang="en-US" baseline="0" dirty="0"/>
            <a:t>Can remove Index fragmentation using Rebuild or Reorganize option</a:t>
          </a:r>
          <a:endParaRPr lang="en-US" dirty="0"/>
        </a:p>
      </dgm:t>
    </dgm:pt>
    <dgm:pt modelId="{43DEFF3C-E7AD-427E-B374-B865738750C3}" type="parTrans" cxnId="{9823B134-D0F5-4D33-9B4B-AC5E1EF0C12E}">
      <dgm:prSet/>
      <dgm:spPr/>
      <dgm:t>
        <a:bodyPr/>
        <a:lstStyle/>
        <a:p>
          <a:endParaRPr lang="en-US"/>
        </a:p>
      </dgm:t>
    </dgm:pt>
    <dgm:pt modelId="{749DB640-9308-4E12-A84C-826733F37C1F}" type="sibTrans" cxnId="{9823B134-D0F5-4D33-9B4B-AC5E1EF0C12E}">
      <dgm:prSet/>
      <dgm:spPr/>
      <dgm:t>
        <a:bodyPr/>
        <a:lstStyle/>
        <a:p>
          <a:endParaRPr lang="en-US"/>
        </a:p>
      </dgm:t>
    </dgm:pt>
    <dgm:pt modelId="{8E3175E2-1AE8-46DF-998D-2AC3C2F23AB6}" type="pres">
      <dgm:prSet presAssocID="{CC879D35-8B4C-4075-98AB-550F8BC0C5D5}" presName="linear" presStyleCnt="0">
        <dgm:presLayoutVars>
          <dgm:animLvl val="lvl"/>
          <dgm:resizeHandles val="exact"/>
        </dgm:presLayoutVars>
      </dgm:prSet>
      <dgm:spPr/>
    </dgm:pt>
    <dgm:pt modelId="{5D7E8D5E-8383-4E44-9DEE-A46E2F6F411D}" type="pres">
      <dgm:prSet presAssocID="{94A18463-413F-4B2D-BCD8-40CCF5850E34}" presName="parentText" presStyleLbl="node1" presStyleIdx="0" presStyleCnt="3">
        <dgm:presLayoutVars>
          <dgm:chMax val="0"/>
          <dgm:bulletEnabled val="1"/>
        </dgm:presLayoutVars>
      </dgm:prSet>
      <dgm:spPr/>
    </dgm:pt>
    <dgm:pt modelId="{3C3A9C73-13F5-4745-B924-AC072078D9C3}" type="pres">
      <dgm:prSet presAssocID="{94A18463-413F-4B2D-BCD8-40CCF5850E34}" presName="childText" presStyleLbl="revTx" presStyleIdx="0" presStyleCnt="2">
        <dgm:presLayoutVars>
          <dgm:bulletEnabled val="1"/>
        </dgm:presLayoutVars>
      </dgm:prSet>
      <dgm:spPr/>
    </dgm:pt>
    <dgm:pt modelId="{527B0900-1F74-4410-9055-BDF20697AA77}" type="pres">
      <dgm:prSet presAssocID="{D829DDF6-191C-42CE-B034-261D7BBDA1C2}" presName="parentText" presStyleLbl="node1" presStyleIdx="1" presStyleCnt="3">
        <dgm:presLayoutVars>
          <dgm:chMax val="0"/>
          <dgm:bulletEnabled val="1"/>
        </dgm:presLayoutVars>
      </dgm:prSet>
      <dgm:spPr/>
    </dgm:pt>
    <dgm:pt modelId="{46565560-501A-4FBE-9891-99F6FDFD5FB7}" type="pres">
      <dgm:prSet presAssocID="{D829DDF6-191C-42CE-B034-261D7BBDA1C2}" presName="childText" presStyleLbl="revTx" presStyleIdx="1" presStyleCnt="2">
        <dgm:presLayoutVars>
          <dgm:bulletEnabled val="1"/>
        </dgm:presLayoutVars>
      </dgm:prSet>
      <dgm:spPr/>
    </dgm:pt>
    <dgm:pt modelId="{FEBA1E8B-15A8-4350-ACDB-E786E9AD7607}" type="pres">
      <dgm:prSet presAssocID="{DFEBAC53-ABEE-46F0-88C7-F29B8979E196}" presName="parentText" presStyleLbl="node1" presStyleIdx="2" presStyleCnt="3">
        <dgm:presLayoutVars>
          <dgm:chMax val="0"/>
          <dgm:bulletEnabled val="1"/>
        </dgm:presLayoutVars>
      </dgm:prSet>
      <dgm:spPr/>
    </dgm:pt>
  </dgm:ptLst>
  <dgm:cxnLst>
    <dgm:cxn modelId="{DDEB4301-CDD5-4A98-B12D-25FA70216129}" srcId="{CC879D35-8B4C-4075-98AB-550F8BC0C5D5}" destId="{94A18463-413F-4B2D-BCD8-40CCF5850E34}" srcOrd="0" destOrd="0" parTransId="{BB7FA90C-751C-4DA4-B45B-1B31797FB2E0}" sibTransId="{AEC3F5E2-E180-4358-B38C-A28CB8B98D76}"/>
    <dgm:cxn modelId="{9AC0B70E-9136-4DA3-9A6D-C4986F4B2BBE}" srcId="{94A18463-413F-4B2D-BCD8-40CCF5850E34}" destId="{C3AB487F-DD2E-4872-9719-0CD9B0503C03}" srcOrd="0" destOrd="0" parTransId="{8E0BB17A-2E10-41F3-B141-B0010DEED561}" sibTransId="{86D22D12-B329-4D2A-B822-34E903A597E7}"/>
    <dgm:cxn modelId="{9823B134-D0F5-4D33-9B4B-AC5E1EF0C12E}" srcId="{CC879D35-8B4C-4075-98AB-550F8BC0C5D5}" destId="{DFEBAC53-ABEE-46F0-88C7-F29B8979E196}" srcOrd="2" destOrd="0" parTransId="{43DEFF3C-E7AD-427E-B374-B865738750C3}" sibTransId="{749DB640-9308-4E12-A84C-826733F37C1F}"/>
    <dgm:cxn modelId="{E233AD3C-B3E6-4049-B62A-53B219DBA7EA}" type="presOf" srcId="{F80CA93F-813F-4A54-9AD4-9535E8F4585A}" destId="{46565560-501A-4FBE-9891-99F6FDFD5FB7}" srcOrd="0" destOrd="1" presId="urn:microsoft.com/office/officeart/2005/8/layout/vList2"/>
    <dgm:cxn modelId="{5577215A-6992-4381-83F5-FDCCB02301CA}" type="presOf" srcId="{D829DDF6-191C-42CE-B034-261D7BBDA1C2}" destId="{527B0900-1F74-4410-9055-BDF20697AA77}" srcOrd="0" destOrd="0" presId="urn:microsoft.com/office/officeart/2005/8/layout/vList2"/>
    <dgm:cxn modelId="{B690F986-3EEB-497F-8624-9A812AC63575}" srcId="{CC879D35-8B4C-4075-98AB-550F8BC0C5D5}" destId="{D829DDF6-191C-42CE-B034-261D7BBDA1C2}" srcOrd="1" destOrd="0" parTransId="{E674B723-CC4A-4E70-9260-F7EA07D29DBF}" sibTransId="{8D094E88-2F52-4C78-8BBA-8DC64D4005B2}"/>
    <dgm:cxn modelId="{9DDDC296-E081-4150-9AD5-7F3506C65921}" type="presOf" srcId="{53EBF035-6E3B-42DB-B1B0-6D8DA3B55269}" destId="{46565560-501A-4FBE-9891-99F6FDFD5FB7}" srcOrd="0" destOrd="0" presId="urn:microsoft.com/office/officeart/2005/8/layout/vList2"/>
    <dgm:cxn modelId="{DE559F9D-327D-4DC0-8FBF-B7F32FA6BFB0}" srcId="{D829DDF6-191C-42CE-B034-261D7BBDA1C2}" destId="{53EBF035-6E3B-42DB-B1B0-6D8DA3B55269}" srcOrd="0" destOrd="0" parTransId="{316C303F-B534-4B7D-BEFA-73F8033770CC}" sibTransId="{23A1CA50-7FED-4E5F-8313-0FE56FC36EE8}"/>
    <dgm:cxn modelId="{2A15FBA6-8845-4DA7-B32D-A2CB676DA8DD}" type="presOf" srcId="{C3AB487F-DD2E-4872-9719-0CD9B0503C03}" destId="{3C3A9C73-13F5-4745-B924-AC072078D9C3}" srcOrd="0" destOrd="0" presId="urn:microsoft.com/office/officeart/2005/8/layout/vList2"/>
    <dgm:cxn modelId="{2E254FAF-74E8-48BF-A1DE-33EFA7649810}" srcId="{D829DDF6-191C-42CE-B034-261D7BBDA1C2}" destId="{F80CA93F-813F-4A54-9AD4-9535E8F4585A}" srcOrd="1" destOrd="0" parTransId="{ECEE077E-90DD-41CF-9348-915E43EC893E}" sibTransId="{98BE8DB2-9D55-4C85-8055-33181DDEC957}"/>
    <dgm:cxn modelId="{E27967CE-5670-4B08-A240-9C2DA09BF747}" type="presOf" srcId="{CC879D35-8B4C-4075-98AB-550F8BC0C5D5}" destId="{8E3175E2-1AE8-46DF-998D-2AC3C2F23AB6}" srcOrd="0" destOrd="0" presId="urn:microsoft.com/office/officeart/2005/8/layout/vList2"/>
    <dgm:cxn modelId="{539570F1-1EF2-43E4-B019-F5BD8DDCD705}" type="presOf" srcId="{DFEBAC53-ABEE-46F0-88C7-F29B8979E196}" destId="{FEBA1E8B-15A8-4350-ACDB-E786E9AD7607}" srcOrd="0" destOrd="0" presId="urn:microsoft.com/office/officeart/2005/8/layout/vList2"/>
    <dgm:cxn modelId="{E5E384FD-7450-466A-84F5-2D6D62215DC3}" type="presOf" srcId="{94A18463-413F-4B2D-BCD8-40CCF5850E34}" destId="{5D7E8D5E-8383-4E44-9DEE-A46E2F6F411D}" srcOrd="0" destOrd="0" presId="urn:microsoft.com/office/officeart/2005/8/layout/vList2"/>
    <dgm:cxn modelId="{01222B29-B3FC-4A4B-B07D-41476B1F9E9B}" type="presParOf" srcId="{8E3175E2-1AE8-46DF-998D-2AC3C2F23AB6}" destId="{5D7E8D5E-8383-4E44-9DEE-A46E2F6F411D}" srcOrd="0" destOrd="0" presId="urn:microsoft.com/office/officeart/2005/8/layout/vList2"/>
    <dgm:cxn modelId="{C3D86FCB-733A-445C-9E68-205409E986A8}" type="presParOf" srcId="{8E3175E2-1AE8-46DF-998D-2AC3C2F23AB6}" destId="{3C3A9C73-13F5-4745-B924-AC072078D9C3}" srcOrd="1" destOrd="0" presId="urn:microsoft.com/office/officeart/2005/8/layout/vList2"/>
    <dgm:cxn modelId="{FBF1B3D9-1DAB-48DA-888A-715D25B1374D}" type="presParOf" srcId="{8E3175E2-1AE8-46DF-998D-2AC3C2F23AB6}" destId="{527B0900-1F74-4410-9055-BDF20697AA77}" srcOrd="2" destOrd="0" presId="urn:microsoft.com/office/officeart/2005/8/layout/vList2"/>
    <dgm:cxn modelId="{4F7FA5CE-E2BD-43DB-B6BA-5B9636FE8694}" type="presParOf" srcId="{8E3175E2-1AE8-46DF-998D-2AC3C2F23AB6}" destId="{46565560-501A-4FBE-9891-99F6FDFD5FB7}" srcOrd="3" destOrd="0" presId="urn:microsoft.com/office/officeart/2005/8/layout/vList2"/>
    <dgm:cxn modelId="{A19415AC-B191-485D-82DE-721114F8BC90}" type="presParOf" srcId="{8E3175E2-1AE8-46DF-998D-2AC3C2F23AB6}" destId="{FEBA1E8B-15A8-4350-ACDB-E786E9AD760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A66C9E6B-3268-4E6D-9140-043A0F8C21B2}"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21939C59-C26C-4F5B-94FD-6ED37D71800F}">
      <dgm:prSet custT="1"/>
      <dgm:spPr/>
      <dgm:t>
        <a:bodyPr/>
        <a:lstStyle/>
        <a:p>
          <a:r>
            <a:rPr lang="en-US" sz="2400" baseline="0"/>
            <a:t>Reducing logical fragmentation.</a:t>
          </a:r>
          <a:endParaRPr lang="en-US" sz="2400" dirty="0"/>
        </a:p>
      </dgm:t>
    </dgm:pt>
    <dgm:pt modelId="{2AE12DD6-F8B0-4F60-A18C-783A218F7F75}" type="parTrans" cxnId="{B73706A1-BFF7-4391-9280-2085DD24AEFC}">
      <dgm:prSet/>
      <dgm:spPr/>
      <dgm:t>
        <a:bodyPr/>
        <a:lstStyle/>
        <a:p>
          <a:endParaRPr lang="en-US"/>
        </a:p>
      </dgm:t>
    </dgm:pt>
    <dgm:pt modelId="{EF0F687F-725B-45A7-8D64-C86515D38A48}" type="sibTrans" cxnId="{B73706A1-BFF7-4391-9280-2085DD24AEFC}">
      <dgm:prSet/>
      <dgm:spPr/>
      <dgm:t>
        <a:bodyPr/>
        <a:lstStyle/>
        <a:p>
          <a:endParaRPr lang="en-US"/>
        </a:p>
      </dgm:t>
    </dgm:pt>
    <dgm:pt modelId="{8AA91AFB-4E89-4020-8018-E2188FF3477C}">
      <dgm:prSet custT="1"/>
      <dgm:spPr/>
      <dgm:t>
        <a:bodyPr/>
        <a:lstStyle/>
        <a:p>
          <a:r>
            <a:rPr lang="en-US" sz="2400" baseline="0"/>
            <a:t>Low fragmentation </a:t>
          </a:r>
          <a:endParaRPr lang="en-US" sz="2400"/>
        </a:p>
      </dgm:t>
    </dgm:pt>
    <dgm:pt modelId="{E54BCAA0-0970-48DE-933D-7522E0E27230}" type="parTrans" cxnId="{52B75D09-5FBB-46FD-A16E-A87882616357}">
      <dgm:prSet/>
      <dgm:spPr/>
      <dgm:t>
        <a:bodyPr/>
        <a:lstStyle/>
        <a:p>
          <a:endParaRPr lang="en-US"/>
        </a:p>
      </dgm:t>
    </dgm:pt>
    <dgm:pt modelId="{57D262C1-EF50-4B9A-8704-3B60F9C7B885}" type="sibTrans" cxnId="{52B75D09-5FBB-46FD-A16E-A87882616357}">
      <dgm:prSet/>
      <dgm:spPr/>
      <dgm:t>
        <a:bodyPr/>
        <a:lstStyle/>
        <a:p>
          <a:endParaRPr lang="en-US"/>
        </a:p>
      </dgm:t>
    </dgm:pt>
    <dgm:pt modelId="{8875C65F-C839-4D6E-AF54-8F7E18DE0FD1}">
      <dgm:prSet custT="1"/>
      <dgm:spPr/>
      <dgm:t>
        <a:bodyPr/>
        <a:lstStyle/>
        <a:p>
          <a:r>
            <a:rPr lang="en-US" sz="2400" baseline="0"/>
            <a:t>High seeks and low scans </a:t>
          </a:r>
          <a:endParaRPr lang="en-US" sz="2400"/>
        </a:p>
      </dgm:t>
    </dgm:pt>
    <dgm:pt modelId="{C15702DD-1418-49EB-8520-47930707AE0B}" type="parTrans" cxnId="{77C0788C-91BA-4FAB-AB39-014E9196025E}">
      <dgm:prSet/>
      <dgm:spPr/>
      <dgm:t>
        <a:bodyPr/>
        <a:lstStyle/>
        <a:p>
          <a:endParaRPr lang="en-US"/>
        </a:p>
      </dgm:t>
    </dgm:pt>
    <dgm:pt modelId="{B37E762E-D91A-4BBF-8A1E-33B086A3ED75}" type="sibTrans" cxnId="{77C0788C-91BA-4FAB-AB39-014E9196025E}">
      <dgm:prSet/>
      <dgm:spPr/>
      <dgm:t>
        <a:bodyPr/>
        <a:lstStyle/>
        <a:p>
          <a:endParaRPr lang="en-US"/>
        </a:p>
      </dgm:t>
    </dgm:pt>
    <dgm:pt modelId="{CA0AAA13-F00C-4645-8218-CC3FD686D376}">
      <dgm:prSet custT="1"/>
      <dgm:spPr/>
      <dgm:t>
        <a:bodyPr/>
        <a:lstStyle/>
        <a:p>
          <a:r>
            <a:rPr lang="en-US" sz="2400" baseline="0"/>
            <a:t>Index is not scanned</a:t>
          </a:r>
          <a:endParaRPr lang="en-US" sz="2400"/>
        </a:p>
      </dgm:t>
    </dgm:pt>
    <dgm:pt modelId="{F1C37134-89A3-4264-81BA-FD0F079B1570}" type="parTrans" cxnId="{F263CB87-BCB9-41D4-9346-508651AC11C1}">
      <dgm:prSet/>
      <dgm:spPr/>
      <dgm:t>
        <a:bodyPr/>
        <a:lstStyle/>
        <a:p>
          <a:endParaRPr lang="en-US"/>
        </a:p>
      </dgm:t>
    </dgm:pt>
    <dgm:pt modelId="{41E277FA-741B-446C-87DE-11F695D33835}" type="sibTrans" cxnId="{F263CB87-BCB9-41D4-9346-508651AC11C1}">
      <dgm:prSet/>
      <dgm:spPr/>
      <dgm:t>
        <a:bodyPr/>
        <a:lstStyle/>
        <a:p>
          <a:endParaRPr lang="en-US"/>
        </a:p>
      </dgm:t>
    </dgm:pt>
    <dgm:pt modelId="{84D9F659-7CBB-430E-82B4-725FC2DBE51D}">
      <dgm:prSet custT="1"/>
      <dgm:spPr/>
      <dgm:t>
        <a:bodyPr/>
        <a:lstStyle/>
        <a:p>
          <a:r>
            <a:rPr lang="en-US" sz="2400"/>
            <a:t>Use When</a:t>
          </a:r>
          <a:endParaRPr lang="en-US" sz="2400" dirty="0"/>
        </a:p>
      </dgm:t>
    </dgm:pt>
    <dgm:pt modelId="{809D0AA7-EE06-4883-A7ED-72B238308CC1}" type="parTrans" cxnId="{713B4BB6-679B-4301-9707-467FBB0BBF4F}">
      <dgm:prSet/>
      <dgm:spPr/>
      <dgm:t>
        <a:bodyPr/>
        <a:lstStyle/>
        <a:p>
          <a:endParaRPr lang="en-US"/>
        </a:p>
      </dgm:t>
    </dgm:pt>
    <dgm:pt modelId="{641C1997-4C46-44B2-97BF-799BDEF66F14}" type="sibTrans" cxnId="{713B4BB6-679B-4301-9707-467FBB0BBF4F}">
      <dgm:prSet/>
      <dgm:spPr/>
      <dgm:t>
        <a:bodyPr/>
        <a:lstStyle/>
        <a:p>
          <a:endParaRPr lang="en-US"/>
        </a:p>
      </dgm:t>
    </dgm:pt>
    <dgm:pt modelId="{8A0F6DDA-09B6-45A2-BE4A-58D033A0E518}">
      <dgm:prSet custT="1"/>
      <dgm:spPr/>
      <dgm:t>
        <a:bodyPr/>
        <a:lstStyle/>
        <a:p>
          <a:r>
            <a:rPr lang="en-US" sz="2400" baseline="0"/>
            <a:t>Specifying the amount of free space on a data or index page.</a:t>
          </a:r>
          <a:endParaRPr lang="en-US" sz="2400" dirty="0"/>
        </a:p>
      </dgm:t>
    </dgm:pt>
    <dgm:pt modelId="{F7C54A21-F892-46FE-A8B9-0452E9711B26}" type="parTrans" cxnId="{232DC16E-3067-4C7C-8F46-106F16DCF0AB}">
      <dgm:prSet/>
      <dgm:spPr/>
      <dgm:t>
        <a:bodyPr/>
        <a:lstStyle/>
        <a:p>
          <a:endParaRPr lang="en-US"/>
        </a:p>
      </dgm:t>
    </dgm:pt>
    <dgm:pt modelId="{AD120AE0-F551-4F06-AA7B-46623E1F9668}" type="sibTrans" cxnId="{232DC16E-3067-4C7C-8F46-106F16DCF0AB}">
      <dgm:prSet/>
      <dgm:spPr/>
      <dgm:t>
        <a:bodyPr/>
        <a:lstStyle/>
        <a:p>
          <a:endParaRPr lang="en-US"/>
        </a:p>
      </dgm:t>
    </dgm:pt>
    <dgm:pt modelId="{3DE478A1-37DC-40E8-B68B-87F4DE586A91}">
      <dgm:prSet custT="1"/>
      <dgm:spPr/>
      <dgm:t>
        <a:bodyPr/>
        <a:lstStyle/>
        <a:p>
          <a:r>
            <a:rPr lang="en-US" sz="2400" baseline="0"/>
            <a:t>Do not use when</a:t>
          </a:r>
          <a:endParaRPr lang="en-US" sz="2400" dirty="0"/>
        </a:p>
      </dgm:t>
    </dgm:pt>
    <dgm:pt modelId="{CD8D3B11-6021-4229-AB66-4F79ED292271}" type="parTrans" cxnId="{5A8B5811-5797-495A-A949-29F8ED94941A}">
      <dgm:prSet/>
      <dgm:spPr/>
      <dgm:t>
        <a:bodyPr/>
        <a:lstStyle/>
        <a:p>
          <a:endParaRPr lang="en-US"/>
        </a:p>
      </dgm:t>
    </dgm:pt>
    <dgm:pt modelId="{C764E329-E622-4211-BE92-8D37974AE5F5}" type="sibTrans" cxnId="{5A8B5811-5797-495A-A949-29F8ED94941A}">
      <dgm:prSet/>
      <dgm:spPr/>
      <dgm:t>
        <a:bodyPr/>
        <a:lstStyle/>
        <a:p>
          <a:endParaRPr lang="en-US"/>
        </a:p>
      </dgm:t>
    </dgm:pt>
    <dgm:pt modelId="{74C8D98F-786C-461B-ABA6-D51E9D63DEB4}" type="pres">
      <dgm:prSet presAssocID="{A66C9E6B-3268-4E6D-9140-043A0F8C21B2}" presName="Name0" presStyleCnt="0">
        <dgm:presLayoutVars>
          <dgm:dir/>
          <dgm:animLvl val="lvl"/>
          <dgm:resizeHandles val="exact"/>
        </dgm:presLayoutVars>
      </dgm:prSet>
      <dgm:spPr/>
    </dgm:pt>
    <dgm:pt modelId="{B6E87C3F-758C-428D-BE10-3CD372D43D49}" type="pres">
      <dgm:prSet presAssocID="{84D9F659-7CBB-430E-82B4-725FC2DBE51D}" presName="composite" presStyleCnt="0"/>
      <dgm:spPr/>
    </dgm:pt>
    <dgm:pt modelId="{DEDF2FDF-2315-4A7F-B321-05793ABBFEDC}" type="pres">
      <dgm:prSet presAssocID="{84D9F659-7CBB-430E-82B4-725FC2DBE51D}" presName="parTx" presStyleLbl="alignNode1" presStyleIdx="0" presStyleCnt="2">
        <dgm:presLayoutVars>
          <dgm:chMax val="0"/>
          <dgm:chPref val="0"/>
          <dgm:bulletEnabled val="1"/>
        </dgm:presLayoutVars>
      </dgm:prSet>
      <dgm:spPr/>
    </dgm:pt>
    <dgm:pt modelId="{E1CD9CB1-F7ED-4DB5-899B-0BB904D6A666}" type="pres">
      <dgm:prSet presAssocID="{84D9F659-7CBB-430E-82B4-725FC2DBE51D}" presName="desTx" presStyleLbl="alignAccFollowNode1" presStyleIdx="0" presStyleCnt="2">
        <dgm:presLayoutVars>
          <dgm:bulletEnabled val="1"/>
        </dgm:presLayoutVars>
      </dgm:prSet>
      <dgm:spPr/>
    </dgm:pt>
    <dgm:pt modelId="{74DE0D2C-6738-4BC6-BC9F-3CF756E5348B}" type="pres">
      <dgm:prSet presAssocID="{641C1997-4C46-44B2-97BF-799BDEF66F14}" presName="space" presStyleCnt="0"/>
      <dgm:spPr/>
    </dgm:pt>
    <dgm:pt modelId="{D432A94B-871D-433B-8B67-95248593F158}" type="pres">
      <dgm:prSet presAssocID="{3DE478A1-37DC-40E8-B68B-87F4DE586A91}" presName="composite" presStyleCnt="0"/>
      <dgm:spPr/>
    </dgm:pt>
    <dgm:pt modelId="{298A840C-4A90-4965-8317-4CE942FBD989}" type="pres">
      <dgm:prSet presAssocID="{3DE478A1-37DC-40E8-B68B-87F4DE586A91}" presName="parTx" presStyleLbl="alignNode1" presStyleIdx="1" presStyleCnt="2">
        <dgm:presLayoutVars>
          <dgm:chMax val="0"/>
          <dgm:chPref val="0"/>
          <dgm:bulletEnabled val="1"/>
        </dgm:presLayoutVars>
      </dgm:prSet>
      <dgm:spPr/>
    </dgm:pt>
    <dgm:pt modelId="{44FA1635-E70E-4D37-83E3-3316FEE79DEE}" type="pres">
      <dgm:prSet presAssocID="{3DE478A1-37DC-40E8-B68B-87F4DE586A91}" presName="desTx" presStyleLbl="alignAccFollowNode1" presStyleIdx="1" presStyleCnt="2">
        <dgm:presLayoutVars>
          <dgm:bulletEnabled val="1"/>
        </dgm:presLayoutVars>
      </dgm:prSet>
      <dgm:spPr/>
    </dgm:pt>
  </dgm:ptLst>
  <dgm:cxnLst>
    <dgm:cxn modelId="{52B75D09-5FBB-46FD-A16E-A87882616357}" srcId="{3DE478A1-37DC-40E8-B68B-87F4DE586A91}" destId="{8AA91AFB-4E89-4020-8018-E2188FF3477C}" srcOrd="0" destOrd="0" parTransId="{E54BCAA0-0970-48DE-933D-7522E0E27230}" sibTransId="{57D262C1-EF50-4B9A-8704-3B60F9C7B885}"/>
    <dgm:cxn modelId="{5A8B5811-5797-495A-A949-29F8ED94941A}" srcId="{A66C9E6B-3268-4E6D-9140-043A0F8C21B2}" destId="{3DE478A1-37DC-40E8-B68B-87F4DE586A91}" srcOrd="1" destOrd="0" parTransId="{CD8D3B11-6021-4229-AB66-4F79ED292271}" sibTransId="{C764E329-E622-4211-BE92-8D37974AE5F5}"/>
    <dgm:cxn modelId="{7706D33B-F7FE-4984-8266-32270DF6F4D4}" type="presOf" srcId="{8875C65F-C839-4D6E-AF54-8F7E18DE0FD1}" destId="{44FA1635-E70E-4D37-83E3-3316FEE79DEE}" srcOrd="0" destOrd="1" presId="urn:microsoft.com/office/officeart/2005/8/layout/hList1"/>
    <dgm:cxn modelId="{10369042-A3BF-44EF-A979-D577CA3C2048}" type="presOf" srcId="{A66C9E6B-3268-4E6D-9140-043A0F8C21B2}" destId="{74C8D98F-786C-461B-ABA6-D51E9D63DEB4}" srcOrd="0" destOrd="0" presId="urn:microsoft.com/office/officeart/2005/8/layout/hList1"/>
    <dgm:cxn modelId="{50F3B86C-A68F-4F02-AE24-278BE792F733}" type="presOf" srcId="{8AA91AFB-4E89-4020-8018-E2188FF3477C}" destId="{44FA1635-E70E-4D37-83E3-3316FEE79DEE}" srcOrd="0" destOrd="0" presId="urn:microsoft.com/office/officeart/2005/8/layout/hList1"/>
    <dgm:cxn modelId="{232DC16E-3067-4C7C-8F46-106F16DCF0AB}" srcId="{84D9F659-7CBB-430E-82B4-725FC2DBE51D}" destId="{8A0F6DDA-09B6-45A2-BE4A-58D033A0E518}" srcOrd="0" destOrd="0" parTransId="{F7C54A21-F892-46FE-A8B9-0452E9711B26}" sibTransId="{AD120AE0-F551-4F06-AA7B-46623E1F9668}"/>
    <dgm:cxn modelId="{F263CB87-BCB9-41D4-9346-508651AC11C1}" srcId="{3DE478A1-37DC-40E8-B68B-87F4DE586A91}" destId="{CA0AAA13-F00C-4645-8218-CC3FD686D376}" srcOrd="2" destOrd="0" parTransId="{F1C37134-89A3-4264-81BA-FD0F079B1570}" sibTransId="{41E277FA-741B-446C-87DE-11F695D33835}"/>
    <dgm:cxn modelId="{77C0788C-91BA-4FAB-AB39-014E9196025E}" srcId="{3DE478A1-37DC-40E8-B68B-87F4DE586A91}" destId="{8875C65F-C839-4D6E-AF54-8F7E18DE0FD1}" srcOrd="1" destOrd="0" parTransId="{C15702DD-1418-49EB-8520-47930707AE0B}" sibTransId="{B37E762E-D91A-4BBF-8A1E-33B086A3ED75}"/>
    <dgm:cxn modelId="{E086459A-9C3B-4445-BC95-6E5113B9061A}" type="presOf" srcId="{84D9F659-7CBB-430E-82B4-725FC2DBE51D}" destId="{DEDF2FDF-2315-4A7F-B321-05793ABBFEDC}" srcOrd="0" destOrd="0" presId="urn:microsoft.com/office/officeart/2005/8/layout/hList1"/>
    <dgm:cxn modelId="{B73706A1-BFF7-4391-9280-2085DD24AEFC}" srcId="{84D9F659-7CBB-430E-82B4-725FC2DBE51D}" destId="{21939C59-C26C-4F5B-94FD-6ED37D71800F}" srcOrd="1" destOrd="0" parTransId="{2AE12DD6-F8B0-4F60-A18C-783A218F7F75}" sibTransId="{EF0F687F-725B-45A7-8D64-C86515D38A48}"/>
    <dgm:cxn modelId="{713B4BB6-679B-4301-9707-467FBB0BBF4F}" srcId="{A66C9E6B-3268-4E6D-9140-043A0F8C21B2}" destId="{84D9F659-7CBB-430E-82B4-725FC2DBE51D}" srcOrd="0" destOrd="0" parTransId="{809D0AA7-EE06-4883-A7ED-72B238308CC1}" sibTransId="{641C1997-4C46-44B2-97BF-799BDEF66F14}"/>
    <dgm:cxn modelId="{BB639ABF-3118-4B75-A915-4250ED149854}" type="presOf" srcId="{3DE478A1-37DC-40E8-B68B-87F4DE586A91}" destId="{298A840C-4A90-4965-8317-4CE942FBD989}" srcOrd="0" destOrd="0" presId="urn:microsoft.com/office/officeart/2005/8/layout/hList1"/>
    <dgm:cxn modelId="{0D6CEAC9-D4E9-421D-A6E7-80884B8E16A0}" type="presOf" srcId="{21939C59-C26C-4F5B-94FD-6ED37D71800F}" destId="{E1CD9CB1-F7ED-4DB5-899B-0BB904D6A666}" srcOrd="0" destOrd="1" presId="urn:microsoft.com/office/officeart/2005/8/layout/hList1"/>
    <dgm:cxn modelId="{E10488DE-67BB-4437-9F47-77B0A1746B47}" type="presOf" srcId="{8A0F6DDA-09B6-45A2-BE4A-58D033A0E518}" destId="{E1CD9CB1-F7ED-4DB5-899B-0BB904D6A666}" srcOrd="0" destOrd="0" presId="urn:microsoft.com/office/officeart/2005/8/layout/hList1"/>
    <dgm:cxn modelId="{59D42CF2-B36B-4D6C-ACF2-CB2266F1787D}" type="presOf" srcId="{CA0AAA13-F00C-4645-8218-CC3FD686D376}" destId="{44FA1635-E70E-4D37-83E3-3316FEE79DEE}" srcOrd="0" destOrd="2" presId="urn:microsoft.com/office/officeart/2005/8/layout/hList1"/>
    <dgm:cxn modelId="{974D290D-9478-4B01-B0C9-EDE7C6255ECA}" type="presParOf" srcId="{74C8D98F-786C-461B-ABA6-D51E9D63DEB4}" destId="{B6E87C3F-758C-428D-BE10-3CD372D43D49}" srcOrd="0" destOrd="0" presId="urn:microsoft.com/office/officeart/2005/8/layout/hList1"/>
    <dgm:cxn modelId="{6D3F8DD9-6A1F-40B9-AB74-D30C92C9453B}" type="presParOf" srcId="{B6E87C3F-758C-428D-BE10-3CD372D43D49}" destId="{DEDF2FDF-2315-4A7F-B321-05793ABBFEDC}" srcOrd="0" destOrd="0" presId="urn:microsoft.com/office/officeart/2005/8/layout/hList1"/>
    <dgm:cxn modelId="{01BE9534-1819-4003-8075-D7C4E205382F}" type="presParOf" srcId="{B6E87C3F-758C-428D-BE10-3CD372D43D49}" destId="{E1CD9CB1-F7ED-4DB5-899B-0BB904D6A666}" srcOrd="1" destOrd="0" presId="urn:microsoft.com/office/officeart/2005/8/layout/hList1"/>
    <dgm:cxn modelId="{5EB92068-F1DE-4339-8835-35F3DD9A0671}" type="presParOf" srcId="{74C8D98F-786C-461B-ABA6-D51E9D63DEB4}" destId="{74DE0D2C-6738-4BC6-BC9F-3CF756E5348B}" srcOrd="1" destOrd="0" presId="urn:microsoft.com/office/officeart/2005/8/layout/hList1"/>
    <dgm:cxn modelId="{7D567035-170D-4A7F-89BE-B21793230E5C}" type="presParOf" srcId="{74C8D98F-786C-461B-ABA6-D51E9D63DEB4}" destId="{D432A94B-871D-433B-8B67-95248593F158}" srcOrd="2" destOrd="0" presId="urn:microsoft.com/office/officeart/2005/8/layout/hList1"/>
    <dgm:cxn modelId="{B844BCE5-0E84-4CBB-AF73-1AFB51EB3C3F}" type="presParOf" srcId="{D432A94B-871D-433B-8B67-95248593F158}" destId="{298A840C-4A90-4965-8317-4CE942FBD989}" srcOrd="0" destOrd="0" presId="urn:microsoft.com/office/officeart/2005/8/layout/hList1"/>
    <dgm:cxn modelId="{2EFEA55C-A2D8-442A-95FF-F5E855AAA1B9}" type="presParOf" srcId="{D432A94B-871D-433B-8B67-95248593F158}" destId="{44FA1635-E70E-4D37-83E3-3316FEE79DE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B184112D-53FE-4D84-AA00-83DDCA9C16D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76125C9C-B9D6-4FA9-BDE6-EB45F912DB71}">
      <dgm:prSet custT="1"/>
      <dgm:spPr/>
      <dgm:t>
        <a:bodyPr/>
        <a:lstStyle/>
        <a:p>
          <a:r>
            <a:rPr lang="en-US" sz="2400" baseline="0"/>
            <a:t>Reducing Fragmentation</a:t>
          </a:r>
          <a:endParaRPr lang="en-US" sz="2400"/>
        </a:p>
      </dgm:t>
    </dgm:pt>
    <dgm:pt modelId="{025DEA07-ACF8-42B3-BC78-68340A67821A}" type="parTrans" cxnId="{11A7313B-5B2D-4B7D-8D33-AC00191F474F}">
      <dgm:prSet/>
      <dgm:spPr/>
      <dgm:t>
        <a:bodyPr/>
        <a:lstStyle/>
        <a:p>
          <a:endParaRPr lang="en-US"/>
        </a:p>
      </dgm:t>
    </dgm:pt>
    <dgm:pt modelId="{639DFF84-3C98-4288-AC40-5BD550E5309E}" type="sibTrans" cxnId="{11A7313B-5B2D-4B7D-8D33-AC00191F474F}">
      <dgm:prSet/>
      <dgm:spPr/>
      <dgm:t>
        <a:bodyPr/>
        <a:lstStyle/>
        <a:p>
          <a:endParaRPr lang="en-US"/>
        </a:p>
      </dgm:t>
    </dgm:pt>
    <dgm:pt modelId="{AAF7EF01-58D7-48A5-A4E4-6AF069AD5FC2}">
      <dgm:prSet custT="1"/>
      <dgm:spPr/>
      <dgm:t>
        <a:bodyPr/>
        <a:lstStyle/>
        <a:p>
          <a:r>
            <a:rPr lang="en-US" sz="2400" baseline="0"/>
            <a:t>Using an ascending key (not always possible).</a:t>
          </a:r>
          <a:endParaRPr lang="en-US" sz="2400"/>
        </a:p>
      </dgm:t>
    </dgm:pt>
    <dgm:pt modelId="{CCD2AEF3-25E0-46F9-8011-D4B4E5A8BBBE}" type="parTrans" cxnId="{96B76FEE-8301-4370-A2CC-5B28BF19523C}">
      <dgm:prSet/>
      <dgm:spPr/>
      <dgm:t>
        <a:bodyPr/>
        <a:lstStyle/>
        <a:p>
          <a:endParaRPr lang="en-US"/>
        </a:p>
      </dgm:t>
    </dgm:pt>
    <dgm:pt modelId="{56D18F4D-1343-467C-A51D-078D8C7BB6EE}" type="sibTrans" cxnId="{96B76FEE-8301-4370-A2CC-5B28BF19523C}">
      <dgm:prSet/>
      <dgm:spPr/>
      <dgm:t>
        <a:bodyPr/>
        <a:lstStyle/>
        <a:p>
          <a:endParaRPr lang="en-US"/>
        </a:p>
      </dgm:t>
    </dgm:pt>
    <dgm:pt modelId="{33BE99E5-517E-4A5E-8FEE-8F762922B59E}">
      <dgm:prSet custT="1"/>
      <dgm:spPr/>
      <dgm:t>
        <a:bodyPr/>
        <a:lstStyle/>
        <a:p>
          <a:r>
            <a:rPr lang="en-US" sz="2400" baseline="0" dirty="0"/>
            <a:t>Using an appropriate fill factor for the workload.</a:t>
          </a:r>
          <a:endParaRPr lang="en-US" sz="2400" dirty="0"/>
        </a:p>
      </dgm:t>
    </dgm:pt>
    <dgm:pt modelId="{9E8B8855-5E11-41C3-9BE4-7B91C21A5ECB}" type="parTrans" cxnId="{C0104F86-683F-4ACE-89AC-30C7BE9674CB}">
      <dgm:prSet/>
      <dgm:spPr/>
      <dgm:t>
        <a:bodyPr/>
        <a:lstStyle/>
        <a:p>
          <a:endParaRPr lang="en-US"/>
        </a:p>
      </dgm:t>
    </dgm:pt>
    <dgm:pt modelId="{1E23E65E-4F50-4FA2-B7D2-B9476F230E7C}" type="sibTrans" cxnId="{C0104F86-683F-4ACE-89AC-30C7BE9674CB}">
      <dgm:prSet/>
      <dgm:spPr/>
      <dgm:t>
        <a:bodyPr/>
        <a:lstStyle/>
        <a:p>
          <a:endParaRPr lang="en-US"/>
        </a:p>
      </dgm:t>
    </dgm:pt>
    <dgm:pt modelId="{51BD1014-C20D-41DE-952E-FC8BBA14DD9E}">
      <dgm:prSet custT="1"/>
      <dgm:spPr/>
      <dgm:t>
        <a:bodyPr/>
        <a:lstStyle/>
        <a:p>
          <a:r>
            <a:rPr lang="en-US" sz="2400" baseline="0"/>
            <a:t>Update in sets, rather than one at a time.</a:t>
          </a:r>
          <a:endParaRPr lang="en-US" sz="2400"/>
        </a:p>
      </dgm:t>
    </dgm:pt>
    <dgm:pt modelId="{CB9F250B-C7D7-46EC-9692-1EC53B12AB70}" type="parTrans" cxnId="{5E1E47D5-B20D-43E0-BFB2-DD783B699830}">
      <dgm:prSet/>
      <dgm:spPr/>
      <dgm:t>
        <a:bodyPr/>
        <a:lstStyle/>
        <a:p>
          <a:endParaRPr lang="en-US"/>
        </a:p>
      </dgm:t>
    </dgm:pt>
    <dgm:pt modelId="{94B1A4DA-3054-4CCA-9209-1BBF66B09DCB}" type="sibTrans" cxnId="{5E1E47D5-B20D-43E0-BFB2-DD783B699830}">
      <dgm:prSet/>
      <dgm:spPr/>
      <dgm:t>
        <a:bodyPr/>
        <a:lstStyle/>
        <a:p>
          <a:endParaRPr lang="en-US"/>
        </a:p>
      </dgm:t>
    </dgm:pt>
    <dgm:pt modelId="{CA9DC729-89BD-4F9F-8F93-1BCA7C703BE6}">
      <dgm:prSet custT="1"/>
      <dgm:spPr/>
      <dgm:t>
        <a:bodyPr/>
        <a:lstStyle/>
        <a:p>
          <a:r>
            <a:rPr lang="en-US" sz="2400" baseline="0"/>
            <a:t>Do not insert with immediate update.</a:t>
          </a:r>
          <a:endParaRPr lang="en-US" sz="2400"/>
        </a:p>
      </dgm:t>
    </dgm:pt>
    <dgm:pt modelId="{5A2259CC-2968-41EF-AABF-B37E5928CCC2}" type="parTrans" cxnId="{CA56E4B7-05BB-4589-8AD2-BC233E6F06E1}">
      <dgm:prSet/>
      <dgm:spPr/>
      <dgm:t>
        <a:bodyPr/>
        <a:lstStyle/>
        <a:p>
          <a:endParaRPr lang="en-US"/>
        </a:p>
      </dgm:t>
    </dgm:pt>
    <dgm:pt modelId="{FB9E403A-4306-4461-B9DF-881A16F6DD00}" type="sibTrans" cxnId="{CA56E4B7-05BB-4589-8AD2-BC233E6F06E1}">
      <dgm:prSet/>
      <dgm:spPr/>
      <dgm:t>
        <a:bodyPr/>
        <a:lstStyle/>
        <a:p>
          <a:endParaRPr lang="en-US"/>
        </a:p>
      </dgm:t>
    </dgm:pt>
    <dgm:pt modelId="{EC684B26-31D5-4D53-A04B-63B2F32DEB66}" type="pres">
      <dgm:prSet presAssocID="{B184112D-53FE-4D84-AA00-83DDCA9C16DB}" presName="Name0" presStyleCnt="0">
        <dgm:presLayoutVars>
          <dgm:dir/>
          <dgm:animLvl val="lvl"/>
          <dgm:resizeHandles val="exact"/>
        </dgm:presLayoutVars>
      </dgm:prSet>
      <dgm:spPr/>
    </dgm:pt>
    <dgm:pt modelId="{B0407AD7-6961-46D1-B223-94D3671CBB9A}" type="pres">
      <dgm:prSet presAssocID="{76125C9C-B9D6-4FA9-BDE6-EB45F912DB71}" presName="composite" presStyleCnt="0"/>
      <dgm:spPr/>
    </dgm:pt>
    <dgm:pt modelId="{9E739C7F-C83F-410F-9E68-E25ECBD8D6B9}" type="pres">
      <dgm:prSet presAssocID="{76125C9C-B9D6-4FA9-BDE6-EB45F912DB71}" presName="parTx" presStyleLbl="alignNode1" presStyleIdx="0" presStyleCnt="1">
        <dgm:presLayoutVars>
          <dgm:chMax val="0"/>
          <dgm:chPref val="0"/>
          <dgm:bulletEnabled val="1"/>
        </dgm:presLayoutVars>
      </dgm:prSet>
      <dgm:spPr/>
    </dgm:pt>
    <dgm:pt modelId="{3DD469B6-F40B-4C62-BAE0-FFAF84D05CDB}" type="pres">
      <dgm:prSet presAssocID="{76125C9C-B9D6-4FA9-BDE6-EB45F912DB71}" presName="desTx" presStyleLbl="alignAccFollowNode1" presStyleIdx="0" presStyleCnt="1">
        <dgm:presLayoutVars>
          <dgm:bulletEnabled val="1"/>
        </dgm:presLayoutVars>
      </dgm:prSet>
      <dgm:spPr/>
    </dgm:pt>
  </dgm:ptLst>
  <dgm:cxnLst>
    <dgm:cxn modelId="{EC4B4822-CB1A-4C26-BC4C-BEE49AFEABC3}" type="presOf" srcId="{AAF7EF01-58D7-48A5-A4E4-6AF069AD5FC2}" destId="{3DD469B6-F40B-4C62-BAE0-FFAF84D05CDB}" srcOrd="0" destOrd="0" presId="urn:microsoft.com/office/officeart/2005/8/layout/hList1"/>
    <dgm:cxn modelId="{11A7313B-5B2D-4B7D-8D33-AC00191F474F}" srcId="{B184112D-53FE-4D84-AA00-83DDCA9C16DB}" destId="{76125C9C-B9D6-4FA9-BDE6-EB45F912DB71}" srcOrd="0" destOrd="0" parTransId="{025DEA07-ACF8-42B3-BC78-68340A67821A}" sibTransId="{639DFF84-3C98-4288-AC40-5BD550E5309E}"/>
    <dgm:cxn modelId="{04D13144-9458-4687-8858-3CAFA17966AB}" type="presOf" srcId="{76125C9C-B9D6-4FA9-BDE6-EB45F912DB71}" destId="{9E739C7F-C83F-410F-9E68-E25ECBD8D6B9}" srcOrd="0" destOrd="0" presId="urn:microsoft.com/office/officeart/2005/8/layout/hList1"/>
    <dgm:cxn modelId="{EEB65A73-DEE1-47F6-A86E-F915926430D5}" type="presOf" srcId="{33BE99E5-517E-4A5E-8FEE-8F762922B59E}" destId="{3DD469B6-F40B-4C62-BAE0-FFAF84D05CDB}" srcOrd="0" destOrd="1" presId="urn:microsoft.com/office/officeart/2005/8/layout/hList1"/>
    <dgm:cxn modelId="{B946B27F-A8D2-479D-9B8E-043458294113}" type="presOf" srcId="{51BD1014-C20D-41DE-952E-FC8BBA14DD9E}" destId="{3DD469B6-F40B-4C62-BAE0-FFAF84D05CDB}" srcOrd="0" destOrd="2" presId="urn:microsoft.com/office/officeart/2005/8/layout/hList1"/>
    <dgm:cxn modelId="{C0104F86-683F-4ACE-89AC-30C7BE9674CB}" srcId="{76125C9C-B9D6-4FA9-BDE6-EB45F912DB71}" destId="{33BE99E5-517E-4A5E-8FEE-8F762922B59E}" srcOrd="1" destOrd="0" parTransId="{9E8B8855-5E11-41C3-9BE4-7B91C21A5ECB}" sibTransId="{1E23E65E-4F50-4FA2-B7D2-B9476F230E7C}"/>
    <dgm:cxn modelId="{6CB27296-D66E-473B-91ED-7A0EDA6C1143}" type="presOf" srcId="{CA9DC729-89BD-4F9F-8F93-1BCA7C703BE6}" destId="{3DD469B6-F40B-4C62-BAE0-FFAF84D05CDB}" srcOrd="0" destOrd="3" presId="urn:microsoft.com/office/officeart/2005/8/layout/hList1"/>
    <dgm:cxn modelId="{31E2C59B-CE36-4A78-BA2B-AB02DA2E7E03}" type="presOf" srcId="{B184112D-53FE-4D84-AA00-83DDCA9C16DB}" destId="{EC684B26-31D5-4D53-A04B-63B2F32DEB66}" srcOrd="0" destOrd="0" presId="urn:microsoft.com/office/officeart/2005/8/layout/hList1"/>
    <dgm:cxn modelId="{CA56E4B7-05BB-4589-8AD2-BC233E6F06E1}" srcId="{76125C9C-B9D6-4FA9-BDE6-EB45F912DB71}" destId="{CA9DC729-89BD-4F9F-8F93-1BCA7C703BE6}" srcOrd="3" destOrd="0" parTransId="{5A2259CC-2968-41EF-AABF-B37E5928CCC2}" sibTransId="{FB9E403A-4306-4461-B9DF-881A16F6DD00}"/>
    <dgm:cxn modelId="{5E1E47D5-B20D-43E0-BFB2-DD783B699830}" srcId="{76125C9C-B9D6-4FA9-BDE6-EB45F912DB71}" destId="{51BD1014-C20D-41DE-952E-FC8BBA14DD9E}" srcOrd="2" destOrd="0" parTransId="{CB9F250B-C7D7-46EC-9692-1EC53B12AB70}" sibTransId="{94B1A4DA-3054-4CCA-9209-1BBF66B09DCB}"/>
    <dgm:cxn modelId="{96B76FEE-8301-4370-A2CC-5B28BF19523C}" srcId="{76125C9C-B9D6-4FA9-BDE6-EB45F912DB71}" destId="{AAF7EF01-58D7-48A5-A4E4-6AF069AD5FC2}" srcOrd="0" destOrd="0" parTransId="{CCD2AEF3-25E0-46F9-8011-D4B4E5A8BBBE}" sibTransId="{56D18F4D-1343-467C-A51D-078D8C7BB6EE}"/>
    <dgm:cxn modelId="{0616601A-B3D5-4741-BD05-780691DCBDDC}" type="presParOf" srcId="{EC684B26-31D5-4D53-A04B-63B2F32DEB66}" destId="{B0407AD7-6961-46D1-B223-94D3671CBB9A}" srcOrd="0" destOrd="0" presId="urn:microsoft.com/office/officeart/2005/8/layout/hList1"/>
    <dgm:cxn modelId="{0E01D20C-508D-4712-A53B-FF967CE1D559}" type="presParOf" srcId="{B0407AD7-6961-46D1-B223-94D3671CBB9A}" destId="{9E739C7F-C83F-410F-9E68-E25ECBD8D6B9}" srcOrd="0" destOrd="0" presId="urn:microsoft.com/office/officeart/2005/8/layout/hList1"/>
    <dgm:cxn modelId="{49F8146C-C813-48C8-81C8-F8A61D46A65C}" type="presParOf" srcId="{B0407AD7-6961-46D1-B223-94D3671CBB9A}" destId="{3DD469B6-F40B-4C62-BAE0-FFAF84D05CD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D18EEBC7-38BB-4F04-95B3-8A983EEDCF0D}"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2E87E0C8-0826-4C34-A432-578C4F85F9A7}">
      <dgm:prSet/>
      <dgm:spPr/>
      <dgm:t>
        <a:bodyPr/>
        <a:lstStyle/>
        <a:p>
          <a:r>
            <a:rPr lang="en-US" baseline="0" dirty="0"/>
            <a:t>SQL Server identifies indexes that would help a query’s performance</a:t>
          </a:r>
          <a:endParaRPr lang="en-US" dirty="0"/>
        </a:p>
      </dgm:t>
    </dgm:pt>
    <dgm:pt modelId="{28A02326-5F1D-48C6-A335-E4196C180A88}" type="parTrans" cxnId="{40303BBE-DE94-464B-B695-2558711BDDEE}">
      <dgm:prSet/>
      <dgm:spPr/>
      <dgm:t>
        <a:bodyPr/>
        <a:lstStyle/>
        <a:p>
          <a:endParaRPr lang="en-US"/>
        </a:p>
      </dgm:t>
    </dgm:pt>
    <dgm:pt modelId="{61E7604E-C3CA-4774-8F04-44DB0BB902A9}" type="sibTrans" cxnId="{40303BBE-DE94-464B-B695-2558711BDDEE}">
      <dgm:prSet/>
      <dgm:spPr/>
      <dgm:t>
        <a:bodyPr/>
        <a:lstStyle/>
        <a:p>
          <a:endParaRPr lang="en-US"/>
        </a:p>
      </dgm:t>
    </dgm:pt>
    <dgm:pt modelId="{86AB8FE3-BEDF-473F-9E73-B238997FEB19}">
      <dgm:prSet/>
      <dgm:spPr/>
      <dgm:t>
        <a:bodyPr/>
        <a:lstStyle/>
        <a:p>
          <a:r>
            <a:rPr lang="en-US" baseline="0"/>
            <a:t>The recommendation is included in the query plan</a:t>
          </a:r>
          <a:endParaRPr lang="en-US"/>
        </a:p>
      </dgm:t>
    </dgm:pt>
    <dgm:pt modelId="{D0B29510-3563-459A-9916-D252ECF0B6DA}" type="parTrans" cxnId="{B3F7691E-AC1D-4C70-9DA6-DBB35EFE3FEC}">
      <dgm:prSet/>
      <dgm:spPr/>
      <dgm:t>
        <a:bodyPr/>
        <a:lstStyle/>
        <a:p>
          <a:endParaRPr lang="en-US"/>
        </a:p>
      </dgm:t>
    </dgm:pt>
    <dgm:pt modelId="{9E493413-E503-4D29-8B8B-7E6333297FB4}" type="sibTrans" cxnId="{B3F7691E-AC1D-4C70-9DA6-DBB35EFE3FEC}">
      <dgm:prSet/>
      <dgm:spPr/>
      <dgm:t>
        <a:bodyPr/>
        <a:lstStyle/>
        <a:p>
          <a:endParaRPr lang="en-US"/>
        </a:p>
      </dgm:t>
    </dgm:pt>
    <dgm:pt modelId="{F6A983FE-35F5-4A52-9C52-ACD1DD7AE52F}">
      <dgm:prSet/>
      <dgm:spPr/>
      <dgm:t>
        <a:bodyPr/>
        <a:lstStyle/>
        <a:p>
          <a:r>
            <a:rPr lang="en-US" baseline="0"/>
            <a:t>The cost savings are aggregated in DMVs to help identify the most beneficial indexes</a:t>
          </a:r>
          <a:endParaRPr lang="en-US"/>
        </a:p>
      </dgm:t>
    </dgm:pt>
    <dgm:pt modelId="{C001EFD0-1F04-458F-A069-7C0E299FA460}" type="parTrans" cxnId="{B989312A-D8AF-4E5B-8EBB-47065C28BBEC}">
      <dgm:prSet/>
      <dgm:spPr/>
      <dgm:t>
        <a:bodyPr/>
        <a:lstStyle/>
        <a:p>
          <a:endParaRPr lang="en-US"/>
        </a:p>
      </dgm:t>
    </dgm:pt>
    <dgm:pt modelId="{D60CB129-83FA-4CBF-B745-72F5DF5DA471}" type="sibTrans" cxnId="{B989312A-D8AF-4E5B-8EBB-47065C28BBEC}">
      <dgm:prSet/>
      <dgm:spPr/>
      <dgm:t>
        <a:bodyPr/>
        <a:lstStyle/>
        <a:p>
          <a:endParaRPr lang="en-US"/>
        </a:p>
      </dgm:t>
    </dgm:pt>
    <dgm:pt modelId="{E4A790C7-B7EA-4FD3-85F3-99C1B9941490}" type="pres">
      <dgm:prSet presAssocID="{D18EEBC7-38BB-4F04-95B3-8A983EEDCF0D}" presName="linear" presStyleCnt="0">
        <dgm:presLayoutVars>
          <dgm:animLvl val="lvl"/>
          <dgm:resizeHandles val="exact"/>
        </dgm:presLayoutVars>
      </dgm:prSet>
      <dgm:spPr/>
    </dgm:pt>
    <dgm:pt modelId="{9522E747-80B4-428E-87B6-E9C0786D8DD2}" type="pres">
      <dgm:prSet presAssocID="{2E87E0C8-0826-4C34-A432-578C4F85F9A7}" presName="parentText" presStyleLbl="node1" presStyleIdx="0" presStyleCnt="3">
        <dgm:presLayoutVars>
          <dgm:chMax val="0"/>
          <dgm:bulletEnabled val="1"/>
        </dgm:presLayoutVars>
      </dgm:prSet>
      <dgm:spPr/>
    </dgm:pt>
    <dgm:pt modelId="{6867DA38-54C4-4A96-830E-7C3783A91059}" type="pres">
      <dgm:prSet presAssocID="{61E7604E-C3CA-4774-8F04-44DB0BB902A9}" presName="spacer" presStyleCnt="0"/>
      <dgm:spPr/>
    </dgm:pt>
    <dgm:pt modelId="{167455E2-0B5B-461E-A12B-4FA37292F744}" type="pres">
      <dgm:prSet presAssocID="{86AB8FE3-BEDF-473F-9E73-B238997FEB19}" presName="parentText" presStyleLbl="node1" presStyleIdx="1" presStyleCnt="3">
        <dgm:presLayoutVars>
          <dgm:chMax val="0"/>
          <dgm:bulletEnabled val="1"/>
        </dgm:presLayoutVars>
      </dgm:prSet>
      <dgm:spPr/>
    </dgm:pt>
    <dgm:pt modelId="{B4C1011B-9D6A-4BDF-9C77-A244A0277198}" type="pres">
      <dgm:prSet presAssocID="{9E493413-E503-4D29-8B8B-7E6333297FB4}" presName="spacer" presStyleCnt="0"/>
      <dgm:spPr/>
    </dgm:pt>
    <dgm:pt modelId="{B0F7C242-ADFC-411C-ADF7-95479B00B896}" type="pres">
      <dgm:prSet presAssocID="{F6A983FE-35F5-4A52-9C52-ACD1DD7AE52F}" presName="parentText" presStyleLbl="node1" presStyleIdx="2" presStyleCnt="3" custLinFactNeighborY="-17181">
        <dgm:presLayoutVars>
          <dgm:chMax val="0"/>
          <dgm:bulletEnabled val="1"/>
        </dgm:presLayoutVars>
      </dgm:prSet>
      <dgm:spPr/>
    </dgm:pt>
  </dgm:ptLst>
  <dgm:cxnLst>
    <dgm:cxn modelId="{B3F7691E-AC1D-4C70-9DA6-DBB35EFE3FEC}" srcId="{D18EEBC7-38BB-4F04-95B3-8A983EEDCF0D}" destId="{86AB8FE3-BEDF-473F-9E73-B238997FEB19}" srcOrd="1" destOrd="0" parTransId="{D0B29510-3563-459A-9916-D252ECF0B6DA}" sibTransId="{9E493413-E503-4D29-8B8B-7E6333297FB4}"/>
    <dgm:cxn modelId="{B4A7AE29-8D96-42EF-A1B7-F0AB58FC270C}" type="presOf" srcId="{D18EEBC7-38BB-4F04-95B3-8A983EEDCF0D}" destId="{E4A790C7-B7EA-4FD3-85F3-99C1B9941490}" srcOrd="0" destOrd="0" presId="urn:microsoft.com/office/officeart/2005/8/layout/vList2"/>
    <dgm:cxn modelId="{B989312A-D8AF-4E5B-8EBB-47065C28BBEC}" srcId="{D18EEBC7-38BB-4F04-95B3-8A983EEDCF0D}" destId="{F6A983FE-35F5-4A52-9C52-ACD1DD7AE52F}" srcOrd="2" destOrd="0" parTransId="{C001EFD0-1F04-458F-A069-7C0E299FA460}" sibTransId="{D60CB129-83FA-4CBF-B745-72F5DF5DA471}"/>
    <dgm:cxn modelId="{9F00535F-7355-4B45-9971-331E80FCA465}" type="presOf" srcId="{F6A983FE-35F5-4A52-9C52-ACD1DD7AE52F}" destId="{B0F7C242-ADFC-411C-ADF7-95479B00B896}" srcOrd="0" destOrd="0" presId="urn:microsoft.com/office/officeart/2005/8/layout/vList2"/>
    <dgm:cxn modelId="{489B90B0-2B4D-46C0-8890-4A41327FD863}" type="presOf" srcId="{2E87E0C8-0826-4C34-A432-578C4F85F9A7}" destId="{9522E747-80B4-428E-87B6-E9C0786D8DD2}" srcOrd="0" destOrd="0" presId="urn:microsoft.com/office/officeart/2005/8/layout/vList2"/>
    <dgm:cxn modelId="{40303BBE-DE94-464B-B695-2558711BDDEE}" srcId="{D18EEBC7-38BB-4F04-95B3-8A983EEDCF0D}" destId="{2E87E0C8-0826-4C34-A432-578C4F85F9A7}" srcOrd="0" destOrd="0" parTransId="{28A02326-5F1D-48C6-A335-E4196C180A88}" sibTransId="{61E7604E-C3CA-4774-8F04-44DB0BB902A9}"/>
    <dgm:cxn modelId="{0DC780CD-D2D1-4892-B3DF-3CC560BD654C}" type="presOf" srcId="{86AB8FE3-BEDF-473F-9E73-B238997FEB19}" destId="{167455E2-0B5B-461E-A12B-4FA37292F744}" srcOrd="0" destOrd="0" presId="urn:microsoft.com/office/officeart/2005/8/layout/vList2"/>
    <dgm:cxn modelId="{18343F70-EF7E-4E3A-8693-CAFB34835F42}" type="presParOf" srcId="{E4A790C7-B7EA-4FD3-85F3-99C1B9941490}" destId="{9522E747-80B4-428E-87B6-E9C0786D8DD2}" srcOrd="0" destOrd="0" presId="urn:microsoft.com/office/officeart/2005/8/layout/vList2"/>
    <dgm:cxn modelId="{8DEC8522-F07E-4F44-A012-0D3C3908AD83}" type="presParOf" srcId="{E4A790C7-B7EA-4FD3-85F3-99C1B9941490}" destId="{6867DA38-54C4-4A96-830E-7C3783A91059}" srcOrd="1" destOrd="0" presId="urn:microsoft.com/office/officeart/2005/8/layout/vList2"/>
    <dgm:cxn modelId="{EEC2CE84-D4E2-40A7-AC69-5C96155181FE}" type="presParOf" srcId="{E4A790C7-B7EA-4FD3-85F3-99C1B9941490}" destId="{167455E2-0B5B-461E-A12B-4FA37292F744}" srcOrd="2" destOrd="0" presId="urn:microsoft.com/office/officeart/2005/8/layout/vList2"/>
    <dgm:cxn modelId="{DF8FA68C-F2C7-40C1-BC7E-89EE5919E7F4}" type="presParOf" srcId="{E4A790C7-B7EA-4FD3-85F3-99C1B9941490}" destId="{B4C1011B-9D6A-4BDF-9C77-A244A0277198}" srcOrd="3" destOrd="0" presId="urn:microsoft.com/office/officeart/2005/8/layout/vList2"/>
    <dgm:cxn modelId="{13DE3798-15F0-4523-A08C-DE6A389D383F}" type="presParOf" srcId="{E4A790C7-B7EA-4FD3-85F3-99C1B9941490}" destId="{B0F7C242-ADFC-411C-ADF7-95479B00B89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B184112D-53FE-4D84-AA00-83DDCA9C16D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2F9694EC-2A4C-4627-81B1-447312D9AA61}">
      <dgm:prSet custT="1"/>
      <dgm:spPr/>
      <dgm:t>
        <a:bodyPr/>
        <a:lstStyle/>
        <a:p>
          <a:r>
            <a:rPr lang="en-US" sz="2400" baseline="0" dirty="0"/>
            <a:t>Following sources can help you choosing indexes</a:t>
          </a:r>
          <a:endParaRPr lang="en-US" sz="2400" dirty="0"/>
        </a:p>
      </dgm:t>
    </dgm:pt>
    <dgm:pt modelId="{18929B48-9C47-42BB-B95E-01EE6D44133A}" type="parTrans" cxnId="{B5FD5AF1-FACE-4326-8749-FB9170849F63}">
      <dgm:prSet/>
      <dgm:spPr/>
      <dgm:t>
        <a:bodyPr/>
        <a:lstStyle/>
        <a:p>
          <a:endParaRPr lang="en-US"/>
        </a:p>
      </dgm:t>
    </dgm:pt>
    <dgm:pt modelId="{E150C2E6-9A36-47F3-A39A-C3408F7E0D27}" type="sibTrans" cxnId="{B5FD5AF1-FACE-4326-8749-FB9170849F63}">
      <dgm:prSet/>
      <dgm:spPr/>
      <dgm:t>
        <a:bodyPr/>
        <a:lstStyle/>
        <a:p>
          <a:endParaRPr lang="en-US"/>
        </a:p>
      </dgm:t>
    </dgm:pt>
    <dgm:pt modelId="{674A0CB8-77F7-442B-829F-3EA80344A915}">
      <dgm:prSet custT="1"/>
      <dgm:spPr/>
      <dgm:t>
        <a:bodyPr/>
        <a:lstStyle/>
        <a:p>
          <a:r>
            <a:rPr lang="en-US" sz="2400" baseline="0"/>
            <a:t>Missing Index recommendations</a:t>
          </a:r>
          <a:endParaRPr lang="en-US" sz="2400"/>
        </a:p>
      </dgm:t>
    </dgm:pt>
    <dgm:pt modelId="{709290F9-98ED-4E29-A811-6B6E673F548F}" type="parTrans" cxnId="{5BB5E317-D01F-4A7D-B806-C97A2A8C68DD}">
      <dgm:prSet/>
      <dgm:spPr/>
      <dgm:t>
        <a:bodyPr/>
        <a:lstStyle/>
        <a:p>
          <a:endParaRPr lang="en-US"/>
        </a:p>
      </dgm:t>
    </dgm:pt>
    <dgm:pt modelId="{67716F09-5DB3-4C7B-AFF5-1F141B388A55}" type="sibTrans" cxnId="{5BB5E317-D01F-4A7D-B806-C97A2A8C68DD}">
      <dgm:prSet/>
      <dgm:spPr/>
      <dgm:t>
        <a:bodyPr/>
        <a:lstStyle/>
        <a:p>
          <a:endParaRPr lang="en-US"/>
        </a:p>
      </dgm:t>
    </dgm:pt>
    <dgm:pt modelId="{3F3B475D-B5C0-4CC5-B441-02973B026242}">
      <dgm:prSet custT="1"/>
      <dgm:spPr/>
      <dgm:t>
        <a:bodyPr/>
        <a:lstStyle/>
        <a:p>
          <a:r>
            <a:rPr lang="en-US" sz="2400" baseline="0">
              <a:solidFill>
                <a:srgbClr val="107C10"/>
              </a:solidFill>
            </a:rPr>
            <a:t>sys.dm_db_index_usage_stats</a:t>
          </a:r>
          <a:endParaRPr lang="en-US" sz="2400">
            <a:solidFill>
              <a:srgbClr val="107C10"/>
            </a:solidFill>
          </a:endParaRPr>
        </a:p>
      </dgm:t>
    </dgm:pt>
    <dgm:pt modelId="{97465473-4DD5-4005-9C71-FC24402E5902}" type="parTrans" cxnId="{FC7EE198-E309-4C85-BE39-589244C36C33}">
      <dgm:prSet/>
      <dgm:spPr/>
      <dgm:t>
        <a:bodyPr/>
        <a:lstStyle/>
        <a:p>
          <a:endParaRPr lang="en-US"/>
        </a:p>
      </dgm:t>
    </dgm:pt>
    <dgm:pt modelId="{84E7B7A3-E6BE-44C3-B74B-B20D06E3B0EB}" type="sibTrans" cxnId="{FC7EE198-E309-4C85-BE39-589244C36C33}">
      <dgm:prSet/>
      <dgm:spPr/>
      <dgm:t>
        <a:bodyPr/>
        <a:lstStyle/>
        <a:p>
          <a:endParaRPr lang="en-US"/>
        </a:p>
      </dgm:t>
    </dgm:pt>
    <dgm:pt modelId="{CD24FBC8-3DED-4B5A-97B9-EB08E778EC35}">
      <dgm:prSet custT="1"/>
      <dgm:spPr/>
      <dgm:t>
        <a:bodyPr/>
        <a:lstStyle/>
        <a:p>
          <a:r>
            <a:rPr lang="en-US" sz="2400" baseline="0"/>
            <a:t>Database Tuning Advisor</a:t>
          </a:r>
          <a:endParaRPr lang="en-US" sz="2400"/>
        </a:p>
      </dgm:t>
    </dgm:pt>
    <dgm:pt modelId="{FA3DB319-D3D2-4E59-8A47-32970F3D988B}" type="parTrans" cxnId="{3DADE611-D6EB-4F73-8BE9-7CACAD085004}">
      <dgm:prSet/>
      <dgm:spPr/>
      <dgm:t>
        <a:bodyPr/>
        <a:lstStyle/>
        <a:p>
          <a:endParaRPr lang="en-US"/>
        </a:p>
      </dgm:t>
    </dgm:pt>
    <dgm:pt modelId="{1DAAC5F5-9BF2-4013-978D-85ABA659AD91}" type="sibTrans" cxnId="{3DADE611-D6EB-4F73-8BE9-7CACAD085004}">
      <dgm:prSet/>
      <dgm:spPr/>
      <dgm:t>
        <a:bodyPr/>
        <a:lstStyle/>
        <a:p>
          <a:endParaRPr lang="en-US"/>
        </a:p>
      </dgm:t>
    </dgm:pt>
    <dgm:pt modelId="{EC684B26-31D5-4D53-A04B-63B2F32DEB66}" type="pres">
      <dgm:prSet presAssocID="{B184112D-53FE-4D84-AA00-83DDCA9C16DB}" presName="Name0" presStyleCnt="0">
        <dgm:presLayoutVars>
          <dgm:dir/>
          <dgm:animLvl val="lvl"/>
          <dgm:resizeHandles val="exact"/>
        </dgm:presLayoutVars>
      </dgm:prSet>
      <dgm:spPr/>
    </dgm:pt>
    <dgm:pt modelId="{3C524684-DDB7-4F25-BDC6-08D3084063FD}" type="pres">
      <dgm:prSet presAssocID="{2F9694EC-2A4C-4627-81B1-447312D9AA61}" presName="composite" presStyleCnt="0"/>
      <dgm:spPr/>
    </dgm:pt>
    <dgm:pt modelId="{D472A51A-ECBF-4B78-84E5-BADD01830D77}" type="pres">
      <dgm:prSet presAssocID="{2F9694EC-2A4C-4627-81B1-447312D9AA61}" presName="parTx" presStyleLbl="alignNode1" presStyleIdx="0" presStyleCnt="1">
        <dgm:presLayoutVars>
          <dgm:chMax val="0"/>
          <dgm:chPref val="0"/>
          <dgm:bulletEnabled val="1"/>
        </dgm:presLayoutVars>
      </dgm:prSet>
      <dgm:spPr/>
    </dgm:pt>
    <dgm:pt modelId="{60D474A3-90FA-49E3-B0D7-1F7FC6CEFF2A}" type="pres">
      <dgm:prSet presAssocID="{2F9694EC-2A4C-4627-81B1-447312D9AA61}" presName="desTx" presStyleLbl="alignAccFollowNode1" presStyleIdx="0" presStyleCnt="1" custLinFactNeighborX="0" custLinFactNeighborY="-2990">
        <dgm:presLayoutVars>
          <dgm:bulletEnabled val="1"/>
        </dgm:presLayoutVars>
      </dgm:prSet>
      <dgm:spPr/>
    </dgm:pt>
  </dgm:ptLst>
  <dgm:cxnLst>
    <dgm:cxn modelId="{A7279F07-003F-447E-9860-D44BA507606E}" type="presOf" srcId="{3F3B475D-B5C0-4CC5-B441-02973B026242}" destId="{60D474A3-90FA-49E3-B0D7-1F7FC6CEFF2A}" srcOrd="0" destOrd="1" presId="urn:microsoft.com/office/officeart/2005/8/layout/hList1"/>
    <dgm:cxn modelId="{3DADE611-D6EB-4F73-8BE9-7CACAD085004}" srcId="{2F9694EC-2A4C-4627-81B1-447312D9AA61}" destId="{CD24FBC8-3DED-4B5A-97B9-EB08E778EC35}" srcOrd="2" destOrd="0" parTransId="{FA3DB319-D3D2-4E59-8A47-32970F3D988B}" sibTransId="{1DAAC5F5-9BF2-4013-978D-85ABA659AD91}"/>
    <dgm:cxn modelId="{5BB5E317-D01F-4A7D-B806-C97A2A8C68DD}" srcId="{2F9694EC-2A4C-4627-81B1-447312D9AA61}" destId="{674A0CB8-77F7-442B-829F-3EA80344A915}" srcOrd="0" destOrd="0" parTransId="{709290F9-98ED-4E29-A811-6B6E673F548F}" sibTransId="{67716F09-5DB3-4C7B-AFF5-1F141B388A55}"/>
    <dgm:cxn modelId="{B693F71F-A52D-49D1-A5B7-CCF0D6327916}" type="presOf" srcId="{674A0CB8-77F7-442B-829F-3EA80344A915}" destId="{60D474A3-90FA-49E3-B0D7-1F7FC6CEFF2A}" srcOrd="0" destOrd="0" presId="urn:microsoft.com/office/officeart/2005/8/layout/hList1"/>
    <dgm:cxn modelId="{9E203554-9C74-448B-8484-742A1E0777C5}" type="presOf" srcId="{2F9694EC-2A4C-4627-81B1-447312D9AA61}" destId="{D472A51A-ECBF-4B78-84E5-BADD01830D77}" srcOrd="0" destOrd="0" presId="urn:microsoft.com/office/officeart/2005/8/layout/hList1"/>
    <dgm:cxn modelId="{FC7EE198-E309-4C85-BE39-589244C36C33}" srcId="{2F9694EC-2A4C-4627-81B1-447312D9AA61}" destId="{3F3B475D-B5C0-4CC5-B441-02973B026242}" srcOrd="1" destOrd="0" parTransId="{97465473-4DD5-4005-9C71-FC24402E5902}" sibTransId="{84E7B7A3-E6BE-44C3-B74B-B20D06E3B0EB}"/>
    <dgm:cxn modelId="{31E2C59B-CE36-4A78-BA2B-AB02DA2E7E03}" type="presOf" srcId="{B184112D-53FE-4D84-AA00-83DDCA9C16DB}" destId="{EC684B26-31D5-4D53-A04B-63B2F32DEB66}" srcOrd="0" destOrd="0" presId="urn:microsoft.com/office/officeart/2005/8/layout/hList1"/>
    <dgm:cxn modelId="{416DF3EB-88C0-40E5-9058-C5A7655121B4}" type="presOf" srcId="{CD24FBC8-3DED-4B5A-97B9-EB08E778EC35}" destId="{60D474A3-90FA-49E3-B0D7-1F7FC6CEFF2A}" srcOrd="0" destOrd="2" presId="urn:microsoft.com/office/officeart/2005/8/layout/hList1"/>
    <dgm:cxn modelId="{B5FD5AF1-FACE-4326-8749-FB9170849F63}" srcId="{B184112D-53FE-4D84-AA00-83DDCA9C16DB}" destId="{2F9694EC-2A4C-4627-81B1-447312D9AA61}" srcOrd="0" destOrd="0" parTransId="{18929B48-9C47-42BB-B95E-01EE6D44133A}" sibTransId="{E150C2E6-9A36-47F3-A39A-C3408F7E0D27}"/>
    <dgm:cxn modelId="{11DCE027-E6BD-450A-8F6D-BD783E64BD43}" type="presParOf" srcId="{EC684B26-31D5-4D53-A04B-63B2F32DEB66}" destId="{3C524684-DDB7-4F25-BDC6-08D3084063FD}" srcOrd="0" destOrd="0" presId="urn:microsoft.com/office/officeart/2005/8/layout/hList1"/>
    <dgm:cxn modelId="{88E6339A-4A44-401F-A539-30E0A4260366}" type="presParOf" srcId="{3C524684-DDB7-4F25-BDC6-08D3084063FD}" destId="{D472A51A-ECBF-4B78-84E5-BADD01830D77}" srcOrd="0" destOrd="0" presId="urn:microsoft.com/office/officeart/2005/8/layout/hList1"/>
    <dgm:cxn modelId="{EF19C448-38D4-4952-B176-ECA193766D1F}" type="presParOf" srcId="{3C524684-DDB7-4F25-BDC6-08D3084063FD}" destId="{60D474A3-90FA-49E3-B0D7-1F7FC6CEFF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55FE93-39E3-4605-BB77-6DCFA89EBF6E}"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US"/>
        </a:p>
      </dgm:t>
    </dgm:pt>
    <dgm:pt modelId="{5811C830-D7DE-4F1F-9748-9439256DBB4F}">
      <dgm:prSet/>
      <dgm:spPr/>
      <dgm:t>
        <a:bodyPr/>
        <a:lstStyle/>
        <a:p>
          <a:pPr>
            <a:lnSpc>
              <a:spcPct val="100000"/>
            </a:lnSpc>
          </a:pPr>
          <a:r>
            <a:rPr lang="en-US" baseline="0"/>
            <a:t>Unordered masses of data</a:t>
          </a:r>
          <a:endParaRPr lang="en-US"/>
        </a:p>
      </dgm:t>
    </dgm:pt>
    <dgm:pt modelId="{5D07CD05-A5D0-4261-8BA1-DD2ECD012D43}" type="parTrans" cxnId="{CD8B46F1-BF9D-4EEA-A5E3-AD532B3B78C7}">
      <dgm:prSet/>
      <dgm:spPr/>
      <dgm:t>
        <a:bodyPr/>
        <a:lstStyle/>
        <a:p>
          <a:endParaRPr lang="en-US"/>
        </a:p>
      </dgm:t>
    </dgm:pt>
    <dgm:pt modelId="{CA66D173-6EC5-403B-981E-FDFFE1232B41}" type="sibTrans" cxnId="{CD8B46F1-BF9D-4EEA-A5E3-AD532B3B78C7}">
      <dgm:prSet/>
      <dgm:spPr/>
      <dgm:t>
        <a:bodyPr/>
        <a:lstStyle/>
        <a:p>
          <a:endParaRPr lang="en-US"/>
        </a:p>
      </dgm:t>
    </dgm:pt>
    <dgm:pt modelId="{69A340BC-1EB3-4FB7-B22B-1F3414F19B54}">
      <dgm:prSet/>
      <dgm:spPr/>
      <dgm:t>
        <a:bodyPr/>
        <a:lstStyle/>
        <a:p>
          <a:pPr>
            <a:lnSpc>
              <a:spcPct val="100000"/>
            </a:lnSpc>
          </a:pPr>
          <a:r>
            <a:rPr lang="en-US" baseline="0"/>
            <a:t>Can be good for quickly importing large sets of data </a:t>
          </a:r>
          <a:endParaRPr lang="en-US"/>
        </a:p>
      </dgm:t>
    </dgm:pt>
    <dgm:pt modelId="{A5A7E0B2-0284-4654-80C5-C1B19942A90D}" type="parTrans" cxnId="{11B6A48A-F20C-4601-AB86-022F29F41E29}">
      <dgm:prSet/>
      <dgm:spPr/>
      <dgm:t>
        <a:bodyPr/>
        <a:lstStyle/>
        <a:p>
          <a:endParaRPr lang="en-US"/>
        </a:p>
      </dgm:t>
    </dgm:pt>
    <dgm:pt modelId="{69ABC762-2EB5-45A0-AFBF-68514F7EAE6F}" type="sibTrans" cxnId="{11B6A48A-F20C-4601-AB86-022F29F41E29}">
      <dgm:prSet/>
      <dgm:spPr/>
      <dgm:t>
        <a:bodyPr/>
        <a:lstStyle/>
        <a:p>
          <a:endParaRPr lang="en-US"/>
        </a:p>
      </dgm:t>
    </dgm:pt>
    <dgm:pt modelId="{4010956E-A757-453D-A8CF-85F7F6735FC4}">
      <dgm:prSet/>
      <dgm:spPr/>
      <dgm:t>
        <a:bodyPr/>
        <a:lstStyle/>
        <a:p>
          <a:pPr>
            <a:lnSpc>
              <a:spcPct val="100000"/>
            </a:lnSpc>
          </a:pPr>
          <a:r>
            <a:rPr lang="en-US" baseline="0" dirty="0"/>
            <a:t>Not a good idea for reporting-based data structures</a:t>
          </a:r>
          <a:endParaRPr lang="en-US" dirty="0"/>
        </a:p>
      </dgm:t>
    </dgm:pt>
    <dgm:pt modelId="{1892F19F-1854-4383-A824-464E3BD7F374}" type="parTrans" cxnId="{D8BF728A-9632-407B-9FA0-8144CF79A51D}">
      <dgm:prSet/>
      <dgm:spPr/>
      <dgm:t>
        <a:bodyPr/>
        <a:lstStyle/>
        <a:p>
          <a:endParaRPr lang="en-US"/>
        </a:p>
      </dgm:t>
    </dgm:pt>
    <dgm:pt modelId="{8BB1EAE4-DFF6-4329-A6BF-7FA571512944}" type="sibTrans" cxnId="{D8BF728A-9632-407B-9FA0-8144CF79A51D}">
      <dgm:prSet/>
      <dgm:spPr/>
      <dgm:t>
        <a:bodyPr/>
        <a:lstStyle/>
        <a:p>
          <a:endParaRPr lang="en-US"/>
        </a:p>
      </dgm:t>
    </dgm:pt>
    <dgm:pt modelId="{C34F9976-41D0-484E-8A2E-93ED7DEF385C}">
      <dgm:prSet/>
      <dgm:spPr/>
      <dgm:t>
        <a:bodyPr/>
        <a:lstStyle/>
        <a:p>
          <a:pPr>
            <a:lnSpc>
              <a:spcPct val="100000"/>
            </a:lnSpc>
          </a:pPr>
          <a:r>
            <a:rPr lang="en-US" baseline="0"/>
            <a:t>Use the ALTER TABLE…REBUILD command to “rebuild” a heap table</a:t>
          </a:r>
          <a:endParaRPr lang="en-US"/>
        </a:p>
      </dgm:t>
    </dgm:pt>
    <dgm:pt modelId="{C583653F-4E8D-4608-9B73-8681C2388C19}" type="parTrans" cxnId="{000D2ED6-840A-4462-B15F-3A33C318A0B2}">
      <dgm:prSet/>
      <dgm:spPr/>
      <dgm:t>
        <a:bodyPr/>
        <a:lstStyle/>
        <a:p>
          <a:endParaRPr lang="en-US"/>
        </a:p>
      </dgm:t>
    </dgm:pt>
    <dgm:pt modelId="{B0C5C221-83ED-40B4-8217-8FD0E9FBC2C8}" type="sibTrans" cxnId="{000D2ED6-840A-4462-B15F-3A33C318A0B2}">
      <dgm:prSet/>
      <dgm:spPr/>
      <dgm:t>
        <a:bodyPr/>
        <a:lstStyle/>
        <a:p>
          <a:endParaRPr lang="en-US"/>
        </a:p>
      </dgm:t>
    </dgm:pt>
    <dgm:pt modelId="{169DC16F-163F-4566-813C-6D8659FDC27B}">
      <dgm:prSet/>
      <dgm:spPr/>
      <dgm:t>
        <a:bodyPr/>
        <a:lstStyle/>
        <a:p>
          <a:pPr>
            <a:lnSpc>
              <a:spcPct val="100000"/>
            </a:lnSpc>
          </a:pPr>
          <a:r>
            <a:rPr lang="en-US" baseline="0"/>
            <a:t>Do not use a heap </a:t>
          </a:r>
          <a:endParaRPr lang="en-US"/>
        </a:p>
      </dgm:t>
    </dgm:pt>
    <dgm:pt modelId="{663FC982-F31B-4A1A-99BC-71387001A87C}" type="parTrans" cxnId="{43BF124F-6FE4-4971-BA92-5DDB11719DDE}">
      <dgm:prSet/>
      <dgm:spPr/>
      <dgm:t>
        <a:bodyPr/>
        <a:lstStyle/>
        <a:p>
          <a:endParaRPr lang="en-US"/>
        </a:p>
      </dgm:t>
    </dgm:pt>
    <dgm:pt modelId="{F278CD18-15CA-4F02-A38E-7C911CBD43D0}" type="sibTrans" cxnId="{43BF124F-6FE4-4971-BA92-5DDB11719DDE}">
      <dgm:prSet/>
      <dgm:spPr/>
      <dgm:t>
        <a:bodyPr/>
        <a:lstStyle/>
        <a:p>
          <a:endParaRPr lang="en-US"/>
        </a:p>
      </dgm:t>
    </dgm:pt>
    <dgm:pt modelId="{A5D5D2C1-884F-40FD-B757-E67CF6257CF2}">
      <dgm:prSet/>
      <dgm:spPr/>
      <dgm:t>
        <a:bodyPr/>
        <a:lstStyle/>
        <a:p>
          <a:pPr>
            <a:lnSpc>
              <a:spcPct val="100000"/>
            </a:lnSpc>
          </a:pPr>
          <a:r>
            <a:rPr lang="en-US" baseline="0"/>
            <a:t>When the data is frequently returned in a sorted order.</a:t>
          </a:r>
          <a:endParaRPr lang="en-US"/>
        </a:p>
      </dgm:t>
    </dgm:pt>
    <dgm:pt modelId="{2D98A28F-30D3-4EED-AE76-731B383CD4B5}" type="parTrans" cxnId="{B9FAD2E2-0558-4D00-BED6-48499ED79AAB}">
      <dgm:prSet/>
      <dgm:spPr/>
      <dgm:t>
        <a:bodyPr/>
        <a:lstStyle/>
        <a:p>
          <a:endParaRPr lang="en-US"/>
        </a:p>
      </dgm:t>
    </dgm:pt>
    <dgm:pt modelId="{B67F0D77-059C-4A1E-A72E-A2F622AC9645}" type="sibTrans" cxnId="{B9FAD2E2-0558-4D00-BED6-48499ED79AAB}">
      <dgm:prSet/>
      <dgm:spPr/>
      <dgm:t>
        <a:bodyPr/>
        <a:lstStyle/>
        <a:p>
          <a:endParaRPr lang="en-US"/>
        </a:p>
      </dgm:t>
    </dgm:pt>
    <dgm:pt modelId="{21526704-0A70-4BBC-BBE6-94403A7F62E5}">
      <dgm:prSet/>
      <dgm:spPr/>
      <dgm:t>
        <a:bodyPr/>
        <a:lstStyle/>
        <a:p>
          <a:pPr>
            <a:lnSpc>
              <a:spcPct val="100000"/>
            </a:lnSpc>
          </a:pPr>
          <a:r>
            <a:rPr lang="en-US" baseline="0"/>
            <a:t>When the data is frequently grouped together.</a:t>
          </a:r>
          <a:endParaRPr lang="en-US"/>
        </a:p>
      </dgm:t>
    </dgm:pt>
    <dgm:pt modelId="{B33D1518-D3E3-4B0F-9511-D9A8E6A12602}" type="parTrans" cxnId="{D691DF64-D8CB-41A7-8C29-A62EFA5890A7}">
      <dgm:prSet/>
      <dgm:spPr/>
      <dgm:t>
        <a:bodyPr/>
        <a:lstStyle/>
        <a:p>
          <a:endParaRPr lang="en-US"/>
        </a:p>
      </dgm:t>
    </dgm:pt>
    <dgm:pt modelId="{95E6E294-FFB9-4D73-8D63-F0EABD154D16}" type="sibTrans" cxnId="{D691DF64-D8CB-41A7-8C29-A62EFA5890A7}">
      <dgm:prSet/>
      <dgm:spPr/>
      <dgm:t>
        <a:bodyPr/>
        <a:lstStyle/>
        <a:p>
          <a:endParaRPr lang="en-US"/>
        </a:p>
      </dgm:t>
    </dgm:pt>
    <dgm:pt modelId="{FDFAE3EA-EBDC-4D3B-9F4C-B43149299FE8}">
      <dgm:prSet/>
      <dgm:spPr/>
      <dgm:t>
        <a:bodyPr/>
        <a:lstStyle/>
        <a:p>
          <a:pPr>
            <a:lnSpc>
              <a:spcPct val="100000"/>
            </a:lnSpc>
          </a:pPr>
          <a:r>
            <a:rPr lang="en-US" baseline="0"/>
            <a:t>When ranges of data are frequently queried from the table.</a:t>
          </a:r>
          <a:endParaRPr lang="en-US"/>
        </a:p>
      </dgm:t>
    </dgm:pt>
    <dgm:pt modelId="{0A17CF97-19BB-4704-BBA6-0AF8C8CCC71B}" type="parTrans" cxnId="{3A32B37C-E589-46C7-A714-CCEFBDEC8004}">
      <dgm:prSet/>
      <dgm:spPr/>
      <dgm:t>
        <a:bodyPr/>
        <a:lstStyle/>
        <a:p>
          <a:endParaRPr lang="en-US"/>
        </a:p>
      </dgm:t>
    </dgm:pt>
    <dgm:pt modelId="{8E56AF8B-8B6C-400A-9230-3E851E05AB9E}" type="sibTrans" cxnId="{3A32B37C-E589-46C7-A714-CCEFBDEC8004}">
      <dgm:prSet/>
      <dgm:spPr/>
      <dgm:t>
        <a:bodyPr/>
        <a:lstStyle/>
        <a:p>
          <a:endParaRPr lang="en-US"/>
        </a:p>
      </dgm:t>
    </dgm:pt>
    <dgm:pt modelId="{09272B75-2F8F-4E04-8871-5188B65EC0D7}">
      <dgm:prSet/>
      <dgm:spPr/>
      <dgm:t>
        <a:bodyPr/>
        <a:lstStyle/>
        <a:p>
          <a:pPr>
            <a:lnSpc>
              <a:spcPct val="100000"/>
            </a:lnSpc>
          </a:pPr>
          <a:r>
            <a:rPr lang="en-US" baseline="0" dirty="0"/>
            <a:t>When there are no nonclustered indexes and the table is large.</a:t>
          </a:r>
          <a:endParaRPr lang="en-US" dirty="0"/>
        </a:p>
      </dgm:t>
    </dgm:pt>
    <dgm:pt modelId="{08C334B9-D63D-4B3D-9F6F-4F2099BE1D40}" type="parTrans" cxnId="{1EA848B3-46C7-4B6F-B620-84DC6AD6942F}">
      <dgm:prSet/>
      <dgm:spPr/>
      <dgm:t>
        <a:bodyPr/>
        <a:lstStyle/>
        <a:p>
          <a:endParaRPr lang="en-US"/>
        </a:p>
      </dgm:t>
    </dgm:pt>
    <dgm:pt modelId="{6A4566A5-0F05-4466-B87D-D601C5D6EF8D}" type="sibTrans" cxnId="{1EA848B3-46C7-4B6F-B620-84DC6AD6942F}">
      <dgm:prSet/>
      <dgm:spPr/>
      <dgm:t>
        <a:bodyPr/>
        <a:lstStyle/>
        <a:p>
          <a:endParaRPr lang="en-US"/>
        </a:p>
      </dgm:t>
    </dgm:pt>
    <dgm:pt modelId="{5ADECD7B-EFA3-4309-A68B-C949D57B8A31}" type="pres">
      <dgm:prSet presAssocID="{1F55FE93-39E3-4605-BB77-6DCFA89EBF6E}" presName="linear" presStyleCnt="0">
        <dgm:presLayoutVars>
          <dgm:animLvl val="lvl"/>
          <dgm:resizeHandles val="exact"/>
        </dgm:presLayoutVars>
      </dgm:prSet>
      <dgm:spPr/>
    </dgm:pt>
    <dgm:pt modelId="{4FCA8158-9C86-47CD-95C8-F3AC498A1A68}" type="pres">
      <dgm:prSet presAssocID="{5811C830-D7DE-4F1F-9748-9439256DBB4F}" presName="parentText" presStyleLbl="node1" presStyleIdx="0" presStyleCnt="5">
        <dgm:presLayoutVars>
          <dgm:chMax val="0"/>
          <dgm:bulletEnabled val="1"/>
        </dgm:presLayoutVars>
      </dgm:prSet>
      <dgm:spPr/>
    </dgm:pt>
    <dgm:pt modelId="{860DD94E-1AE1-46E2-879D-924F96521EE0}" type="pres">
      <dgm:prSet presAssocID="{CA66D173-6EC5-403B-981E-FDFFE1232B41}" presName="spacer" presStyleCnt="0"/>
      <dgm:spPr/>
    </dgm:pt>
    <dgm:pt modelId="{AFC11CD9-776A-4FF3-8FBF-054D1F3594C3}" type="pres">
      <dgm:prSet presAssocID="{69A340BC-1EB3-4FB7-B22B-1F3414F19B54}" presName="parentText" presStyleLbl="node1" presStyleIdx="1" presStyleCnt="5">
        <dgm:presLayoutVars>
          <dgm:chMax val="0"/>
          <dgm:bulletEnabled val="1"/>
        </dgm:presLayoutVars>
      </dgm:prSet>
      <dgm:spPr/>
    </dgm:pt>
    <dgm:pt modelId="{FCF562AE-6B55-4C4A-8AB2-1346718E360C}" type="pres">
      <dgm:prSet presAssocID="{69ABC762-2EB5-45A0-AFBF-68514F7EAE6F}" presName="spacer" presStyleCnt="0"/>
      <dgm:spPr/>
    </dgm:pt>
    <dgm:pt modelId="{D443D81F-FD96-4A54-B50B-434505273071}" type="pres">
      <dgm:prSet presAssocID="{4010956E-A757-453D-A8CF-85F7F6735FC4}" presName="parentText" presStyleLbl="node1" presStyleIdx="2" presStyleCnt="5">
        <dgm:presLayoutVars>
          <dgm:chMax val="0"/>
          <dgm:bulletEnabled val="1"/>
        </dgm:presLayoutVars>
      </dgm:prSet>
      <dgm:spPr/>
    </dgm:pt>
    <dgm:pt modelId="{E34A8986-47DD-4170-AE2A-D12DF42B99B2}" type="pres">
      <dgm:prSet presAssocID="{8BB1EAE4-DFF6-4329-A6BF-7FA571512944}" presName="spacer" presStyleCnt="0"/>
      <dgm:spPr/>
    </dgm:pt>
    <dgm:pt modelId="{0B26181A-EBBD-4D7E-A966-22638F342E0A}" type="pres">
      <dgm:prSet presAssocID="{C34F9976-41D0-484E-8A2E-93ED7DEF385C}" presName="parentText" presStyleLbl="node1" presStyleIdx="3" presStyleCnt="5">
        <dgm:presLayoutVars>
          <dgm:chMax val="0"/>
          <dgm:bulletEnabled val="1"/>
        </dgm:presLayoutVars>
      </dgm:prSet>
      <dgm:spPr/>
    </dgm:pt>
    <dgm:pt modelId="{F9C7D40C-5A4F-4482-92B0-207AAE526034}" type="pres">
      <dgm:prSet presAssocID="{B0C5C221-83ED-40B4-8217-8FD0E9FBC2C8}" presName="spacer" presStyleCnt="0"/>
      <dgm:spPr/>
    </dgm:pt>
    <dgm:pt modelId="{55AD72CE-0354-45D9-B479-C6B965C88A33}" type="pres">
      <dgm:prSet presAssocID="{169DC16F-163F-4566-813C-6D8659FDC27B}" presName="parentText" presStyleLbl="node1" presStyleIdx="4" presStyleCnt="5">
        <dgm:presLayoutVars>
          <dgm:chMax val="0"/>
          <dgm:bulletEnabled val="1"/>
        </dgm:presLayoutVars>
      </dgm:prSet>
      <dgm:spPr/>
    </dgm:pt>
    <dgm:pt modelId="{550FEDC0-5B2B-4D3C-81D4-D8773730FC34}" type="pres">
      <dgm:prSet presAssocID="{169DC16F-163F-4566-813C-6D8659FDC27B}" presName="childText" presStyleLbl="revTx" presStyleIdx="0" presStyleCnt="1">
        <dgm:presLayoutVars>
          <dgm:bulletEnabled val="1"/>
        </dgm:presLayoutVars>
      </dgm:prSet>
      <dgm:spPr/>
    </dgm:pt>
  </dgm:ptLst>
  <dgm:cxnLst>
    <dgm:cxn modelId="{0D373B0D-405A-48A8-B78B-AF171850159E}" type="presOf" srcId="{1F55FE93-39E3-4605-BB77-6DCFA89EBF6E}" destId="{5ADECD7B-EFA3-4309-A68B-C949D57B8A31}" srcOrd="0" destOrd="0" presId="urn:microsoft.com/office/officeart/2005/8/layout/vList2"/>
    <dgm:cxn modelId="{FC982820-2FE2-4788-8E24-650D98046EC3}" type="presOf" srcId="{C34F9976-41D0-484E-8A2E-93ED7DEF385C}" destId="{0B26181A-EBBD-4D7E-A966-22638F342E0A}" srcOrd="0" destOrd="0" presId="urn:microsoft.com/office/officeart/2005/8/layout/vList2"/>
    <dgm:cxn modelId="{DB93702F-51AD-43E4-8DD5-7E9E896345D6}" type="presOf" srcId="{09272B75-2F8F-4E04-8871-5188B65EC0D7}" destId="{550FEDC0-5B2B-4D3C-81D4-D8773730FC34}" srcOrd="0" destOrd="3" presId="urn:microsoft.com/office/officeart/2005/8/layout/vList2"/>
    <dgm:cxn modelId="{52919E3D-F9F9-45FE-9079-D1428E61C081}" type="presOf" srcId="{5811C830-D7DE-4F1F-9748-9439256DBB4F}" destId="{4FCA8158-9C86-47CD-95C8-F3AC498A1A68}" srcOrd="0" destOrd="0" presId="urn:microsoft.com/office/officeart/2005/8/layout/vList2"/>
    <dgm:cxn modelId="{D691DF64-D8CB-41A7-8C29-A62EFA5890A7}" srcId="{169DC16F-163F-4566-813C-6D8659FDC27B}" destId="{21526704-0A70-4BBC-BBE6-94403A7F62E5}" srcOrd="1" destOrd="0" parTransId="{B33D1518-D3E3-4B0F-9511-D9A8E6A12602}" sibTransId="{95E6E294-FFB9-4D73-8D63-F0EABD154D16}"/>
    <dgm:cxn modelId="{D4050849-2996-4EF7-AF01-A50BE3FAD84D}" type="presOf" srcId="{4010956E-A757-453D-A8CF-85F7F6735FC4}" destId="{D443D81F-FD96-4A54-B50B-434505273071}" srcOrd="0" destOrd="0" presId="urn:microsoft.com/office/officeart/2005/8/layout/vList2"/>
    <dgm:cxn modelId="{43BF124F-6FE4-4971-BA92-5DDB11719DDE}" srcId="{1F55FE93-39E3-4605-BB77-6DCFA89EBF6E}" destId="{169DC16F-163F-4566-813C-6D8659FDC27B}" srcOrd="4" destOrd="0" parTransId="{663FC982-F31B-4A1A-99BC-71387001A87C}" sibTransId="{F278CD18-15CA-4F02-A38E-7C911CBD43D0}"/>
    <dgm:cxn modelId="{DD0A8159-3382-4684-8D8B-2806B9A6DE1E}" type="presOf" srcId="{FDFAE3EA-EBDC-4D3B-9F4C-B43149299FE8}" destId="{550FEDC0-5B2B-4D3C-81D4-D8773730FC34}" srcOrd="0" destOrd="2" presId="urn:microsoft.com/office/officeart/2005/8/layout/vList2"/>
    <dgm:cxn modelId="{3A32B37C-E589-46C7-A714-CCEFBDEC8004}" srcId="{169DC16F-163F-4566-813C-6D8659FDC27B}" destId="{FDFAE3EA-EBDC-4D3B-9F4C-B43149299FE8}" srcOrd="2" destOrd="0" parTransId="{0A17CF97-19BB-4704-BBA6-0AF8C8CCC71B}" sibTransId="{8E56AF8B-8B6C-400A-9230-3E851E05AB9E}"/>
    <dgm:cxn modelId="{D8BF728A-9632-407B-9FA0-8144CF79A51D}" srcId="{1F55FE93-39E3-4605-BB77-6DCFA89EBF6E}" destId="{4010956E-A757-453D-A8CF-85F7F6735FC4}" srcOrd="2" destOrd="0" parTransId="{1892F19F-1854-4383-A824-464E3BD7F374}" sibTransId="{8BB1EAE4-DFF6-4329-A6BF-7FA571512944}"/>
    <dgm:cxn modelId="{11B6A48A-F20C-4601-AB86-022F29F41E29}" srcId="{1F55FE93-39E3-4605-BB77-6DCFA89EBF6E}" destId="{69A340BC-1EB3-4FB7-B22B-1F3414F19B54}" srcOrd="1" destOrd="0" parTransId="{A5A7E0B2-0284-4654-80C5-C1B19942A90D}" sibTransId="{69ABC762-2EB5-45A0-AFBF-68514F7EAE6F}"/>
    <dgm:cxn modelId="{8E49568D-C0BB-4CFF-89A0-D6AF69CD2A5D}" type="presOf" srcId="{A5D5D2C1-884F-40FD-B757-E67CF6257CF2}" destId="{550FEDC0-5B2B-4D3C-81D4-D8773730FC34}" srcOrd="0" destOrd="0" presId="urn:microsoft.com/office/officeart/2005/8/layout/vList2"/>
    <dgm:cxn modelId="{1EA848B3-46C7-4B6F-B620-84DC6AD6942F}" srcId="{169DC16F-163F-4566-813C-6D8659FDC27B}" destId="{09272B75-2F8F-4E04-8871-5188B65EC0D7}" srcOrd="3" destOrd="0" parTransId="{08C334B9-D63D-4B3D-9F6F-4F2099BE1D40}" sibTransId="{6A4566A5-0F05-4466-B87D-D601C5D6EF8D}"/>
    <dgm:cxn modelId="{2825FDBE-8D95-41EF-B504-DD2712D27D66}" type="presOf" srcId="{169DC16F-163F-4566-813C-6D8659FDC27B}" destId="{55AD72CE-0354-45D9-B479-C6B965C88A33}" srcOrd="0" destOrd="0" presId="urn:microsoft.com/office/officeart/2005/8/layout/vList2"/>
    <dgm:cxn modelId="{000D2ED6-840A-4462-B15F-3A33C318A0B2}" srcId="{1F55FE93-39E3-4605-BB77-6DCFA89EBF6E}" destId="{C34F9976-41D0-484E-8A2E-93ED7DEF385C}" srcOrd="3" destOrd="0" parTransId="{C583653F-4E8D-4608-9B73-8681C2388C19}" sibTransId="{B0C5C221-83ED-40B4-8217-8FD0E9FBC2C8}"/>
    <dgm:cxn modelId="{B9FAD2E2-0558-4D00-BED6-48499ED79AAB}" srcId="{169DC16F-163F-4566-813C-6D8659FDC27B}" destId="{A5D5D2C1-884F-40FD-B757-E67CF6257CF2}" srcOrd="0" destOrd="0" parTransId="{2D98A28F-30D3-4EED-AE76-731B383CD4B5}" sibTransId="{B67F0D77-059C-4A1E-A72E-A2F622AC9645}"/>
    <dgm:cxn modelId="{F95074EF-7682-4584-9AAF-70FC50BCE6D5}" type="presOf" srcId="{69A340BC-1EB3-4FB7-B22B-1F3414F19B54}" destId="{AFC11CD9-776A-4FF3-8FBF-054D1F3594C3}" srcOrd="0" destOrd="0" presId="urn:microsoft.com/office/officeart/2005/8/layout/vList2"/>
    <dgm:cxn modelId="{CD8B46F1-BF9D-4EEA-A5E3-AD532B3B78C7}" srcId="{1F55FE93-39E3-4605-BB77-6DCFA89EBF6E}" destId="{5811C830-D7DE-4F1F-9748-9439256DBB4F}" srcOrd="0" destOrd="0" parTransId="{5D07CD05-A5D0-4261-8BA1-DD2ECD012D43}" sibTransId="{CA66D173-6EC5-403B-981E-FDFFE1232B41}"/>
    <dgm:cxn modelId="{2BF913FD-935B-47D4-B89A-A94BF1F1B0A5}" type="presOf" srcId="{21526704-0A70-4BBC-BBE6-94403A7F62E5}" destId="{550FEDC0-5B2B-4D3C-81D4-D8773730FC34}" srcOrd="0" destOrd="1" presId="urn:microsoft.com/office/officeart/2005/8/layout/vList2"/>
    <dgm:cxn modelId="{F97C61FB-7A8F-4ACC-94A0-FD5F1B0CFA91}" type="presParOf" srcId="{5ADECD7B-EFA3-4309-A68B-C949D57B8A31}" destId="{4FCA8158-9C86-47CD-95C8-F3AC498A1A68}" srcOrd="0" destOrd="0" presId="urn:microsoft.com/office/officeart/2005/8/layout/vList2"/>
    <dgm:cxn modelId="{4D268BD4-FAF7-4FDC-B0BC-9763611149BE}" type="presParOf" srcId="{5ADECD7B-EFA3-4309-A68B-C949D57B8A31}" destId="{860DD94E-1AE1-46E2-879D-924F96521EE0}" srcOrd="1" destOrd="0" presId="urn:microsoft.com/office/officeart/2005/8/layout/vList2"/>
    <dgm:cxn modelId="{7B79136A-5278-4F03-BCC4-F9608E238087}" type="presParOf" srcId="{5ADECD7B-EFA3-4309-A68B-C949D57B8A31}" destId="{AFC11CD9-776A-4FF3-8FBF-054D1F3594C3}" srcOrd="2" destOrd="0" presId="urn:microsoft.com/office/officeart/2005/8/layout/vList2"/>
    <dgm:cxn modelId="{EB3663C8-63F3-4608-B37E-388E62C8BFB2}" type="presParOf" srcId="{5ADECD7B-EFA3-4309-A68B-C949D57B8A31}" destId="{FCF562AE-6B55-4C4A-8AB2-1346718E360C}" srcOrd="3" destOrd="0" presId="urn:microsoft.com/office/officeart/2005/8/layout/vList2"/>
    <dgm:cxn modelId="{15878361-D95A-47A0-9D09-E09063ABD8C3}" type="presParOf" srcId="{5ADECD7B-EFA3-4309-A68B-C949D57B8A31}" destId="{D443D81F-FD96-4A54-B50B-434505273071}" srcOrd="4" destOrd="0" presId="urn:microsoft.com/office/officeart/2005/8/layout/vList2"/>
    <dgm:cxn modelId="{7A42F183-80F4-4E58-B319-B381D4858C83}" type="presParOf" srcId="{5ADECD7B-EFA3-4309-A68B-C949D57B8A31}" destId="{E34A8986-47DD-4170-AE2A-D12DF42B99B2}" srcOrd="5" destOrd="0" presId="urn:microsoft.com/office/officeart/2005/8/layout/vList2"/>
    <dgm:cxn modelId="{393CF4F4-E6FD-4289-B87D-4326B99C2CF9}" type="presParOf" srcId="{5ADECD7B-EFA3-4309-A68B-C949D57B8A31}" destId="{0B26181A-EBBD-4D7E-A966-22638F342E0A}" srcOrd="6" destOrd="0" presId="urn:microsoft.com/office/officeart/2005/8/layout/vList2"/>
    <dgm:cxn modelId="{4996B2A0-A866-4470-AA0F-A551B2630E4B}" type="presParOf" srcId="{5ADECD7B-EFA3-4309-A68B-C949D57B8A31}" destId="{F9C7D40C-5A4F-4482-92B0-207AAE526034}" srcOrd="7" destOrd="0" presId="urn:microsoft.com/office/officeart/2005/8/layout/vList2"/>
    <dgm:cxn modelId="{0E90AF80-7180-46FB-B4E2-1162250FF41E}" type="presParOf" srcId="{5ADECD7B-EFA3-4309-A68B-C949D57B8A31}" destId="{55AD72CE-0354-45D9-B479-C6B965C88A33}" srcOrd="8" destOrd="0" presId="urn:microsoft.com/office/officeart/2005/8/layout/vList2"/>
    <dgm:cxn modelId="{7B7F1C28-6B2E-4F0A-96F5-A365AEC04ADA}" type="presParOf" srcId="{5ADECD7B-EFA3-4309-A68B-C949D57B8A31}" destId="{550FEDC0-5B2B-4D3C-81D4-D8773730FC34}"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t>Which DMV/DMF are used to monitor index us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a:t>Does it make sense to add all SQL Server missing recommendation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F8131A31-16A9-4040-8773-13EAB223AACD}">
      <dgm:prSet custT="1"/>
      <dgm:spPr>
        <a:solidFill>
          <a:schemeClr val="hlink"/>
        </a:solidFill>
      </dgm:spPr>
      <dgm:t>
        <a:bodyPr/>
        <a:lstStyle/>
        <a:p>
          <a:r>
            <a:rPr lang="en-US" sz="2400"/>
            <a:t>When Managed Lock Priority should be used?</a:t>
          </a:r>
        </a:p>
      </dgm:t>
    </dgm:pt>
    <dgm:pt modelId="{02FE5F90-4642-4F58-8B51-624750938668}" type="sibTrans" cxnId="{61B9891E-F9D4-4D0B-B764-7A78A5588301}">
      <dgm:prSet/>
      <dgm:spPr/>
      <dgm:t>
        <a:bodyPr/>
        <a:lstStyle/>
        <a:p>
          <a:endParaRPr lang="en-US"/>
        </a:p>
      </dgm:t>
    </dgm:pt>
    <dgm:pt modelId="{30D614D1-DBA5-486C-8FEB-20079DA5B41E}" type="parTrans" cxnId="{61B9891E-F9D4-4D0B-B764-7A78A558830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196D8D5C-AF3C-4B3F-BC76-432EBE3C6399}" type="pres">
      <dgm:prSet presAssocID="{F8131A31-16A9-4040-8773-13EAB223AACD}"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2"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54DBC56F-D6DE-42C8-9459-B589A2697E6A}" type="presParOf" srcId="{97400BD5-14CE-4761-8A6A-64BC46D23158}" destId="{196D8D5C-AF3C-4B3F-BC76-432EBE3C639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6203BBBF-2C90-4476-AD31-29356C3153DA}" type="doc">
      <dgm:prSet loTypeId="urn:microsoft.com/office/officeart/2005/8/layout/list1" loCatId="list" qsTypeId="urn:microsoft.com/office/officeart/2005/8/quickstyle/simple5" qsCatId="simple" csTypeId="urn:microsoft.com/office/officeart/2005/8/colors/colorful2" csCatId="colorful" phldr="1"/>
      <dgm:spPr/>
      <dgm:t>
        <a:bodyPr/>
        <a:lstStyle/>
        <a:p>
          <a:endParaRPr lang="en-US"/>
        </a:p>
      </dgm:t>
    </dgm:pt>
    <dgm:pt modelId="{7B19D617-DA8C-4F44-A407-BC4CA421F38B}">
      <dgm:prSet/>
      <dgm:spPr/>
      <dgm:t>
        <a:bodyPr/>
        <a:lstStyle/>
        <a:p>
          <a:pPr>
            <a:lnSpc>
              <a:spcPct val="100000"/>
            </a:lnSpc>
          </a:pPr>
          <a:r>
            <a:rPr lang="en-US" dirty="0"/>
            <a:t>Clustered Index</a:t>
          </a:r>
        </a:p>
      </dgm:t>
    </dgm:pt>
    <dgm:pt modelId="{98D00C8C-A246-4B09-A386-39239C699ED9}" type="parTrans" cxnId="{379B50FC-D947-440C-A278-E8A350750388}">
      <dgm:prSet/>
      <dgm:spPr/>
      <dgm:t>
        <a:bodyPr/>
        <a:lstStyle/>
        <a:p>
          <a:endParaRPr lang="en-US"/>
        </a:p>
      </dgm:t>
    </dgm:pt>
    <dgm:pt modelId="{F02D4CD5-7280-4788-A1F3-F034B90D0FB6}" type="sibTrans" cxnId="{379B50FC-D947-440C-A278-E8A350750388}">
      <dgm:prSet/>
      <dgm:spPr/>
      <dgm:t>
        <a:bodyPr/>
        <a:lstStyle/>
        <a:p>
          <a:endParaRPr lang="en-US"/>
        </a:p>
      </dgm:t>
    </dgm:pt>
    <dgm:pt modelId="{41760375-6CD1-45FE-8C2F-89BCC9D0D581}">
      <dgm:prSet/>
      <dgm:spPr/>
      <dgm:t>
        <a:bodyPr/>
        <a:lstStyle/>
        <a:p>
          <a:pPr rtl="0"/>
          <a:r>
            <a:rPr lang="en-US"/>
            <a:t>Use to store fact tables and large dimension tables for data warehousing workloads</a:t>
          </a:r>
          <a:r>
            <a:rPr lang="en-US">
              <a:latin typeface="Segoe UI Semibold"/>
            </a:rPr>
            <a:t> </a:t>
          </a:r>
          <a:endParaRPr lang="en-US" dirty="0"/>
        </a:p>
      </dgm:t>
    </dgm:pt>
    <dgm:pt modelId="{38FA0646-AAF1-4639-B5F3-9CA8831D9A65}" type="parTrans" cxnId="{0C1A3CA4-872D-4966-A17B-4391CF71BE35}">
      <dgm:prSet/>
      <dgm:spPr/>
      <dgm:t>
        <a:bodyPr/>
        <a:lstStyle/>
        <a:p>
          <a:endParaRPr lang="en-US"/>
        </a:p>
      </dgm:t>
    </dgm:pt>
    <dgm:pt modelId="{490F927C-2433-4C25-9D01-4120B7F5EFF6}" type="sibTrans" cxnId="{0C1A3CA4-872D-4966-A17B-4391CF71BE35}">
      <dgm:prSet/>
      <dgm:spPr/>
      <dgm:t>
        <a:bodyPr/>
        <a:lstStyle/>
        <a:p>
          <a:endParaRPr lang="en-US"/>
        </a:p>
      </dgm:t>
    </dgm:pt>
    <dgm:pt modelId="{5887CC34-2CA1-49A5-8CEB-02E033C8C672}">
      <dgm:prSet/>
      <dgm:spPr/>
      <dgm:t>
        <a:bodyPr/>
        <a:lstStyle/>
        <a:p>
          <a:pPr rtl="0"/>
          <a:r>
            <a:rPr lang="en-US" dirty="0"/>
            <a:t>Average of 10x Compressions</a:t>
          </a:r>
          <a:r>
            <a:rPr lang="en-US" dirty="0">
              <a:latin typeface="Segoe UI Semibold"/>
            </a:rPr>
            <a:t> </a:t>
          </a:r>
        </a:p>
      </dgm:t>
    </dgm:pt>
    <dgm:pt modelId="{5F331547-9E4E-4295-8465-656B4DE86FFE}" type="parTrans" cxnId="{F98A5CDD-697C-459E-99BD-5F5203E8B963}">
      <dgm:prSet/>
      <dgm:spPr/>
      <dgm:t>
        <a:bodyPr/>
        <a:lstStyle/>
        <a:p>
          <a:endParaRPr lang="en-US"/>
        </a:p>
      </dgm:t>
    </dgm:pt>
    <dgm:pt modelId="{97B97CA3-61C7-463B-A226-098B17181014}" type="sibTrans" cxnId="{F98A5CDD-697C-459E-99BD-5F5203E8B963}">
      <dgm:prSet/>
      <dgm:spPr/>
      <dgm:t>
        <a:bodyPr/>
        <a:lstStyle/>
        <a:p>
          <a:endParaRPr lang="en-US"/>
        </a:p>
      </dgm:t>
    </dgm:pt>
    <dgm:pt modelId="{619D62CF-1A55-46A6-98DF-2DDF5B89E56A}">
      <dgm:prSet/>
      <dgm:spPr/>
      <dgm:t>
        <a:bodyPr/>
        <a:lstStyle/>
        <a:p>
          <a:pPr>
            <a:lnSpc>
              <a:spcPct val="100000"/>
            </a:lnSpc>
          </a:pPr>
          <a:r>
            <a:rPr lang="en-US" dirty="0"/>
            <a:t>Non-Clustered Index</a:t>
          </a:r>
        </a:p>
      </dgm:t>
    </dgm:pt>
    <dgm:pt modelId="{53D44130-315E-41A9-BE80-ACCF79620578}" type="parTrans" cxnId="{438D645F-0C4A-4CBB-9294-84835F8BB820}">
      <dgm:prSet/>
      <dgm:spPr/>
      <dgm:t>
        <a:bodyPr/>
        <a:lstStyle/>
        <a:p>
          <a:endParaRPr lang="en-US"/>
        </a:p>
      </dgm:t>
    </dgm:pt>
    <dgm:pt modelId="{F18502D9-954C-4E3D-A334-B8A01D5845D7}" type="sibTrans" cxnId="{438D645F-0C4A-4CBB-9294-84835F8BB820}">
      <dgm:prSet/>
      <dgm:spPr/>
      <dgm:t>
        <a:bodyPr/>
        <a:lstStyle/>
        <a:p>
          <a:endParaRPr lang="en-US"/>
        </a:p>
      </dgm:t>
    </dgm:pt>
    <dgm:pt modelId="{223094EE-1353-4284-9E99-F96A99322113}">
      <dgm:prSet/>
      <dgm:spPr/>
      <dgm:t>
        <a:bodyPr/>
        <a:lstStyle/>
        <a:p>
          <a:pPr>
            <a:lnSpc>
              <a:spcPct val="100000"/>
            </a:lnSpc>
          </a:pPr>
          <a:r>
            <a:rPr lang="en-US" dirty="0"/>
            <a:t>Use to perform analysis in real time on an OLTP workload.</a:t>
          </a:r>
        </a:p>
      </dgm:t>
    </dgm:pt>
    <dgm:pt modelId="{760B13D8-3806-4348-BBE3-16CF305ED23F}" type="parTrans" cxnId="{2BDF63F0-17C5-45A8-99D4-A3CC98943915}">
      <dgm:prSet/>
      <dgm:spPr/>
      <dgm:t>
        <a:bodyPr/>
        <a:lstStyle/>
        <a:p>
          <a:endParaRPr lang="en-US"/>
        </a:p>
      </dgm:t>
    </dgm:pt>
    <dgm:pt modelId="{69B80781-7E6A-4676-9584-771D6D7E720F}" type="sibTrans" cxnId="{2BDF63F0-17C5-45A8-99D4-A3CC98943915}">
      <dgm:prSet/>
      <dgm:spPr/>
      <dgm:t>
        <a:bodyPr/>
        <a:lstStyle/>
        <a:p>
          <a:endParaRPr lang="en-US"/>
        </a:p>
      </dgm:t>
    </dgm:pt>
    <dgm:pt modelId="{D7F2A3CB-E541-4C57-AB04-E763A8F33CE3}">
      <dgm:prSet/>
      <dgm:spPr/>
      <dgm:t>
        <a:bodyPr/>
        <a:lstStyle/>
        <a:p>
          <a:pPr>
            <a:lnSpc>
              <a:spcPct val="100000"/>
            </a:lnSpc>
          </a:pPr>
          <a:r>
            <a:rPr lang="en-US" dirty="0"/>
            <a:t>IOT workloads that insert large volumes with minimal updates/deletes</a:t>
          </a:r>
        </a:p>
      </dgm:t>
    </dgm:pt>
    <dgm:pt modelId="{05F582DE-CE35-4EEF-8D11-C92A09B9FBD7}" type="parTrans" cxnId="{18F11F6F-4281-42B6-9578-25C5B1D5C7B6}">
      <dgm:prSet/>
      <dgm:spPr/>
      <dgm:t>
        <a:bodyPr/>
        <a:lstStyle/>
        <a:p>
          <a:endParaRPr lang="en-US"/>
        </a:p>
      </dgm:t>
    </dgm:pt>
    <dgm:pt modelId="{70C91582-C48D-4A21-8417-7323FFA50799}" type="sibTrans" cxnId="{18F11F6F-4281-42B6-9578-25C5B1D5C7B6}">
      <dgm:prSet/>
      <dgm:spPr/>
      <dgm:t>
        <a:bodyPr/>
        <a:lstStyle/>
        <a:p>
          <a:endParaRPr lang="en-US"/>
        </a:p>
      </dgm:t>
    </dgm:pt>
    <dgm:pt modelId="{DDEFBE6D-3348-457C-ACDD-3AB887A04FA8}">
      <dgm:prSet/>
      <dgm:spPr/>
      <dgm:t>
        <a:bodyPr/>
        <a:lstStyle/>
        <a:p>
          <a:pPr rtl="0"/>
          <a:r>
            <a:rPr lang="en-US"/>
            <a:t>Covers Entire Table</a:t>
          </a:r>
          <a:r>
            <a:rPr lang="en-US">
              <a:latin typeface="Segoe UI Semibold"/>
            </a:rPr>
            <a:t> </a:t>
          </a:r>
          <a:endParaRPr lang="en-US" dirty="0"/>
        </a:p>
      </dgm:t>
    </dgm:pt>
    <dgm:pt modelId="{C5155B17-7CB3-4B09-ACE0-0C93966A56B6}" type="parTrans" cxnId="{139CDD82-B563-4953-B05F-150BC437DF60}">
      <dgm:prSet/>
      <dgm:spPr/>
      <dgm:t>
        <a:bodyPr/>
        <a:lstStyle/>
        <a:p>
          <a:endParaRPr lang="en-US"/>
        </a:p>
      </dgm:t>
    </dgm:pt>
    <dgm:pt modelId="{E28B2BB9-E7FF-4485-9543-2C2A392BFC9F}" type="sibTrans" cxnId="{139CDD82-B563-4953-B05F-150BC437DF60}">
      <dgm:prSet/>
      <dgm:spPr/>
      <dgm:t>
        <a:bodyPr/>
        <a:lstStyle/>
        <a:p>
          <a:endParaRPr lang="en-US"/>
        </a:p>
      </dgm:t>
    </dgm:pt>
    <dgm:pt modelId="{70AC4608-B153-4C6E-B105-32DC2C1244C2}">
      <dgm:prSet/>
      <dgm:spPr/>
      <dgm:t>
        <a:bodyPr/>
        <a:lstStyle/>
        <a:p>
          <a:pPr>
            <a:lnSpc>
              <a:spcPct val="100000"/>
            </a:lnSpc>
          </a:pPr>
          <a:r>
            <a:rPr lang="en-US" dirty="0"/>
            <a:t>Can be created for subset of columns</a:t>
          </a:r>
        </a:p>
      </dgm:t>
    </dgm:pt>
    <dgm:pt modelId="{37214CEB-1098-4463-8BEC-E8CBE98022A2}" type="parTrans" cxnId="{10EBD0EF-D7DC-415F-AFBE-85689754359C}">
      <dgm:prSet/>
      <dgm:spPr/>
      <dgm:t>
        <a:bodyPr/>
        <a:lstStyle/>
        <a:p>
          <a:endParaRPr lang="en-US"/>
        </a:p>
      </dgm:t>
    </dgm:pt>
    <dgm:pt modelId="{8C394623-DCCE-4234-A258-18EE59384206}" type="sibTrans" cxnId="{10EBD0EF-D7DC-415F-AFBE-85689754359C}">
      <dgm:prSet/>
      <dgm:spPr/>
      <dgm:t>
        <a:bodyPr/>
        <a:lstStyle/>
        <a:p>
          <a:endParaRPr lang="en-US"/>
        </a:p>
      </dgm:t>
    </dgm:pt>
    <dgm:pt modelId="{00233E00-A4D6-4A15-BB83-98BE6F802CAA}">
      <dgm:prSet/>
      <dgm:spPr/>
      <dgm:t>
        <a:bodyPr/>
        <a:lstStyle/>
        <a:p>
          <a:pPr>
            <a:lnSpc>
              <a:spcPct val="100000"/>
            </a:lnSpc>
          </a:pPr>
          <a:r>
            <a:rPr lang="en-US" dirty="0"/>
            <a:t>May have one or more Nonclustered B-Tree Indexes</a:t>
          </a:r>
        </a:p>
      </dgm:t>
    </dgm:pt>
    <dgm:pt modelId="{51CA487D-6E99-4EAC-B745-65BFF61091EA}" type="parTrans" cxnId="{FAD875A4-3C59-40D0-9257-A2BEA2FBCFDF}">
      <dgm:prSet/>
      <dgm:spPr/>
      <dgm:t>
        <a:bodyPr/>
        <a:lstStyle/>
        <a:p>
          <a:endParaRPr lang="en-US"/>
        </a:p>
      </dgm:t>
    </dgm:pt>
    <dgm:pt modelId="{64086CDA-6FA4-480B-8DED-2E6750DD0455}" type="sibTrans" cxnId="{FAD875A4-3C59-40D0-9257-A2BEA2FBCFDF}">
      <dgm:prSet/>
      <dgm:spPr/>
      <dgm:t>
        <a:bodyPr/>
        <a:lstStyle/>
        <a:p>
          <a:endParaRPr lang="en-US"/>
        </a:p>
      </dgm:t>
    </dgm:pt>
    <dgm:pt modelId="{470209EA-2A2B-4E0F-8758-0D58ED2FFB33}" type="pres">
      <dgm:prSet presAssocID="{6203BBBF-2C90-4476-AD31-29356C3153DA}" presName="linear" presStyleCnt="0">
        <dgm:presLayoutVars>
          <dgm:dir/>
          <dgm:animLvl val="lvl"/>
          <dgm:resizeHandles val="exact"/>
        </dgm:presLayoutVars>
      </dgm:prSet>
      <dgm:spPr/>
    </dgm:pt>
    <dgm:pt modelId="{1EAF8317-6F3D-483B-ABF1-7BF895DDC806}" type="pres">
      <dgm:prSet presAssocID="{7B19D617-DA8C-4F44-A407-BC4CA421F38B}" presName="parentLin" presStyleCnt="0"/>
      <dgm:spPr/>
    </dgm:pt>
    <dgm:pt modelId="{D513D3F9-4C1F-4A78-9DFE-A6E09A037C71}" type="pres">
      <dgm:prSet presAssocID="{7B19D617-DA8C-4F44-A407-BC4CA421F38B}" presName="parentLeftMargin" presStyleLbl="node1" presStyleIdx="0" presStyleCnt="2"/>
      <dgm:spPr/>
    </dgm:pt>
    <dgm:pt modelId="{11799C01-FC46-456A-8E53-D6B46E7A20B6}" type="pres">
      <dgm:prSet presAssocID="{7B19D617-DA8C-4F44-A407-BC4CA421F38B}" presName="parentText" presStyleLbl="node1" presStyleIdx="0" presStyleCnt="2">
        <dgm:presLayoutVars>
          <dgm:chMax val="0"/>
          <dgm:bulletEnabled val="1"/>
        </dgm:presLayoutVars>
      </dgm:prSet>
      <dgm:spPr/>
    </dgm:pt>
    <dgm:pt modelId="{934A3BD1-7DA1-4E7F-B570-68A98049492B}" type="pres">
      <dgm:prSet presAssocID="{7B19D617-DA8C-4F44-A407-BC4CA421F38B}" presName="negativeSpace" presStyleCnt="0"/>
      <dgm:spPr/>
    </dgm:pt>
    <dgm:pt modelId="{78B0E0BB-7229-477F-815E-2DE0B5736A5F}" type="pres">
      <dgm:prSet presAssocID="{7B19D617-DA8C-4F44-A407-BC4CA421F38B}" presName="childText" presStyleLbl="conFgAcc1" presStyleIdx="0" presStyleCnt="2">
        <dgm:presLayoutVars>
          <dgm:bulletEnabled val="1"/>
        </dgm:presLayoutVars>
      </dgm:prSet>
      <dgm:spPr/>
    </dgm:pt>
    <dgm:pt modelId="{9BB49D2D-A25F-444C-8990-D6D597F0A654}" type="pres">
      <dgm:prSet presAssocID="{F02D4CD5-7280-4788-A1F3-F034B90D0FB6}" presName="spaceBetweenRectangles" presStyleCnt="0"/>
      <dgm:spPr/>
    </dgm:pt>
    <dgm:pt modelId="{B554613C-0230-400B-938E-ECE17E7BF649}" type="pres">
      <dgm:prSet presAssocID="{619D62CF-1A55-46A6-98DF-2DDF5B89E56A}" presName="parentLin" presStyleCnt="0"/>
      <dgm:spPr/>
    </dgm:pt>
    <dgm:pt modelId="{42371E7A-03AE-4791-A766-5CA530CA4E9D}" type="pres">
      <dgm:prSet presAssocID="{619D62CF-1A55-46A6-98DF-2DDF5B89E56A}" presName="parentLeftMargin" presStyleLbl="node1" presStyleIdx="0" presStyleCnt="2"/>
      <dgm:spPr/>
    </dgm:pt>
    <dgm:pt modelId="{90B55945-C84D-45E9-AB23-5694BCC26D5C}" type="pres">
      <dgm:prSet presAssocID="{619D62CF-1A55-46A6-98DF-2DDF5B89E56A}" presName="parentText" presStyleLbl="node1" presStyleIdx="1" presStyleCnt="2">
        <dgm:presLayoutVars>
          <dgm:chMax val="0"/>
          <dgm:bulletEnabled val="1"/>
        </dgm:presLayoutVars>
      </dgm:prSet>
      <dgm:spPr/>
    </dgm:pt>
    <dgm:pt modelId="{72B6FF76-16E4-466C-8921-5080CAFD27F6}" type="pres">
      <dgm:prSet presAssocID="{619D62CF-1A55-46A6-98DF-2DDF5B89E56A}" presName="negativeSpace" presStyleCnt="0"/>
      <dgm:spPr/>
    </dgm:pt>
    <dgm:pt modelId="{1F1DE8F2-9B14-4826-88E3-206369A7A5D9}" type="pres">
      <dgm:prSet presAssocID="{619D62CF-1A55-46A6-98DF-2DDF5B89E56A}" presName="childText" presStyleLbl="conFgAcc1" presStyleIdx="1" presStyleCnt="2">
        <dgm:presLayoutVars>
          <dgm:bulletEnabled val="1"/>
        </dgm:presLayoutVars>
      </dgm:prSet>
      <dgm:spPr/>
    </dgm:pt>
  </dgm:ptLst>
  <dgm:cxnLst>
    <dgm:cxn modelId="{A713E90F-E214-4CBE-A785-CE4A3B6D47DF}" type="presOf" srcId="{7B19D617-DA8C-4F44-A407-BC4CA421F38B}" destId="{D513D3F9-4C1F-4A78-9DFE-A6E09A037C71}" srcOrd="0" destOrd="0" presId="urn:microsoft.com/office/officeart/2005/8/layout/list1"/>
    <dgm:cxn modelId="{BF197018-F92A-43B1-9602-9930F652537A}" type="presOf" srcId="{DDEFBE6D-3348-457C-ACDD-3AB887A04FA8}" destId="{78B0E0BB-7229-477F-815E-2DE0B5736A5F}" srcOrd="0" destOrd="3" presId="urn:microsoft.com/office/officeart/2005/8/layout/list1"/>
    <dgm:cxn modelId="{BE165B34-150A-49F2-A731-01B9FE0D89E5}" type="presOf" srcId="{223094EE-1353-4284-9E99-F96A99322113}" destId="{1F1DE8F2-9B14-4826-88E3-206369A7A5D9}" srcOrd="0" destOrd="0" presId="urn:microsoft.com/office/officeart/2005/8/layout/list1"/>
    <dgm:cxn modelId="{438D645F-0C4A-4CBB-9294-84835F8BB820}" srcId="{6203BBBF-2C90-4476-AD31-29356C3153DA}" destId="{619D62CF-1A55-46A6-98DF-2DDF5B89E56A}" srcOrd="1" destOrd="0" parTransId="{53D44130-315E-41A9-BE80-ACCF79620578}" sibTransId="{F18502D9-954C-4E3D-A334-B8A01D5845D7}"/>
    <dgm:cxn modelId="{18F11F6F-4281-42B6-9578-25C5B1D5C7B6}" srcId="{7B19D617-DA8C-4F44-A407-BC4CA421F38B}" destId="{D7F2A3CB-E541-4C57-AB04-E763A8F33CE3}" srcOrd="1" destOrd="0" parTransId="{05F582DE-CE35-4EEF-8D11-C92A09B9FBD7}" sibTransId="{70C91582-C48D-4A21-8417-7323FFA50799}"/>
    <dgm:cxn modelId="{139CDD82-B563-4953-B05F-150BC437DF60}" srcId="{7B19D617-DA8C-4F44-A407-BC4CA421F38B}" destId="{DDEFBE6D-3348-457C-ACDD-3AB887A04FA8}" srcOrd="3" destOrd="0" parTransId="{C5155B17-7CB3-4B09-ACE0-0C93966A56B6}" sibTransId="{E28B2BB9-E7FF-4485-9543-2C2A392BFC9F}"/>
    <dgm:cxn modelId="{65E55D8A-8383-4259-972E-6A24AA7D4A7E}" type="presOf" srcId="{70AC4608-B153-4C6E-B105-32DC2C1244C2}" destId="{1F1DE8F2-9B14-4826-88E3-206369A7A5D9}" srcOrd="0" destOrd="1" presId="urn:microsoft.com/office/officeart/2005/8/layout/list1"/>
    <dgm:cxn modelId="{0A043595-1CB6-42B2-9FEA-E0B120ECEB71}" type="presOf" srcId="{00233E00-A4D6-4A15-BB83-98BE6F802CAA}" destId="{78B0E0BB-7229-477F-815E-2DE0B5736A5F}" srcOrd="0" destOrd="4" presId="urn:microsoft.com/office/officeart/2005/8/layout/list1"/>
    <dgm:cxn modelId="{0C1A3CA4-872D-4966-A17B-4391CF71BE35}" srcId="{7B19D617-DA8C-4F44-A407-BC4CA421F38B}" destId="{41760375-6CD1-45FE-8C2F-89BCC9D0D581}" srcOrd="0" destOrd="0" parTransId="{38FA0646-AAF1-4639-B5F3-9CA8831D9A65}" sibTransId="{490F927C-2433-4C25-9D01-4120B7F5EFF6}"/>
    <dgm:cxn modelId="{FAD875A4-3C59-40D0-9257-A2BEA2FBCFDF}" srcId="{7B19D617-DA8C-4F44-A407-BC4CA421F38B}" destId="{00233E00-A4D6-4A15-BB83-98BE6F802CAA}" srcOrd="4" destOrd="0" parTransId="{51CA487D-6E99-4EAC-B745-65BFF61091EA}" sibTransId="{64086CDA-6FA4-480B-8DED-2E6750DD0455}"/>
    <dgm:cxn modelId="{11EF23B3-C018-4850-85E4-647F73C9E8A3}" type="presOf" srcId="{7B19D617-DA8C-4F44-A407-BC4CA421F38B}" destId="{11799C01-FC46-456A-8E53-D6B46E7A20B6}" srcOrd="1" destOrd="0" presId="urn:microsoft.com/office/officeart/2005/8/layout/list1"/>
    <dgm:cxn modelId="{81B432C1-71ED-4361-8ABF-6DDB7BD509F5}" type="presOf" srcId="{619D62CF-1A55-46A6-98DF-2DDF5B89E56A}" destId="{90B55945-C84D-45E9-AB23-5694BCC26D5C}" srcOrd="1" destOrd="0" presId="urn:microsoft.com/office/officeart/2005/8/layout/list1"/>
    <dgm:cxn modelId="{6652A8C1-9564-4A67-B7B5-06CD8E9F31DA}" type="presOf" srcId="{41760375-6CD1-45FE-8C2F-89BCC9D0D581}" destId="{78B0E0BB-7229-477F-815E-2DE0B5736A5F}" srcOrd="0" destOrd="0" presId="urn:microsoft.com/office/officeart/2005/8/layout/list1"/>
    <dgm:cxn modelId="{709C82CA-9FBF-4CA9-AA57-F410A6DFD0F4}" type="presOf" srcId="{6203BBBF-2C90-4476-AD31-29356C3153DA}" destId="{470209EA-2A2B-4E0F-8758-0D58ED2FFB33}" srcOrd="0" destOrd="0" presId="urn:microsoft.com/office/officeart/2005/8/layout/list1"/>
    <dgm:cxn modelId="{F98A5CDD-697C-459E-99BD-5F5203E8B963}" srcId="{7B19D617-DA8C-4F44-A407-BC4CA421F38B}" destId="{5887CC34-2CA1-49A5-8CEB-02E033C8C672}" srcOrd="2" destOrd="0" parTransId="{5F331547-9E4E-4295-8465-656B4DE86FFE}" sibTransId="{97B97CA3-61C7-463B-A226-098B17181014}"/>
    <dgm:cxn modelId="{46008CDD-42E1-44AE-89DC-C09D578BDFA8}" type="presOf" srcId="{D7F2A3CB-E541-4C57-AB04-E763A8F33CE3}" destId="{78B0E0BB-7229-477F-815E-2DE0B5736A5F}" srcOrd="0" destOrd="1" presId="urn:microsoft.com/office/officeart/2005/8/layout/list1"/>
    <dgm:cxn modelId="{10EBD0EF-D7DC-415F-AFBE-85689754359C}" srcId="{619D62CF-1A55-46A6-98DF-2DDF5B89E56A}" destId="{70AC4608-B153-4C6E-B105-32DC2C1244C2}" srcOrd="1" destOrd="0" parTransId="{37214CEB-1098-4463-8BEC-E8CBE98022A2}" sibTransId="{8C394623-DCCE-4234-A258-18EE59384206}"/>
    <dgm:cxn modelId="{2BDF63F0-17C5-45A8-99D4-A3CC98943915}" srcId="{619D62CF-1A55-46A6-98DF-2DDF5B89E56A}" destId="{223094EE-1353-4284-9E99-F96A99322113}" srcOrd="0" destOrd="0" parTransId="{760B13D8-3806-4348-BBE3-16CF305ED23F}" sibTransId="{69B80781-7E6A-4676-9584-771D6D7E720F}"/>
    <dgm:cxn modelId="{05EA89F9-CA66-4C4A-A1BF-E33A06E6DB48}" type="presOf" srcId="{619D62CF-1A55-46A6-98DF-2DDF5B89E56A}" destId="{42371E7A-03AE-4791-A766-5CA530CA4E9D}" srcOrd="0" destOrd="0" presId="urn:microsoft.com/office/officeart/2005/8/layout/list1"/>
    <dgm:cxn modelId="{7018CDFA-4651-4D8E-AA6C-751E217463B8}" type="presOf" srcId="{5887CC34-2CA1-49A5-8CEB-02E033C8C672}" destId="{78B0E0BB-7229-477F-815E-2DE0B5736A5F}" srcOrd="0" destOrd="2" presId="urn:microsoft.com/office/officeart/2005/8/layout/list1"/>
    <dgm:cxn modelId="{379B50FC-D947-440C-A278-E8A350750388}" srcId="{6203BBBF-2C90-4476-AD31-29356C3153DA}" destId="{7B19D617-DA8C-4F44-A407-BC4CA421F38B}" srcOrd="0" destOrd="0" parTransId="{98D00C8C-A246-4B09-A386-39239C699ED9}" sibTransId="{F02D4CD5-7280-4788-A1F3-F034B90D0FB6}"/>
    <dgm:cxn modelId="{4ACD2614-1EA2-486B-A50E-692618960215}" type="presParOf" srcId="{470209EA-2A2B-4E0F-8758-0D58ED2FFB33}" destId="{1EAF8317-6F3D-483B-ABF1-7BF895DDC806}" srcOrd="0" destOrd="0" presId="urn:microsoft.com/office/officeart/2005/8/layout/list1"/>
    <dgm:cxn modelId="{D4E6FD41-9CD1-450E-AD8B-3CC30CC190C1}" type="presParOf" srcId="{1EAF8317-6F3D-483B-ABF1-7BF895DDC806}" destId="{D513D3F9-4C1F-4A78-9DFE-A6E09A037C71}" srcOrd="0" destOrd="0" presId="urn:microsoft.com/office/officeart/2005/8/layout/list1"/>
    <dgm:cxn modelId="{427E6197-085E-411F-BF19-52AA2E2BFD31}" type="presParOf" srcId="{1EAF8317-6F3D-483B-ABF1-7BF895DDC806}" destId="{11799C01-FC46-456A-8E53-D6B46E7A20B6}" srcOrd="1" destOrd="0" presId="urn:microsoft.com/office/officeart/2005/8/layout/list1"/>
    <dgm:cxn modelId="{E024DFB9-185D-4F47-93BC-FFDFEF3DCED6}" type="presParOf" srcId="{470209EA-2A2B-4E0F-8758-0D58ED2FFB33}" destId="{934A3BD1-7DA1-4E7F-B570-68A98049492B}" srcOrd="1" destOrd="0" presId="urn:microsoft.com/office/officeart/2005/8/layout/list1"/>
    <dgm:cxn modelId="{B9520F60-45D8-4EB8-822A-A2702DA0599C}" type="presParOf" srcId="{470209EA-2A2B-4E0F-8758-0D58ED2FFB33}" destId="{78B0E0BB-7229-477F-815E-2DE0B5736A5F}" srcOrd="2" destOrd="0" presId="urn:microsoft.com/office/officeart/2005/8/layout/list1"/>
    <dgm:cxn modelId="{E33B0B1D-8C14-4A64-A3B0-6C1B5E73A672}" type="presParOf" srcId="{470209EA-2A2B-4E0F-8758-0D58ED2FFB33}" destId="{9BB49D2D-A25F-444C-8990-D6D597F0A654}" srcOrd="3" destOrd="0" presId="urn:microsoft.com/office/officeart/2005/8/layout/list1"/>
    <dgm:cxn modelId="{28219C23-B947-4C0D-9CED-F5F7915760C6}" type="presParOf" srcId="{470209EA-2A2B-4E0F-8758-0D58ED2FFB33}" destId="{B554613C-0230-400B-938E-ECE17E7BF649}" srcOrd="4" destOrd="0" presId="urn:microsoft.com/office/officeart/2005/8/layout/list1"/>
    <dgm:cxn modelId="{E8F7A035-1C02-4D4A-818E-8EDB1F4D4BCD}" type="presParOf" srcId="{B554613C-0230-400B-938E-ECE17E7BF649}" destId="{42371E7A-03AE-4791-A766-5CA530CA4E9D}" srcOrd="0" destOrd="0" presId="urn:microsoft.com/office/officeart/2005/8/layout/list1"/>
    <dgm:cxn modelId="{7BEEC990-3910-479A-A46E-96E24E39A039}" type="presParOf" srcId="{B554613C-0230-400B-938E-ECE17E7BF649}" destId="{90B55945-C84D-45E9-AB23-5694BCC26D5C}" srcOrd="1" destOrd="0" presId="urn:microsoft.com/office/officeart/2005/8/layout/list1"/>
    <dgm:cxn modelId="{BDC36209-714A-4A60-AB21-909041B4044F}" type="presParOf" srcId="{470209EA-2A2B-4E0F-8758-0D58ED2FFB33}" destId="{72B6FF76-16E4-466C-8921-5080CAFD27F6}" srcOrd="5" destOrd="0" presId="urn:microsoft.com/office/officeart/2005/8/layout/list1"/>
    <dgm:cxn modelId="{AD008F56-73A8-49EC-8A42-5832072438C8}" type="presParOf" srcId="{470209EA-2A2B-4E0F-8758-0D58ED2FFB33}" destId="{1F1DE8F2-9B14-4826-88E3-206369A7A5D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0FE908D4-9B28-4DB4-B6B1-0F02FA93965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711D7132-2091-4F14-8928-84011222E561}">
      <dgm:prSet/>
      <dgm:spPr/>
      <dgm:t>
        <a:bodyPr/>
        <a:lstStyle/>
        <a:p>
          <a:r>
            <a:rPr lang="en-US" baseline="0"/>
            <a:t>SQL Server 2012</a:t>
          </a:r>
          <a:endParaRPr lang="en-US"/>
        </a:p>
      </dgm:t>
    </dgm:pt>
    <dgm:pt modelId="{DF310B9A-4D33-40FC-A3C8-E320DAF30D48}" type="parTrans" cxnId="{BB3C44FE-855D-45E2-A34A-BC4084A955E0}">
      <dgm:prSet/>
      <dgm:spPr/>
      <dgm:t>
        <a:bodyPr/>
        <a:lstStyle/>
        <a:p>
          <a:endParaRPr lang="en-US"/>
        </a:p>
      </dgm:t>
    </dgm:pt>
    <dgm:pt modelId="{7888A0B3-03AE-411A-B19B-DB46B3087E49}" type="sibTrans" cxnId="{BB3C44FE-855D-45E2-A34A-BC4084A955E0}">
      <dgm:prSet/>
      <dgm:spPr/>
      <dgm:t>
        <a:bodyPr/>
        <a:lstStyle/>
        <a:p>
          <a:endParaRPr lang="en-US"/>
        </a:p>
      </dgm:t>
    </dgm:pt>
    <dgm:pt modelId="{9FF5A837-AA27-420E-919B-8E85B5C3053F}">
      <dgm:prSet/>
      <dgm:spPr/>
      <dgm:t>
        <a:bodyPr/>
        <a:lstStyle/>
        <a:p>
          <a:r>
            <a:rPr lang="en-US" baseline="0" dirty="0"/>
            <a:t>Only Non-Clustered, Non-Updatable Columnstore Indexes.</a:t>
          </a:r>
          <a:endParaRPr lang="en-US" dirty="0"/>
        </a:p>
      </dgm:t>
    </dgm:pt>
    <dgm:pt modelId="{7715A696-3208-4866-BBDF-F7245F7FA4B0}" type="parTrans" cxnId="{5EC55A6B-B4B1-45DC-959C-ED30E84EAB0C}">
      <dgm:prSet/>
      <dgm:spPr/>
      <dgm:t>
        <a:bodyPr/>
        <a:lstStyle/>
        <a:p>
          <a:endParaRPr lang="en-US"/>
        </a:p>
      </dgm:t>
    </dgm:pt>
    <dgm:pt modelId="{9AB660DC-414A-4C74-85A8-641E42685197}" type="sibTrans" cxnId="{5EC55A6B-B4B1-45DC-959C-ED30E84EAB0C}">
      <dgm:prSet/>
      <dgm:spPr/>
      <dgm:t>
        <a:bodyPr/>
        <a:lstStyle/>
        <a:p>
          <a:endParaRPr lang="en-US"/>
        </a:p>
      </dgm:t>
    </dgm:pt>
    <dgm:pt modelId="{441C2353-A10E-4425-AC5C-97C916FF7DD3}">
      <dgm:prSet/>
      <dgm:spPr/>
      <dgm:t>
        <a:bodyPr/>
        <a:lstStyle/>
        <a:p>
          <a:r>
            <a:rPr lang="en-US" baseline="0"/>
            <a:t>Only available in Enterprise Edition.</a:t>
          </a:r>
          <a:endParaRPr lang="en-US"/>
        </a:p>
      </dgm:t>
    </dgm:pt>
    <dgm:pt modelId="{F709889D-7E30-4ECA-AF27-D26280468BEE}" type="parTrans" cxnId="{26566FFD-4316-4C39-8A00-29D2A26D230E}">
      <dgm:prSet/>
      <dgm:spPr/>
      <dgm:t>
        <a:bodyPr/>
        <a:lstStyle/>
        <a:p>
          <a:endParaRPr lang="en-US"/>
        </a:p>
      </dgm:t>
    </dgm:pt>
    <dgm:pt modelId="{AAEA1200-A547-42B7-BA31-CB130D8E03DB}" type="sibTrans" cxnId="{26566FFD-4316-4C39-8A00-29D2A26D230E}">
      <dgm:prSet/>
      <dgm:spPr/>
      <dgm:t>
        <a:bodyPr/>
        <a:lstStyle/>
        <a:p>
          <a:endParaRPr lang="en-US"/>
        </a:p>
      </dgm:t>
    </dgm:pt>
    <dgm:pt modelId="{1A5CBBAA-5C32-4797-BDF4-90D76E6BE41A}">
      <dgm:prSet/>
      <dgm:spPr/>
      <dgm:t>
        <a:bodyPr/>
        <a:lstStyle/>
        <a:p>
          <a:r>
            <a:rPr lang="en-US" baseline="0"/>
            <a:t>SQL Server 2014</a:t>
          </a:r>
          <a:endParaRPr lang="en-US"/>
        </a:p>
      </dgm:t>
    </dgm:pt>
    <dgm:pt modelId="{A4B1C3D0-D310-4AA4-AAC5-498CE7A37E95}" type="parTrans" cxnId="{F4693B74-BF3A-4C21-978D-D6FD3EC8D57E}">
      <dgm:prSet/>
      <dgm:spPr/>
      <dgm:t>
        <a:bodyPr/>
        <a:lstStyle/>
        <a:p>
          <a:endParaRPr lang="en-US"/>
        </a:p>
      </dgm:t>
    </dgm:pt>
    <dgm:pt modelId="{AD71F99C-1D4C-4662-A774-EA2C3AD16039}" type="sibTrans" cxnId="{F4693B74-BF3A-4C21-978D-D6FD3EC8D57E}">
      <dgm:prSet/>
      <dgm:spPr/>
      <dgm:t>
        <a:bodyPr/>
        <a:lstStyle/>
        <a:p>
          <a:endParaRPr lang="en-US"/>
        </a:p>
      </dgm:t>
    </dgm:pt>
    <dgm:pt modelId="{F1275769-B0F0-49D5-AF3E-A384243CCB92}">
      <dgm:prSet/>
      <dgm:spPr/>
      <dgm:t>
        <a:bodyPr/>
        <a:lstStyle/>
        <a:p>
          <a:r>
            <a:rPr lang="en-US" baseline="0" dirty="0"/>
            <a:t>Introduced Updatable, Clustered Columnstore Indexes</a:t>
          </a:r>
          <a:endParaRPr lang="en-US" dirty="0"/>
        </a:p>
      </dgm:t>
    </dgm:pt>
    <dgm:pt modelId="{4990AD96-3384-42DB-AC55-DF16E0547A26}" type="parTrans" cxnId="{C34608B0-CC04-4C7F-9DA8-6FB9397DE0F6}">
      <dgm:prSet/>
      <dgm:spPr/>
      <dgm:t>
        <a:bodyPr/>
        <a:lstStyle/>
        <a:p>
          <a:endParaRPr lang="en-US"/>
        </a:p>
      </dgm:t>
    </dgm:pt>
    <dgm:pt modelId="{75117212-1B0E-42F6-A23F-DE9F60E0AB77}" type="sibTrans" cxnId="{C34608B0-CC04-4C7F-9DA8-6FB9397DE0F6}">
      <dgm:prSet/>
      <dgm:spPr/>
      <dgm:t>
        <a:bodyPr/>
        <a:lstStyle/>
        <a:p>
          <a:endParaRPr lang="en-US"/>
        </a:p>
      </dgm:t>
    </dgm:pt>
    <dgm:pt modelId="{7996CE62-7541-45B1-8765-C35F3D61EB2F}">
      <dgm:prSet/>
      <dgm:spPr/>
      <dgm:t>
        <a:bodyPr/>
        <a:lstStyle/>
        <a:p>
          <a:r>
            <a:rPr lang="en-US" baseline="0"/>
            <a:t>Only available in Enterprise Edition.</a:t>
          </a:r>
          <a:endParaRPr lang="en-US"/>
        </a:p>
      </dgm:t>
    </dgm:pt>
    <dgm:pt modelId="{E34B918A-CC95-42CE-9E49-21BF7B0B7604}" type="parTrans" cxnId="{6328B603-8E4C-4705-802E-6930A123F60D}">
      <dgm:prSet/>
      <dgm:spPr/>
      <dgm:t>
        <a:bodyPr/>
        <a:lstStyle/>
        <a:p>
          <a:endParaRPr lang="en-US"/>
        </a:p>
      </dgm:t>
    </dgm:pt>
    <dgm:pt modelId="{1D5BA7AE-FBB9-47E0-A49A-24E8D902E46B}" type="sibTrans" cxnId="{6328B603-8E4C-4705-802E-6930A123F60D}">
      <dgm:prSet/>
      <dgm:spPr/>
      <dgm:t>
        <a:bodyPr/>
        <a:lstStyle/>
        <a:p>
          <a:endParaRPr lang="en-US"/>
        </a:p>
      </dgm:t>
    </dgm:pt>
    <dgm:pt modelId="{F406BA23-5E25-42D8-AB1D-0AADC7469937}">
      <dgm:prSet/>
      <dgm:spPr/>
      <dgm:t>
        <a:bodyPr/>
        <a:lstStyle/>
        <a:p>
          <a:r>
            <a:rPr lang="en-US" baseline="0"/>
            <a:t>SQL Server 2016</a:t>
          </a:r>
          <a:endParaRPr lang="en-US"/>
        </a:p>
      </dgm:t>
    </dgm:pt>
    <dgm:pt modelId="{1749B0ED-A533-45DA-8C89-B106E546CFF6}" type="parTrans" cxnId="{62B74C39-6EE6-4276-83F8-10D4B63E8058}">
      <dgm:prSet/>
      <dgm:spPr/>
      <dgm:t>
        <a:bodyPr/>
        <a:lstStyle/>
        <a:p>
          <a:endParaRPr lang="en-US"/>
        </a:p>
      </dgm:t>
    </dgm:pt>
    <dgm:pt modelId="{10D05447-84EE-4376-A39B-2DED5332883A}" type="sibTrans" cxnId="{62B74C39-6EE6-4276-83F8-10D4B63E8058}">
      <dgm:prSet/>
      <dgm:spPr/>
      <dgm:t>
        <a:bodyPr/>
        <a:lstStyle/>
        <a:p>
          <a:endParaRPr lang="en-US"/>
        </a:p>
      </dgm:t>
    </dgm:pt>
    <dgm:pt modelId="{E55AD522-AF3D-4160-81D9-8299077FBECA}">
      <dgm:prSet/>
      <dgm:spPr/>
      <dgm:t>
        <a:bodyPr/>
        <a:lstStyle/>
        <a:p>
          <a:r>
            <a:rPr lang="en-US" baseline="0" dirty="0"/>
            <a:t>Introduced Updatable, Non-Clustered Columnstore Indexes</a:t>
          </a:r>
          <a:endParaRPr lang="en-US" dirty="0"/>
        </a:p>
      </dgm:t>
    </dgm:pt>
    <dgm:pt modelId="{1DF03B0F-7B22-44CE-9411-6F563BFE005F}" type="parTrans" cxnId="{BFFF595A-9C89-4FFB-AC95-C5C7387E4FBE}">
      <dgm:prSet/>
      <dgm:spPr/>
      <dgm:t>
        <a:bodyPr/>
        <a:lstStyle/>
        <a:p>
          <a:endParaRPr lang="en-US"/>
        </a:p>
      </dgm:t>
    </dgm:pt>
    <dgm:pt modelId="{2EFB1061-D09C-4DD3-A201-153F9AECCBAF}" type="sibTrans" cxnId="{BFFF595A-9C89-4FFB-AC95-C5C7387E4FBE}">
      <dgm:prSet/>
      <dgm:spPr/>
      <dgm:t>
        <a:bodyPr/>
        <a:lstStyle/>
        <a:p>
          <a:endParaRPr lang="en-US"/>
        </a:p>
      </dgm:t>
    </dgm:pt>
    <dgm:pt modelId="{075D3678-F113-49DD-850C-C01B436BA700}">
      <dgm:prSet/>
      <dgm:spPr/>
      <dgm:t>
        <a:bodyPr/>
        <a:lstStyle/>
        <a:p>
          <a:r>
            <a:rPr lang="en-US" baseline="0"/>
            <a:t>Available on Standard Edition. (Service Pack 1)</a:t>
          </a:r>
          <a:endParaRPr lang="en-US"/>
        </a:p>
      </dgm:t>
    </dgm:pt>
    <dgm:pt modelId="{A5CCE4DE-20EA-4AF0-8015-73BCF5B441EA}" type="parTrans" cxnId="{32497185-7953-49C3-9AAE-44442A854057}">
      <dgm:prSet/>
      <dgm:spPr/>
      <dgm:t>
        <a:bodyPr/>
        <a:lstStyle/>
        <a:p>
          <a:endParaRPr lang="en-US"/>
        </a:p>
      </dgm:t>
    </dgm:pt>
    <dgm:pt modelId="{C443CD77-BE80-4040-8C06-967F2986240B}" type="sibTrans" cxnId="{32497185-7953-49C3-9AAE-44442A854057}">
      <dgm:prSet/>
      <dgm:spPr/>
      <dgm:t>
        <a:bodyPr/>
        <a:lstStyle/>
        <a:p>
          <a:endParaRPr lang="en-US"/>
        </a:p>
      </dgm:t>
    </dgm:pt>
    <dgm:pt modelId="{940DA11F-5386-4F79-99E0-2C42587EF4B6}">
      <dgm:prSet/>
      <dgm:spPr/>
      <dgm:t>
        <a:bodyPr/>
        <a:lstStyle/>
        <a:p>
          <a:r>
            <a:rPr lang="en-US" baseline="0"/>
            <a:t>SQL Server 2019</a:t>
          </a:r>
          <a:endParaRPr lang="en-US"/>
        </a:p>
      </dgm:t>
    </dgm:pt>
    <dgm:pt modelId="{3A7BE55C-6C28-4060-972B-735BBAF28C0B}" type="parTrans" cxnId="{A0686321-6006-4065-A094-249CFC061E49}">
      <dgm:prSet/>
      <dgm:spPr/>
      <dgm:t>
        <a:bodyPr/>
        <a:lstStyle/>
        <a:p>
          <a:endParaRPr lang="en-US"/>
        </a:p>
      </dgm:t>
    </dgm:pt>
    <dgm:pt modelId="{F2F7ABC2-FA0E-44A2-AFFA-0AA1DF69A357}" type="sibTrans" cxnId="{A0686321-6006-4065-A094-249CFC061E49}">
      <dgm:prSet/>
      <dgm:spPr/>
      <dgm:t>
        <a:bodyPr/>
        <a:lstStyle/>
        <a:p>
          <a:endParaRPr lang="en-US"/>
        </a:p>
      </dgm:t>
    </dgm:pt>
    <dgm:pt modelId="{CBE245DF-F55B-4DC7-84B4-A8CA7AE30ED1}">
      <dgm:prSet/>
      <dgm:spPr/>
      <dgm:t>
        <a:bodyPr/>
        <a:lstStyle/>
        <a:p>
          <a:r>
            <a:rPr lang="en-US" baseline="0" dirty="0"/>
            <a:t>Online rebuilds for Clustered Columnstore Indexes.</a:t>
          </a:r>
          <a:endParaRPr lang="en-US" dirty="0"/>
        </a:p>
      </dgm:t>
    </dgm:pt>
    <dgm:pt modelId="{B728D703-7E3E-4401-88CC-3CDCB99CCE8D}" type="parTrans" cxnId="{CE496120-4346-4A86-A0D9-6F16E7E52600}">
      <dgm:prSet/>
      <dgm:spPr/>
      <dgm:t>
        <a:bodyPr/>
        <a:lstStyle/>
        <a:p>
          <a:endParaRPr lang="en-US"/>
        </a:p>
      </dgm:t>
    </dgm:pt>
    <dgm:pt modelId="{A53782BF-658E-4F40-AF17-4D055692D3FC}" type="sibTrans" cxnId="{CE496120-4346-4A86-A0D9-6F16E7E52600}">
      <dgm:prSet/>
      <dgm:spPr/>
      <dgm:t>
        <a:bodyPr/>
        <a:lstStyle/>
        <a:p>
          <a:endParaRPr lang="en-US"/>
        </a:p>
      </dgm:t>
    </dgm:pt>
    <dgm:pt modelId="{FDF615C5-437F-4918-8B47-73D79A5A8A1F}" type="pres">
      <dgm:prSet presAssocID="{0FE908D4-9B28-4DB4-B6B1-0F02FA939652}" presName="linear" presStyleCnt="0">
        <dgm:presLayoutVars>
          <dgm:animLvl val="lvl"/>
          <dgm:resizeHandles val="exact"/>
        </dgm:presLayoutVars>
      </dgm:prSet>
      <dgm:spPr/>
    </dgm:pt>
    <dgm:pt modelId="{2FD6FDA3-5755-4DE2-8B90-3C47EE141844}" type="pres">
      <dgm:prSet presAssocID="{711D7132-2091-4F14-8928-84011222E561}" presName="parentText" presStyleLbl="node1" presStyleIdx="0" presStyleCnt="4">
        <dgm:presLayoutVars>
          <dgm:chMax val="0"/>
          <dgm:bulletEnabled val="1"/>
        </dgm:presLayoutVars>
      </dgm:prSet>
      <dgm:spPr/>
    </dgm:pt>
    <dgm:pt modelId="{C165FB1E-E29C-4F3E-AF34-47A1F505CA01}" type="pres">
      <dgm:prSet presAssocID="{711D7132-2091-4F14-8928-84011222E561}" presName="childText" presStyleLbl="revTx" presStyleIdx="0" presStyleCnt="4">
        <dgm:presLayoutVars>
          <dgm:bulletEnabled val="1"/>
        </dgm:presLayoutVars>
      </dgm:prSet>
      <dgm:spPr/>
    </dgm:pt>
    <dgm:pt modelId="{08989DC2-25A6-4E23-929B-1E36EABBF708}" type="pres">
      <dgm:prSet presAssocID="{1A5CBBAA-5C32-4797-BDF4-90D76E6BE41A}" presName="parentText" presStyleLbl="node1" presStyleIdx="1" presStyleCnt="4">
        <dgm:presLayoutVars>
          <dgm:chMax val="0"/>
          <dgm:bulletEnabled val="1"/>
        </dgm:presLayoutVars>
      </dgm:prSet>
      <dgm:spPr/>
    </dgm:pt>
    <dgm:pt modelId="{8E6E80D6-6366-4C92-92F3-64C222E15966}" type="pres">
      <dgm:prSet presAssocID="{1A5CBBAA-5C32-4797-BDF4-90D76E6BE41A}" presName="childText" presStyleLbl="revTx" presStyleIdx="1" presStyleCnt="4">
        <dgm:presLayoutVars>
          <dgm:bulletEnabled val="1"/>
        </dgm:presLayoutVars>
      </dgm:prSet>
      <dgm:spPr/>
    </dgm:pt>
    <dgm:pt modelId="{3460D7B7-5749-4F63-9630-7BA718D59350}" type="pres">
      <dgm:prSet presAssocID="{F406BA23-5E25-42D8-AB1D-0AADC7469937}" presName="parentText" presStyleLbl="node1" presStyleIdx="2" presStyleCnt="4">
        <dgm:presLayoutVars>
          <dgm:chMax val="0"/>
          <dgm:bulletEnabled val="1"/>
        </dgm:presLayoutVars>
      </dgm:prSet>
      <dgm:spPr/>
    </dgm:pt>
    <dgm:pt modelId="{9FD71129-32E2-4679-8217-4997ED0A8B01}" type="pres">
      <dgm:prSet presAssocID="{F406BA23-5E25-42D8-AB1D-0AADC7469937}" presName="childText" presStyleLbl="revTx" presStyleIdx="2" presStyleCnt="4">
        <dgm:presLayoutVars>
          <dgm:bulletEnabled val="1"/>
        </dgm:presLayoutVars>
      </dgm:prSet>
      <dgm:spPr/>
    </dgm:pt>
    <dgm:pt modelId="{9BB7BBE9-6421-4A14-94FF-A1C5D4F22222}" type="pres">
      <dgm:prSet presAssocID="{940DA11F-5386-4F79-99E0-2C42587EF4B6}" presName="parentText" presStyleLbl="node1" presStyleIdx="3" presStyleCnt="4">
        <dgm:presLayoutVars>
          <dgm:chMax val="0"/>
          <dgm:bulletEnabled val="1"/>
        </dgm:presLayoutVars>
      </dgm:prSet>
      <dgm:spPr/>
    </dgm:pt>
    <dgm:pt modelId="{A7D2D948-6252-415F-8042-1663AC7E4DA7}" type="pres">
      <dgm:prSet presAssocID="{940DA11F-5386-4F79-99E0-2C42587EF4B6}" presName="childText" presStyleLbl="revTx" presStyleIdx="3" presStyleCnt="4">
        <dgm:presLayoutVars>
          <dgm:bulletEnabled val="1"/>
        </dgm:presLayoutVars>
      </dgm:prSet>
      <dgm:spPr/>
    </dgm:pt>
  </dgm:ptLst>
  <dgm:cxnLst>
    <dgm:cxn modelId="{6328B603-8E4C-4705-802E-6930A123F60D}" srcId="{1A5CBBAA-5C32-4797-BDF4-90D76E6BE41A}" destId="{7996CE62-7541-45B1-8765-C35F3D61EB2F}" srcOrd="1" destOrd="0" parTransId="{E34B918A-CC95-42CE-9E49-21BF7B0B7604}" sibTransId="{1D5BA7AE-FBB9-47E0-A49A-24E8D902E46B}"/>
    <dgm:cxn modelId="{CE496120-4346-4A86-A0D9-6F16E7E52600}" srcId="{940DA11F-5386-4F79-99E0-2C42587EF4B6}" destId="{CBE245DF-F55B-4DC7-84B4-A8CA7AE30ED1}" srcOrd="0" destOrd="0" parTransId="{B728D703-7E3E-4401-88CC-3CDCB99CCE8D}" sibTransId="{A53782BF-658E-4F40-AF17-4D055692D3FC}"/>
    <dgm:cxn modelId="{A0686321-6006-4065-A094-249CFC061E49}" srcId="{0FE908D4-9B28-4DB4-B6B1-0F02FA939652}" destId="{940DA11F-5386-4F79-99E0-2C42587EF4B6}" srcOrd="3" destOrd="0" parTransId="{3A7BE55C-6C28-4060-972B-735BBAF28C0B}" sibTransId="{F2F7ABC2-FA0E-44A2-AFFA-0AA1DF69A357}"/>
    <dgm:cxn modelId="{75A38421-EAF8-4795-A1ED-B6910926F977}" type="presOf" srcId="{9FF5A837-AA27-420E-919B-8E85B5C3053F}" destId="{C165FB1E-E29C-4F3E-AF34-47A1F505CA01}" srcOrd="0" destOrd="0" presId="urn:microsoft.com/office/officeart/2005/8/layout/vList2"/>
    <dgm:cxn modelId="{CAFD6423-6F39-4E10-8756-9038796E6EDD}" type="presOf" srcId="{F1275769-B0F0-49D5-AF3E-A384243CCB92}" destId="{8E6E80D6-6366-4C92-92F3-64C222E15966}" srcOrd="0" destOrd="0" presId="urn:microsoft.com/office/officeart/2005/8/layout/vList2"/>
    <dgm:cxn modelId="{8D55B726-2CC7-47E7-B324-AE32DE4924F6}" type="presOf" srcId="{0FE908D4-9B28-4DB4-B6B1-0F02FA939652}" destId="{FDF615C5-437F-4918-8B47-73D79A5A8A1F}" srcOrd="0" destOrd="0" presId="urn:microsoft.com/office/officeart/2005/8/layout/vList2"/>
    <dgm:cxn modelId="{8F699035-93A5-48D5-8F8B-B9A548DDF883}" type="presOf" srcId="{711D7132-2091-4F14-8928-84011222E561}" destId="{2FD6FDA3-5755-4DE2-8B90-3C47EE141844}" srcOrd="0" destOrd="0" presId="urn:microsoft.com/office/officeart/2005/8/layout/vList2"/>
    <dgm:cxn modelId="{62B74C39-6EE6-4276-83F8-10D4B63E8058}" srcId="{0FE908D4-9B28-4DB4-B6B1-0F02FA939652}" destId="{F406BA23-5E25-42D8-AB1D-0AADC7469937}" srcOrd="2" destOrd="0" parTransId="{1749B0ED-A533-45DA-8C89-B106E546CFF6}" sibTransId="{10D05447-84EE-4376-A39B-2DED5332883A}"/>
    <dgm:cxn modelId="{3D55FF3B-DE13-451F-A8E8-00892CF27C1A}" type="presOf" srcId="{CBE245DF-F55B-4DC7-84B4-A8CA7AE30ED1}" destId="{A7D2D948-6252-415F-8042-1663AC7E4DA7}" srcOrd="0" destOrd="0" presId="urn:microsoft.com/office/officeart/2005/8/layout/vList2"/>
    <dgm:cxn modelId="{02CEB764-D0E4-4D92-9194-6737DB6EDEEE}" type="presOf" srcId="{940DA11F-5386-4F79-99E0-2C42587EF4B6}" destId="{9BB7BBE9-6421-4A14-94FF-A1C5D4F22222}" srcOrd="0" destOrd="0" presId="urn:microsoft.com/office/officeart/2005/8/layout/vList2"/>
    <dgm:cxn modelId="{5EC55A6B-B4B1-45DC-959C-ED30E84EAB0C}" srcId="{711D7132-2091-4F14-8928-84011222E561}" destId="{9FF5A837-AA27-420E-919B-8E85B5C3053F}" srcOrd="0" destOrd="0" parTransId="{7715A696-3208-4866-BBDF-F7245F7FA4B0}" sibTransId="{9AB660DC-414A-4C74-85A8-641E42685197}"/>
    <dgm:cxn modelId="{D26D2054-64B5-441D-8392-0613E848262E}" type="presOf" srcId="{7996CE62-7541-45B1-8765-C35F3D61EB2F}" destId="{8E6E80D6-6366-4C92-92F3-64C222E15966}" srcOrd="0" destOrd="1" presId="urn:microsoft.com/office/officeart/2005/8/layout/vList2"/>
    <dgm:cxn modelId="{F4693B74-BF3A-4C21-978D-D6FD3EC8D57E}" srcId="{0FE908D4-9B28-4DB4-B6B1-0F02FA939652}" destId="{1A5CBBAA-5C32-4797-BDF4-90D76E6BE41A}" srcOrd="1" destOrd="0" parTransId="{A4B1C3D0-D310-4AA4-AAC5-498CE7A37E95}" sibTransId="{AD71F99C-1D4C-4662-A774-EA2C3AD16039}"/>
    <dgm:cxn modelId="{BFFF595A-9C89-4FFB-AC95-C5C7387E4FBE}" srcId="{F406BA23-5E25-42D8-AB1D-0AADC7469937}" destId="{E55AD522-AF3D-4160-81D9-8299077FBECA}" srcOrd="0" destOrd="0" parTransId="{1DF03B0F-7B22-44CE-9411-6F563BFE005F}" sibTransId="{2EFB1061-D09C-4DD3-A201-153F9AECCBAF}"/>
    <dgm:cxn modelId="{32497185-7953-49C3-9AAE-44442A854057}" srcId="{F406BA23-5E25-42D8-AB1D-0AADC7469937}" destId="{075D3678-F113-49DD-850C-C01B436BA700}" srcOrd="1" destOrd="0" parTransId="{A5CCE4DE-20EA-4AF0-8015-73BCF5B441EA}" sibTransId="{C443CD77-BE80-4040-8C06-967F2986240B}"/>
    <dgm:cxn modelId="{2558E188-3972-49D5-9396-6DE52B0ED581}" type="presOf" srcId="{F406BA23-5E25-42D8-AB1D-0AADC7469937}" destId="{3460D7B7-5749-4F63-9630-7BA718D59350}" srcOrd="0" destOrd="0" presId="urn:microsoft.com/office/officeart/2005/8/layout/vList2"/>
    <dgm:cxn modelId="{C34608B0-CC04-4C7F-9DA8-6FB9397DE0F6}" srcId="{1A5CBBAA-5C32-4797-BDF4-90D76E6BE41A}" destId="{F1275769-B0F0-49D5-AF3E-A384243CCB92}" srcOrd="0" destOrd="0" parTransId="{4990AD96-3384-42DB-AC55-DF16E0547A26}" sibTransId="{75117212-1B0E-42F6-A23F-DE9F60E0AB77}"/>
    <dgm:cxn modelId="{392286D7-6574-4098-9B45-85B6D18A8216}" type="presOf" srcId="{441C2353-A10E-4425-AC5C-97C916FF7DD3}" destId="{C165FB1E-E29C-4F3E-AF34-47A1F505CA01}" srcOrd="0" destOrd="1" presId="urn:microsoft.com/office/officeart/2005/8/layout/vList2"/>
    <dgm:cxn modelId="{17A3E7DF-16E2-4BCC-8A13-E1093E34FAE8}" type="presOf" srcId="{075D3678-F113-49DD-850C-C01B436BA700}" destId="{9FD71129-32E2-4679-8217-4997ED0A8B01}" srcOrd="0" destOrd="1" presId="urn:microsoft.com/office/officeart/2005/8/layout/vList2"/>
    <dgm:cxn modelId="{B8A449E1-BB40-4ACE-8046-49F2F04255E7}" type="presOf" srcId="{1A5CBBAA-5C32-4797-BDF4-90D76E6BE41A}" destId="{08989DC2-25A6-4E23-929B-1E36EABBF708}" srcOrd="0" destOrd="0" presId="urn:microsoft.com/office/officeart/2005/8/layout/vList2"/>
    <dgm:cxn modelId="{FF46BEFB-1BE8-41DF-A4C7-D6097FA93860}" type="presOf" srcId="{E55AD522-AF3D-4160-81D9-8299077FBECA}" destId="{9FD71129-32E2-4679-8217-4997ED0A8B01}" srcOrd="0" destOrd="0" presId="urn:microsoft.com/office/officeart/2005/8/layout/vList2"/>
    <dgm:cxn modelId="{26566FFD-4316-4C39-8A00-29D2A26D230E}" srcId="{711D7132-2091-4F14-8928-84011222E561}" destId="{441C2353-A10E-4425-AC5C-97C916FF7DD3}" srcOrd="1" destOrd="0" parTransId="{F709889D-7E30-4ECA-AF27-D26280468BEE}" sibTransId="{AAEA1200-A547-42B7-BA31-CB130D8E03DB}"/>
    <dgm:cxn modelId="{BB3C44FE-855D-45E2-A34A-BC4084A955E0}" srcId="{0FE908D4-9B28-4DB4-B6B1-0F02FA939652}" destId="{711D7132-2091-4F14-8928-84011222E561}" srcOrd="0" destOrd="0" parTransId="{DF310B9A-4D33-40FC-A3C8-E320DAF30D48}" sibTransId="{7888A0B3-03AE-411A-B19B-DB46B3087E49}"/>
    <dgm:cxn modelId="{CB76AD63-AB88-4403-9DF4-ADDBD5A08751}" type="presParOf" srcId="{FDF615C5-437F-4918-8B47-73D79A5A8A1F}" destId="{2FD6FDA3-5755-4DE2-8B90-3C47EE141844}" srcOrd="0" destOrd="0" presId="urn:microsoft.com/office/officeart/2005/8/layout/vList2"/>
    <dgm:cxn modelId="{0594C63A-58A8-4A2F-BF38-EC6ABBFB1B31}" type="presParOf" srcId="{FDF615C5-437F-4918-8B47-73D79A5A8A1F}" destId="{C165FB1E-E29C-4F3E-AF34-47A1F505CA01}" srcOrd="1" destOrd="0" presId="urn:microsoft.com/office/officeart/2005/8/layout/vList2"/>
    <dgm:cxn modelId="{471054CF-A15C-4999-AED6-E4BFF46A1BFE}" type="presParOf" srcId="{FDF615C5-437F-4918-8B47-73D79A5A8A1F}" destId="{08989DC2-25A6-4E23-929B-1E36EABBF708}" srcOrd="2" destOrd="0" presId="urn:microsoft.com/office/officeart/2005/8/layout/vList2"/>
    <dgm:cxn modelId="{9E222714-33E8-46B7-AAA9-E9E2CDC573D5}" type="presParOf" srcId="{FDF615C5-437F-4918-8B47-73D79A5A8A1F}" destId="{8E6E80D6-6366-4C92-92F3-64C222E15966}" srcOrd="3" destOrd="0" presId="urn:microsoft.com/office/officeart/2005/8/layout/vList2"/>
    <dgm:cxn modelId="{CFDD37FB-800B-417E-9C5C-2A8B5025410D}" type="presParOf" srcId="{FDF615C5-437F-4918-8B47-73D79A5A8A1F}" destId="{3460D7B7-5749-4F63-9630-7BA718D59350}" srcOrd="4" destOrd="0" presId="urn:microsoft.com/office/officeart/2005/8/layout/vList2"/>
    <dgm:cxn modelId="{0106147C-28E7-45AC-BBCE-97989F138943}" type="presParOf" srcId="{FDF615C5-437F-4918-8B47-73D79A5A8A1F}" destId="{9FD71129-32E2-4679-8217-4997ED0A8B01}" srcOrd="5" destOrd="0" presId="urn:microsoft.com/office/officeart/2005/8/layout/vList2"/>
    <dgm:cxn modelId="{3950FAD9-FBDE-426F-B63D-2ABC7BBB9AC5}" type="presParOf" srcId="{FDF615C5-437F-4918-8B47-73D79A5A8A1F}" destId="{9BB7BBE9-6421-4A14-94FF-A1C5D4F22222}" srcOrd="6" destOrd="0" presId="urn:microsoft.com/office/officeart/2005/8/layout/vList2"/>
    <dgm:cxn modelId="{5C15C029-A830-439C-B24E-276CF12808FA}" type="presParOf" srcId="{FDF615C5-437F-4918-8B47-73D79A5A8A1F}" destId="{A7D2D948-6252-415F-8042-1663AC7E4DA7}"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F14FA771-D668-45EB-B647-B00D0D56BFB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736C9FE5-66BF-41E6-99A6-A581B48C9793}">
      <dgm:prSet custT="1"/>
      <dgm:spPr/>
      <dgm:t>
        <a:bodyPr/>
        <a:lstStyle/>
        <a:p>
          <a:r>
            <a:rPr lang="en-GB" sz="3200" baseline="0" dirty="0"/>
            <a:t>Page compressed b-tree like a row store</a:t>
          </a:r>
          <a:endParaRPr lang="en-US" sz="3200" dirty="0"/>
        </a:p>
      </dgm:t>
    </dgm:pt>
    <dgm:pt modelId="{2844B4D7-6CDD-4B0F-8061-98FF1A7B29C4}" type="parTrans" cxnId="{441B9512-7C5A-4D95-8027-2B3C1BB92CF5}">
      <dgm:prSet/>
      <dgm:spPr/>
      <dgm:t>
        <a:bodyPr/>
        <a:lstStyle/>
        <a:p>
          <a:endParaRPr lang="en-US"/>
        </a:p>
      </dgm:t>
    </dgm:pt>
    <dgm:pt modelId="{ABBFDFC9-E49D-4556-97F2-5B605971AD7B}" type="sibTrans" cxnId="{441B9512-7C5A-4D95-8027-2B3C1BB92CF5}">
      <dgm:prSet/>
      <dgm:spPr/>
      <dgm:t>
        <a:bodyPr/>
        <a:lstStyle/>
        <a:p>
          <a:endParaRPr lang="en-US"/>
        </a:p>
      </dgm:t>
    </dgm:pt>
    <dgm:pt modelId="{47CAE50A-0719-4297-BA8A-3D1A524F61AC}">
      <dgm:prSet custT="1"/>
      <dgm:spPr/>
      <dgm:t>
        <a:bodyPr/>
        <a:lstStyle/>
        <a:p>
          <a:r>
            <a:rPr lang="en-GB" sz="2400" baseline="0" dirty="0">
              <a:latin typeface="+mn-lt"/>
            </a:rPr>
            <a:t>B-tree on unique integer row </a:t>
          </a:r>
          <a:r>
            <a:rPr lang="en-GB" sz="2400" u="sng" baseline="0" dirty="0">
              <a:latin typeface="+mn-lt"/>
            </a:rPr>
            <a:t>ID</a:t>
          </a:r>
          <a:endParaRPr lang="en-US" sz="2400" dirty="0">
            <a:latin typeface="+mn-lt"/>
          </a:endParaRPr>
        </a:p>
      </dgm:t>
    </dgm:pt>
    <dgm:pt modelId="{B164D468-360F-4CD7-9932-3055DAF1853E}" type="parTrans" cxnId="{9D568764-FC41-424A-8EDF-DBD3EBDC23C2}">
      <dgm:prSet/>
      <dgm:spPr/>
      <dgm:t>
        <a:bodyPr/>
        <a:lstStyle/>
        <a:p>
          <a:endParaRPr lang="en-US"/>
        </a:p>
      </dgm:t>
    </dgm:pt>
    <dgm:pt modelId="{6DBC6800-80E5-4B32-B555-7C32C9C65506}" type="sibTrans" cxnId="{9D568764-FC41-424A-8EDF-DBD3EBDC23C2}">
      <dgm:prSet/>
      <dgm:spPr/>
      <dgm:t>
        <a:bodyPr/>
        <a:lstStyle/>
        <a:p>
          <a:endParaRPr lang="en-US"/>
        </a:p>
      </dgm:t>
    </dgm:pt>
    <dgm:pt modelId="{D4EFA212-B897-4E90-A66D-56D4F8D40440}">
      <dgm:prSet custT="1"/>
      <dgm:spPr/>
      <dgm:t>
        <a:bodyPr/>
        <a:lstStyle/>
        <a:p>
          <a:r>
            <a:rPr lang="en-GB" sz="2400" baseline="0" dirty="0">
              <a:latin typeface="+mn-lt"/>
            </a:rPr>
            <a:t>Matches user columns defined in the CCI</a:t>
          </a:r>
          <a:endParaRPr lang="en-US" sz="2400" dirty="0">
            <a:latin typeface="+mn-lt"/>
          </a:endParaRPr>
        </a:p>
      </dgm:t>
    </dgm:pt>
    <dgm:pt modelId="{27D462BD-49EB-45B3-A8CF-C9A8960336FF}" type="parTrans" cxnId="{B06AFAC3-F677-4389-8AD6-5E8ECDD101FA}">
      <dgm:prSet/>
      <dgm:spPr/>
      <dgm:t>
        <a:bodyPr/>
        <a:lstStyle/>
        <a:p>
          <a:endParaRPr lang="en-US"/>
        </a:p>
      </dgm:t>
    </dgm:pt>
    <dgm:pt modelId="{F1418604-5A89-4884-B5E1-6E13AF687649}" type="sibTrans" cxnId="{B06AFAC3-F677-4389-8AD6-5E8ECDD101FA}">
      <dgm:prSet/>
      <dgm:spPr/>
      <dgm:t>
        <a:bodyPr/>
        <a:lstStyle/>
        <a:p>
          <a:endParaRPr lang="en-US"/>
        </a:p>
      </dgm:t>
    </dgm:pt>
    <dgm:pt modelId="{C8D313A1-79A1-4D42-B675-D1FA5066A226}">
      <dgm:prSet custT="1"/>
      <dgm:spPr/>
      <dgm:t>
        <a:bodyPr/>
        <a:lstStyle/>
        <a:p>
          <a:r>
            <a:rPr lang="en-GB" sz="2400" baseline="0" dirty="0">
              <a:latin typeface="+mn-lt"/>
            </a:rPr>
            <a:t>Aligned to underlying CCI partition</a:t>
          </a:r>
          <a:endParaRPr lang="en-US" sz="2400" dirty="0">
            <a:latin typeface="+mn-lt"/>
          </a:endParaRPr>
        </a:p>
      </dgm:t>
    </dgm:pt>
    <dgm:pt modelId="{87D6D349-4C36-47EC-A862-0A8E5E9F825F}" type="parTrans" cxnId="{262F9AD7-972B-4CB8-8990-1B62906265DC}">
      <dgm:prSet/>
      <dgm:spPr/>
      <dgm:t>
        <a:bodyPr/>
        <a:lstStyle/>
        <a:p>
          <a:endParaRPr lang="en-US"/>
        </a:p>
      </dgm:t>
    </dgm:pt>
    <dgm:pt modelId="{9817420E-7C7B-41F7-AE51-00D218198796}" type="sibTrans" cxnId="{262F9AD7-972B-4CB8-8990-1B62906265DC}">
      <dgm:prSet/>
      <dgm:spPr/>
      <dgm:t>
        <a:bodyPr/>
        <a:lstStyle/>
        <a:p>
          <a:endParaRPr lang="en-US"/>
        </a:p>
      </dgm:t>
    </dgm:pt>
    <dgm:pt modelId="{2EAEDDA9-0F7C-4C78-A292-5D7F3190D2BC}">
      <dgm:prSet custT="1"/>
      <dgm:spPr/>
      <dgm:t>
        <a:bodyPr/>
        <a:lstStyle/>
        <a:p>
          <a:r>
            <a:rPr lang="en-US" sz="2400" b="0" i="0">
              <a:effectLst/>
              <a:latin typeface="+mn-lt"/>
            </a:rPr>
            <a:t>Small bulk loads of less than 102,400 rows, go directly to the deltastore</a:t>
          </a:r>
          <a:r>
            <a:rPr lang="en-US" sz="2200" b="0" i="0">
              <a:effectLst/>
              <a:latin typeface="Segoe UI" panose="020B0502040204020203" pitchFamily="34" charset="0"/>
            </a:rPr>
            <a:t>.</a:t>
          </a:r>
          <a:endParaRPr lang="en-US" sz="2200" dirty="0"/>
        </a:p>
      </dgm:t>
    </dgm:pt>
    <dgm:pt modelId="{E98DB89A-6A5E-40AE-B185-593E7C40E83E}" type="parTrans" cxnId="{B9036440-D61F-486F-B975-1E98DD04259E}">
      <dgm:prSet/>
      <dgm:spPr/>
      <dgm:t>
        <a:bodyPr/>
        <a:lstStyle/>
        <a:p>
          <a:endParaRPr lang="en-US"/>
        </a:p>
      </dgm:t>
    </dgm:pt>
    <dgm:pt modelId="{C57943DC-A073-430D-8898-367DEA1F2CFA}" type="sibTrans" cxnId="{B9036440-D61F-486F-B975-1E98DD04259E}">
      <dgm:prSet/>
      <dgm:spPr/>
      <dgm:t>
        <a:bodyPr/>
        <a:lstStyle/>
        <a:p>
          <a:endParaRPr lang="en-US"/>
        </a:p>
      </dgm:t>
    </dgm:pt>
    <dgm:pt modelId="{AD997794-E033-4346-9CCA-C4ACE0B46A75}" type="pres">
      <dgm:prSet presAssocID="{F14FA771-D668-45EB-B647-B00D0D56BFB2}" presName="Name0" presStyleCnt="0">
        <dgm:presLayoutVars>
          <dgm:dir/>
          <dgm:animLvl val="lvl"/>
          <dgm:resizeHandles val="exact"/>
        </dgm:presLayoutVars>
      </dgm:prSet>
      <dgm:spPr/>
    </dgm:pt>
    <dgm:pt modelId="{CF7DB294-5D32-4ABD-B011-ABE2AD95A9CD}" type="pres">
      <dgm:prSet presAssocID="{736C9FE5-66BF-41E6-99A6-A581B48C9793}" presName="composite" presStyleCnt="0"/>
      <dgm:spPr/>
    </dgm:pt>
    <dgm:pt modelId="{AC9187F7-93B3-4438-B92F-8F99E3C0C00D}" type="pres">
      <dgm:prSet presAssocID="{736C9FE5-66BF-41E6-99A6-A581B48C9793}" presName="parTx" presStyleLbl="alignNode1" presStyleIdx="0" presStyleCnt="1">
        <dgm:presLayoutVars>
          <dgm:chMax val="0"/>
          <dgm:chPref val="0"/>
          <dgm:bulletEnabled val="1"/>
        </dgm:presLayoutVars>
      </dgm:prSet>
      <dgm:spPr/>
    </dgm:pt>
    <dgm:pt modelId="{79F9ED0E-0A96-41D0-9B75-D58F9B63BF67}" type="pres">
      <dgm:prSet presAssocID="{736C9FE5-66BF-41E6-99A6-A581B48C9793}" presName="desTx" presStyleLbl="alignAccFollowNode1" presStyleIdx="0" presStyleCnt="1">
        <dgm:presLayoutVars>
          <dgm:bulletEnabled val="1"/>
        </dgm:presLayoutVars>
      </dgm:prSet>
      <dgm:spPr/>
    </dgm:pt>
  </dgm:ptLst>
  <dgm:cxnLst>
    <dgm:cxn modelId="{441B9512-7C5A-4D95-8027-2B3C1BB92CF5}" srcId="{F14FA771-D668-45EB-B647-B00D0D56BFB2}" destId="{736C9FE5-66BF-41E6-99A6-A581B48C9793}" srcOrd="0" destOrd="0" parTransId="{2844B4D7-6CDD-4B0F-8061-98FF1A7B29C4}" sibTransId="{ABBFDFC9-E49D-4556-97F2-5B605971AD7B}"/>
    <dgm:cxn modelId="{87C23B40-F32B-48D1-AE3C-B424FF43AF5D}" type="presOf" srcId="{F14FA771-D668-45EB-B647-B00D0D56BFB2}" destId="{AD997794-E033-4346-9CCA-C4ACE0B46A75}" srcOrd="0" destOrd="0" presId="urn:microsoft.com/office/officeart/2005/8/layout/hList1"/>
    <dgm:cxn modelId="{B9036440-D61F-486F-B975-1E98DD04259E}" srcId="{736C9FE5-66BF-41E6-99A6-A581B48C9793}" destId="{2EAEDDA9-0F7C-4C78-A292-5D7F3190D2BC}" srcOrd="3" destOrd="0" parTransId="{E98DB89A-6A5E-40AE-B185-593E7C40E83E}" sibTransId="{C57943DC-A073-430D-8898-367DEA1F2CFA}"/>
    <dgm:cxn modelId="{9D568764-FC41-424A-8EDF-DBD3EBDC23C2}" srcId="{736C9FE5-66BF-41E6-99A6-A581B48C9793}" destId="{47CAE50A-0719-4297-BA8A-3D1A524F61AC}" srcOrd="0" destOrd="0" parTransId="{B164D468-360F-4CD7-9932-3055DAF1853E}" sibTransId="{6DBC6800-80E5-4B32-B555-7C32C9C65506}"/>
    <dgm:cxn modelId="{60F30392-B20E-4CE4-8BE4-9B59DB1767EB}" type="presOf" srcId="{D4EFA212-B897-4E90-A66D-56D4F8D40440}" destId="{79F9ED0E-0A96-41D0-9B75-D58F9B63BF67}" srcOrd="0" destOrd="1" presId="urn:microsoft.com/office/officeart/2005/8/layout/hList1"/>
    <dgm:cxn modelId="{B06AFAC3-F677-4389-8AD6-5E8ECDD101FA}" srcId="{736C9FE5-66BF-41E6-99A6-A581B48C9793}" destId="{D4EFA212-B897-4E90-A66D-56D4F8D40440}" srcOrd="1" destOrd="0" parTransId="{27D462BD-49EB-45B3-A8CF-C9A8960336FF}" sibTransId="{F1418604-5A89-4884-B5E1-6E13AF687649}"/>
    <dgm:cxn modelId="{069E45C4-75BC-4E3F-A30B-6F5A1E1575EC}" type="presOf" srcId="{C8D313A1-79A1-4D42-B675-D1FA5066A226}" destId="{79F9ED0E-0A96-41D0-9B75-D58F9B63BF67}" srcOrd="0" destOrd="2" presId="urn:microsoft.com/office/officeart/2005/8/layout/hList1"/>
    <dgm:cxn modelId="{262F9AD7-972B-4CB8-8990-1B62906265DC}" srcId="{736C9FE5-66BF-41E6-99A6-A581B48C9793}" destId="{C8D313A1-79A1-4D42-B675-D1FA5066A226}" srcOrd="2" destOrd="0" parTransId="{87D6D349-4C36-47EC-A862-0A8E5E9F825F}" sibTransId="{9817420E-7C7B-41F7-AE51-00D218198796}"/>
    <dgm:cxn modelId="{C7B660E0-35DC-417B-82E2-E241B7337673}" type="presOf" srcId="{47CAE50A-0719-4297-BA8A-3D1A524F61AC}" destId="{79F9ED0E-0A96-41D0-9B75-D58F9B63BF67}" srcOrd="0" destOrd="0" presId="urn:microsoft.com/office/officeart/2005/8/layout/hList1"/>
    <dgm:cxn modelId="{7471E2ED-64E8-45D0-B222-EDAE66294ADC}" type="presOf" srcId="{736C9FE5-66BF-41E6-99A6-A581B48C9793}" destId="{AC9187F7-93B3-4438-B92F-8F99E3C0C00D}" srcOrd="0" destOrd="0" presId="urn:microsoft.com/office/officeart/2005/8/layout/hList1"/>
    <dgm:cxn modelId="{3E65D4F1-C0C0-447E-BA42-25E7705BEFC1}" type="presOf" srcId="{2EAEDDA9-0F7C-4C78-A292-5D7F3190D2BC}" destId="{79F9ED0E-0A96-41D0-9B75-D58F9B63BF67}" srcOrd="0" destOrd="3" presId="urn:microsoft.com/office/officeart/2005/8/layout/hList1"/>
    <dgm:cxn modelId="{FE2B4ABD-9EBB-4701-A143-ACEC7EF0A23E}" type="presParOf" srcId="{AD997794-E033-4346-9CCA-C4ACE0B46A75}" destId="{CF7DB294-5D32-4ABD-B011-ABE2AD95A9CD}" srcOrd="0" destOrd="0" presId="urn:microsoft.com/office/officeart/2005/8/layout/hList1"/>
    <dgm:cxn modelId="{700FB6E9-C4C3-4710-BF96-456B48E6C2DD}" type="presParOf" srcId="{CF7DB294-5D32-4ABD-B011-ABE2AD95A9CD}" destId="{AC9187F7-93B3-4438-B92F-8F99E3C0C00D}" srcOrd="0" destOrd="0" presId="urn:microsoft.com/office/officeart/2005/8/layout/hList1"/>
    <dgm:cxn modelId="{656796B6-5676-42EA-9FFD-308B05110046}" type="presParOf" srcId="{CF7DB294-5D32-4ABD-B011-ABE2AD95A9CD}" destId="{79F9ED0E-0A96-41D0-9B75-D58F9B63BF6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6B57EB41-30BB-40FC-9036-5677CE8BE967}"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E5C2E077-0A75-4370-8D53-3D5D6642EC4B}">
      <dgm:prSet/>
      <dgm:spPr/>
      <dgm:t>
        <a:bodyPr/>
        <a:lstStyle/>
        <a:p>
          <a:r>
            <a:rPr lang="en-GB" b="1" baseline="0"/>
            <a:t>Inserts </a:t>
          </a:r>
          <a:endParaRPr lang="en-US"/>
        </a:p>
      </dgm:t>
    </dgm:pt>
    <dgm:pt modelId="{68CA8858-C2F8-4EB9-BAE5-6F21517362DB}" type="parTrans" cxnId="{884C493E-FCDD-410E-9CE0-BEAFA81D688C}">
      <dgm:prSet/>
      <dgm:spPr/>
      <dgm:t>
        <a:bodyPr/>
        <a:lstStyle/>
        <a:p>
          <a:endParaRPr lang="en-US"/>
        </a:p>
      </dgm:t>
    </dgm:pt>
    <dgm:pt modelId="{C849F078-4B74-49DC-A6F6-17C44E4970C3}" type="sibTrans" cxnId="{884C493E-FCDD-410E-9CE0-BEAFA81D688C}">
      <dgm:prSet/>
      <dgm:spPr/>
      <dgm:t>
        <a:bodyPr/>
        <a:lstStyle/>
        <a:p>
          <a:endParaRPr lang="en-US"/>
        </a:p>
      </dgm:t>
    </dgm:pt>
    <dgm:pt modelId="{1369F763-0AD6-4948-AAAE-BFA9FFB47EB5}">
      <dgm:prSet/>
      <dgm:spPr/>
      <dgm:t>
        <a:bodyPr/>
        <a:lstStyle/>
        <a:p>
          <a:r>
            <a:rPr lang="en-GB" baseline="0"/>
            <a:t>Below threshold? Write to the delta store</a:t>
          </a:r>
          <a:endParaRPr lang="en-US"/>
        </a:p>
      </dgm:t>
    </dgm:pt>
    <dgm:pt modelId="{0E556A8C-60FF-457B-9AF7-1E5A27FDC51D}" type="parTrans" cxnId="{2F585978-607C-4012-81D6-F93BA60E1780}">
      <dgm:prSet/>
      <dgm:spPr/>
      <dgm:t>
        <a:bodyPr/>
        <a:lstStyle/>
        <a:p>
          <a:endParaRPr lang="en-US"/>
        </a:p>
      </dgm:t>
    </dgm:pt>
    <dgm:pt modelId="{51AF24F7-DCB5-4781-9E4A-C06378CFAB5C}" type="sibTrans" cxnId="{2F585978-607C-4012-81D6-F93BA60E1780}">
      <dgm:prSet/>
      <dgm:spPr/>
      <dgm:t>
        <a:bodyPr/>
        <a:lstStyle/>
        <a:p>
          <a:endParaRPr lang="en-US"/>
        </a:p>
      </dgm:t>
    </dgm:pt>
    <dgm:pt modelId="{F6474AC8-ECB1-4BD3-B023-582A0C1EC0EE}">
      <dgm:prSet/>
      <dgm:spPr/>
      <dgm:t>
        <a:bodyPr/>
        <a:lstStyle/>
        <a:p>
          <a:r>
            <a:rPr lang="en-GB" baseline="0"/>
            <a:t>Above threshold? Write as column store</a:t>
          </a:r>
          <a:endParaRPr lang="en-US"/>
        </a:p>
      </dgm:t>
    </dgm:pt>
    <dgm:pt modelId="{67A32264-A1AA-4E37-A888-24C75E71117B}" type="parTrans" cxnId="{3D5B100E-27A5-42BF-AB86-0FA4F0DD59A9}">
      <dgm:prSet/>
      <dgm:spPr/>
      <dgm:t>
        <a:bodyPr/>
        <a:lstStyle/>
        <a:p>
          <a:endParaRPr lang="en-US"/>
        </a:p>
      </dgm:t>
    </dgm:pt>
    <dgm:pt modelId="{AB0607A8-9A1C-4B98-A48A-8BF443AAE1B7}" type="sibTrans" cxnId="{3D5B100E-27A5-42BF-AB86-0FA4F0DD59A9}">
      <dgm:prSet/>
      <dgm:spPr/>
      <dgm:t>
        <a:bodyPr/>
        <a:lstStyle/>
        <a:p>
          <a:endParaRPr lang="en-US"/>
        </a:p>
      </dgm:t>
    </dgm:pt>
    <dgm:pt modelId="{7B08745A-2EC4-4DD0-9D1C-B312D787E7A1}">
      <dgm:prSet/>
      <dgm:spPr/>
      <dgm:t>
        <a:bodyPr/>
        <a:lstStyle/>
        <a:p>
          <a:r>
            <a:rPr lang="en-GB" b="1" baseline="0"/>
            <a:t>Deletes </a:t>
          </a:r>
          <a:endParaRPr lang="en-US"/>
        </a:p>
      </dgm:t>
    </dgm:pt>
    <dgm:pt modelId="{52821080-A70C-4913-AC50-0B0DB3B613B3}" type="parTrans" cxnId="{BA2F37E4-F21A-4CA5-BC48-CA412FED7929}">
      <dgm:prSet/>
      <dgm:spPr/>
      <dgm:t>
        <a:bodyPr/>
        <a:lstStyle/>
        <a:p>
          <a:endParaRPr lang="en-US"/>
        </a:p>
      </dgm:t>
    </dgm:pt>
    <dgm:pt modelId="{E3332CED-8B3F-4F99-8599-AEC508773488}" type="sibTrans" cxnId="{BA2F37E4-F21A-4CA5-BC48-CA412FED7929}">
      <dgm:prSet/>
      <dgm:spPr/>
      <dgm:t>
        <a:bodyPr/>
        <a:lstStyle/>
        <a:p>
          <a:endParaRPr lang="en-US"/>
        </a:p>
      </dgm:t>
    </dgm:pt>
    <dgm:pt modelId="{E2F57DFD-AB4A-4537-B957-72256B9EB575}">
      <dgm:prSet/>
      <dgm:spPr/>
      <dgm:t>
        <a:bodyPr/>
        <a:lstStyle/>
        <a:p>
          <a:r>
            <a:rPr lang="en-GB" baseline="0" dirty="0"/>
            <a:t>Logical against rows in column store</a:t>
          </a:r>
          <a:endParaRPr lang="en-US" dirty="0"/>
        </a:p>
      </dgm:t>
    </dgm:pt>
    <dgm:pt modelId="{86275A32-3529-42E4-8AC6-C8B11E2726E0}" type="parTrans" cxnId="{616B9E8D-0920-49DD-9F3A-D0A318FE04D2}">
      <dgm:prSet/>
      <dgm:spPr/>
      <dgm:t>
        <a:bodyPr/>
        <a:lstStyle/>
        <a:p>
          <a:endParaRPr lang="en-US"/>
        </a:p>
      </dgm:t>
    </dgm:pt>
    <dgm:pt modelId="{21F4086E-9825-4413-BA48-2E743CE2157F}" type="sibTrans" cxnId="{616B9E8D-0920-49DD-9F3A-D0A318FE04D2}">
      <dgm:prSet/>
      <dgm:spPr/>
      <dgm:t>
        <a:bodyPr/>
        <a:lstStyle/>
        <a:p>
          <a:endParaRPr lang="en-US"/>
        </a:p>
      </dgm:t>
    </dgm:pt>
    <dgm:pt modelId="{B77094AB-3EC0-451A-904F-1ED8130E3F44}">
      <dgm:prSet/>
      <dgm:spPr/>
      <dgm:t>
        <a:bodyPr/>
        <a:lstStyle/>
        <a:p>
          <a:r>
            <a:rPr lang="en-GB" baseline="0"/>
            <a:t>Physically against rows in the delta store</a:t>
          </a:r>
          <a:endParaRPr lang="en-US"/>
        </a:p>
      </dgm:t>
    </dgm:pt>
    <dgm:pt modelId="{9D4817CC-F85C-411C-A1CD-0C86DD938F97}" type="parTrans" cxnId="{ABAC5832-E6F7-4C14-9A92-58FD83FA59E0}">
      <dgm:prSet/>
      <dgm:spPr/>
      <dgm:t>
        <a:bodyPr/>
        <a:lstStyle/>
        <a:p>
          <a:endParaRPr lang="en-US"/>
        </a:p>
      </dgm:t>
    </dgm:pt>
    <dgm:pt modelId="{C0D38D33-F7C2-4B72-8A70-F227DD7D2573}" type="sibTrans" cxnId="{ABAC5832-E6F7-4C14-9A92-58FD83FA59E0}">
      <dgm:prSet/>
      <dgm:spPr/>
      <dgm:t>
        <a:bodyPr/>
        <a:lstStyle/>
        <a:p>
          <a:endParaRPr lang="en-US"/>
        </a:p>
      </dgm:t>
    </dgm:pt>
    <dgm:pt modelId="{3E161B9D-08AB-46D0-BDAD-3CCD5227E713}">
      <dgm:prSet/>
      <dgm:spPr/>
      <dgm:t>
        <a:bodyPr/>
        <a:lstStyle/>
        <a:p>
          <a:r>
            <a:rPr lang="en-GB" b="1" baseline="0"/>
            <a:t>Updates </a:t>
          </a:r>
          <a:endParaRPr lang="en-US"/>
        </a:p>
      </dgm:t>
    </dgm:pt>
    <dgm:pt modelId="{29B207C5-0AE0-4E5B-BF19-59030841B52A}" type="parTrans" cxnId="{4A986C7C-59BB-4783-B1AD-CC4BCD94BA76}">
      <dgm:prSet/>
      <dgm:spPr/>
      <dgm:t>
        <a:bodyPr/>
        <a:lstStyle/>
        <a:p>
          <a:endParaRPr lang="en-US"/>
        </a:p>
      </dgm:t>
    </dgm:pt>
    <dgm:pt modelId="{67415377-0DF6-4F46-BD92-51C136A888BE}" type="sibTrans" cxnId="{4A986C7C-59BB-4783-B1AD-CC4BCD94BA76}">
      <dgm:prSet/>
      <dgm:spPr/>
      <dgm:t>
        <a:bodyPr/>
        <a:lstStyle/>
        <a:p>
          <a:endParaRPr lang="en-US"/>
        </a:p>
      </dgm:t>
    </dgm:pt>
    <dgm:pt modelId="{B0F8BA93-375A-4D97-954A-0852C9019A53}">
      <dgm:prSet/>
      <dgm:spPr/>
      <dgm:t>
        <a:bodyPr/>
        <a:lstStyle/>
        <a:p>
          <a:r>
            <a:rPr lang="en-GB" baseline="0"/>
            <a:t>Converted to a logical delete and an insert</a:t>
          </a:r>
          <a:endParaRPr lang="en-US"/>
        </a:p>
      </dgm:t>
    </dgm:pt>
    <dgm:pt modelId="{D021B7E4-44AC-498A-9FD1-1D3B3BB4E852}" type="parTrans" cxnId="{CACC3034-C98D-4F67-9D10-828A1437FECE}">
      <dgm:prSet/>
      <dgm:spPr/>
      <dgm:t>
        <a:bodyPr/>
        <a:lstStyle/>
        <a:p>
          <a:endParaRPr lang="en-US"/>
        </a:p>
      </dgm:t>
    </dgm:pt>
    <dgm:pt modelId="{8AD6EBD8-9FD5-4734-B4A9-633048D8D31F}" type="sibTrans" cxnId="{CACC3034-C98D-4F67-9D10-828A1437FECE}">
      <dgm:prSet/>
      <dgm:spPr/>
      <dgm:t>
        <a:bodyPr/>
        <a:lstStyle/>
        <a:p>
          <a:endParaRPr lang="en-US"/>
        </a:p>
      </dgm:t>
    </dgm:pt>
    <dgm:pt modelId="{23B666D0-F1EC-4728-AD89-52752958ED12}" type="pres">
      <dgm:prSet presAssocID="{6B57EB41-30BB-40FC-9036-5677CE8BE967}" presName="Name0" presStyleCnt="0">
        <dgm:presLayoutVars>
          <dgm:dir/>
          <dgm:animLvl val="lvl"/>
          <dgm:resizeHandles val="exact"/>
        </dgm:presLayoutVars>
      </dgm:prSet>
      <dgm:spPr/>
    </dgm:pt>
    <dgm:pt modelId="{AC23F5A0-DEA8-4C83-B105-69A3E4C064E8}" type="pres">
      <dgm:prSet presAssocID="{E5C2E077-0A75-4370-8D53-3D5D6642EC4B}" presName="composite" presStyleCnt="0"/>
      <dgm:spPr/>
    </dgm:pt>
    <dgm:pt modelId="{AF9ABD53-D5A5-469E-946D-2DF6ABF2FFE4}" type="pres">
      <dgm:prSet presAssocID="{E5C2E077-0A75-4370-8D53-3D5D6642EC4B}" presName="parTx" presStyleLbl="alignNode1" presStyleIdx="0" presStyleCnt="3">
        <dgm:presLayoutVars>
          <dgm:chMax val="0"/>
          <dgm:chPref val="0"/>
          <dgm:bulletEnabled val="1"/>
        </dgm:presLayoutVars>
      </dgm:prSet>
      <dgm:spPr/>
    </dgm:pt>
    <dgm:pt modelId="{4FA8E37E-75B3-43B7-928B-C246BBB7C060}" type="pres">
      <dgm:prSet presAssocID="{E5C2E077-0A75-4370-8D53-3D5D6642EC4B}" presName="desTx" presStyleLbl="alignAccFollowNode1" presStyleIdx="0" presStyleCnt="3">
        <dgm:presLayoutVars>
          <dgm:bulletEnabled val="1"/>
        </dgm:presLayoutVars>
      </dgm:prSet>
      <dgm:spPr/>
    </dgm:pt>
    <dgm:pt modelId="{C3BCAAD0-FD55-4A6B-AC4D-976F208F79C4}" type="pres">
      <dgm:prSet presAssocID="{C849F078-4B74-49DC-A6F6-17C44E4970C3}" presName="space" presStyleCnt="0"/>
      <dgm:spPr/>
    </dgm:pt>
    <dgm:pt modelId="{E8F18989-C07C-44CF-B839-3FD735C1E7A3}" type="pres">
      <dgm:prSet presAssocID="{7B08745A-2EC4-4DD0-9D1C-B312D787E7A1}" presName="composite" presStyleCnt="0"/>
      <dgm:spPr/>
    </dgm:pt>
    <dgm:pt modelId="{31C04FC9-C4A6-40C8-8DAA-5CAEBD0A150E}" type="pres">
      <dgm:prSet presAssocID="{7B08745A-2EC4-4DD0-9D1C-B312D787E7A1}" presName="parTx" presStyleLbl="alignNode1" presStyleIdx="1" presStyleCnt="3">
        <dgm:presLayoutVars>
          <dgm:chMax val="0"/>
          <dgm:chPref val="0"/>
          <dgm:bulletEnabled val="1"/>
        </dgm:presLayoutVars>
      </dgm:prSet>
      <dgm:spPr/>
    </dgm:pt>
    <dgm:pt modelId="{31FE9366-274B-4225-8F79-94CA9D7B36ED}" type="pres">
      <dgm:prSet presAssocID="{7B08745A-2EC4-4DD0-9D1C-B312D787E7A1}" presName="desTx" presStyleLbl="alignAccFollowNode1" presStyleIdx="1" presStyleCnt="3">
        <dgm:presLayoutVars>
          <dgm:bulletEnabled val="1"/>
        </dgm:presLayoutVars>
      </dgm:prSet>
      <dgm:spPr/>
    </dgm:pt>
    <dgm:pt modelId="{C1E8779F-3235-49C3-9835-F8D4CA1D3D7B}" type="pres">
      <dgm:prSet presAssocID="{E3332CED-8B3F-4F99-8599-AEC508773488}" presName="space" presStyleCnt="0"/>
      <dgm:spPr/>
    </dgm:pt>
    <dgm:pt modelId="{9ED50E5B-805E-4C18-9C1B-1824A419A32B}" type="pres">
      <dgm:prSet presAssocID="{3E161B9D-08AB-46D0-BDAD-3CCD5227E713}" presName="composite" presStyleCnt="0"/>
      <dgm:spPr/>
    </dgm:pt>
    <dgm:pt modelId="{7B53B16F-603E-4B06-A14D-459B302873AF}" type="pres">
      <dgm:prSet presAssocID="{3E161B9D-08AB-46D0-BDAD-3CCD5227E713}" presName="parTx" presStyleLbl="alignNode1" presStyleIdx="2" presStyleCnt="3">
        <dgm:presLayoutVars>
          <dgm:chMax val="0"/>
          <dgm:chPref val="0"/>
          <dgm:bulletEnabled val="1"/>
        </dgm:presLayoutVars>
      </dgm:prSet>
      <dgm:spPr/>
    </dgm:pt>
    <dgm:pt modelId="{F316BB9E-9076-4887-A96D-45E4336E2C07}" type="pres">
      <dgm:prSet presAssocID="{3E161B9D-08AB-46D0-BDAD-3CCD5227E713}" presName="desTx" presStyleLbl="alignAccFollowNode1" presStyleIdx="2" presStyleCnt="3">
        <dgm:presLayoutVars>
          <dgm:bulletEnabled val="1"/>
        </dgm:presLayoutVars>
      </dgm:prSet>
      <dgm:spPr/>
    </dgm:pt>
  </dgm:ptLst>
  <dgm:cxnLst>
    <dgm:cxn modelId="{2FBCE105-AB9D-4F17-A63E-10CB27A8E8F6}" type="presOf" srcId="{1369F763-0AD6-4948-AAAE-BFA9FFB47EB5}" destId="{4FA8E37E-75B3-43B7-928B-C246BBB7C060}" srcOrd="0" destOrd="0" presId="urn:microsoft.com/office/officeart/2005/8/layout/hList1"/>
    <dgm:cxn modelId="{8EE3120C-2CAE-49E2-9EB3-708F9D73AFF5}" type="presOf" srcId="{E5C2E077-0A75-4370-8D53-3D5D6642EC4B}" destId="{AF9ABD53-D5A5-469E-946D-2DF6ABF2FFE4}" srcOrd="0" destOrd="0" presId="urn:microsoft.com/office/officeart/2005/8/layout/hList1"/>
    <dgm:cxn modelId="{3D5B100E-27A5-42BF-AB86-0FA4F0DD59A9}" srcId="{E5C2E077-0A75-4370-8D53-3D5D6642EC4B}" destId="{F6474AC8-ECB1-4BD3-B023-582A0C1EC0EE}" srcOrd="1" destOrd="0" parTransId="{67A32264-A1AA-4E37-A888-24C75E71117B}" sibTransId="{AB0607A8-9A1C-4B98-A48A-8BF443AAE1B7}"/>
    <dgm:cxn modelId="{45F50F18-102A-4227-B4AA-2CCC41A20373}" type="presOf" srcId="{3E161B9D-08AB-46D0-BDAD-3CCD5227E713}" destId="{7B53B16F-603E-4B06-A14D-459B302873AF}" srcOrd="0" destOrd="0" presId="urn:microsoft.com/office/officeart/2005/8/layout/hList1"/>
    <dgm:cxn modelId="{ABAC5832-E6F7-4C14-9A92-58FD83FA59E0}" srcId="{7B08745A-2EC4-4DD0-9D1C-B312D787E7A1}" destId="{B77094AB-3EC0-451A-904F-1ED8130E3F44}" srcOrd="1" destOrd="0" parTransId="{9D4817CC-F85C-411C-A1CD-0C86DD938F97}" sibTransId="{C0D38D33-F7C2-4B72-8A70-F227DD7D2573}"/>
    <dgm:cxn modelId="{CACC3034-C98D-4F67-9D10-828A1437FECE}" srcId="{3E161B9D-08AB-46D0-BDAD-3CCD5227E713}" destId="{B0F8BA93-375A-4D97-954A-0852C9019A53}" srcOrd="0" destOrd="0" parTransId="{D021B7E4-44AC-498A-9FD1-1D3B3BB4E852}" sibTransId="{8AD6EBD8-9FD5-4734-B4A9-633048D8D31F}"/>
    <dgm:cxn modelId="{4C3F1538-E151-4471-9058-3B2639C3060B}" type="presOf" srcId="{F6474AC8-ECB1-4BD3-B023-582A0C1EC0EE}" destId="{4FA8E37E-75B3-43B7-928B-C246BBB7C060}" srcOrd="0" destOrd="1" presId="urn:microsoft.com/office/officeart/2005/8/layout/hList1"/>
    <dgm:cxn modelId="{884C493E-FCDD-410E-9CE0-BEAFA81D688C}" srcId="{6B57EB41-30BB-40FC-9036-5677CE8BE967}" destId="{E5C2E077-0A75-4370-8D53-3D5D6642EC4B}" srcOrd="0" destOrd="0" parTransId="{68CA8858-C2F8-4EB9-BAE5-6F21517362DB}" sibTransId="{C849F078-4B74-49DC-A6F6-17C44E4970C3}"/>
    <dgm:cxn modelId="{58B7BB66-E087-4C6D-B74B-6D4B51142B2D}" type="presOf" srcId="{B0F8BA93-375A-4D97-954A-0852C9019A53}" destId="{F316BB9E-9076-4887-A96D-45E4336E2C07}" srcOrd="0" destOrd="0" presId="urn:microsoft.com/office/officeart/2005/8/layout/hList1"/>
    <dgm:cxn modelId="{2F585978-607C-4012-81D6-F93BA60E1780}" srcId="{E5C2E077-0A75-4370-8D53-3D5D6642EC4B}" destId="{1369F763-0AD6-4948-AAAE-BFA9FFB47EB5}" srcOrd="0" destOrd="0" parTransId="{0E556A8C-60FF-457B-9AF7-1E5A27FDC51D}" sibTransId="{51AF24F7-DCB5-4781-9E4A-C06378CFAB5C}"/>
    <dgm:cxn modelId="{4A986C7C-59BB-4783-B1AD-CC4BCD94BA76}" srcId="{6B57EB41-30BB-40FC-9036-5677CE8BE967}" destId="{3E161B9D-08AB-46D0-BDAD-3CCD5227E713}" srcOrd="2" destOrd="0" parTransId="{29B207C5-0AE0-4E5B-BF19-59030841B52A}" sibTransId="{67415377-0DF6-4F46-BD92-51C136A888BE}"/>
    <dgm:cxn modelId="{16D2927F-4501-45DD-88F6-C306E38F66B3}" type="presOf" srcId="{7B08745A-2EC4-4DD0-9D1C-B312D787E7A1}" destId="{31C04FC9-C4A6-40C8-8DAA-5CAEBD0A150E}" srcOrd="0" destOrd="0" presId="urn:microsoft.com/office/officeart/2005/8/layout/hList1"/>
    <dgm:cxn modelId="{616B9E8D-0920-49DD-9F3A-D0A318FE04D2}" srcId="{7B08745A-2EC4-4DD0-9D1C-B312D787E7A1}" destId="{E2F57DFD-AB4A-4537-B957-72256B9EB575}" srcOrd="0" destOrd="0" parTransId="{86275A32-3529-42E4-8AC6-C8B11E2726E0}" sibTransId="{21F4086E-9825-4413-BA48-2E743CE2157F}"/>
    <dgm:cxn modelId="{88CE568E-5549-4153-A375-3A9007CE0EA6}" type="presOf" srcId="{B77094AB-3EC0-451A-904F-1ED8130E3F44}" destId="{31FE9366-274B-4225-8F79-94CA9D7B36ED}" srcOrd="0" destOrd="1" presId="urn:microsoft.com/office/officeart/2005/8/layout/hList1"/>
    <dgm:cxn modelId="{17043FA5-637E-4DF6-9AF8-4F155D48F7EF}" type="presOf" srcId="{E2F57DFD-AB4A-4537-B957-72256B9EB575}" destId="{31FE9366-274B-4225-8F79-94CA9D7B36ED}" srcOrd="0" destOrd="0" presId="urn:microsoft.com/office/officeart/2005/8/layout/hList1"/>
    <dgm:cxn modelId="{DD1752C1-959D-42D4-8C1C-955158B8EFFE}" type="presOf" srcId="{6B57EB41-30BB-40FC-9036-5677CE8BE967}" destId="{23B666D0-F1EC-4728-AD89-52752958ED12}" srcOrd="0" destOrd="0" presId="urn:microsoft.com/office/officeart/2005/8/layout/hList1"/>
    <dgm:cxn modelId="{BA2F37E4-F21A-4CA5-BC48-CA412FED7929}" srcId="{6B57EB41-30BB-40FC-9036-5677CE8BE967}" destId="{7B08745A-2EC4-4DD0-9D1C-B312D787E7A1}" srcOrd="1" destOrd="0" parTransId="{52821080-A70C-4913-AC50-0B0DB3B613B3}" sibTransId="{E3332CED-8B3F-4F99-8599-AEC508773488}"/>
    <dgm:cxn modelId="{95F66E32-67AC-4499-9347-4F54BB8CDC73}" type="presParOf" srcId="{23B666D0-F1EC-4728-AD89-52752958ED12}" destId="{AC23F5A0-DEA8-4C83-B105-69A3E4C064E8}" srcOrd="0" destOrd="0" presId="urn:microsoft.com/office/officeart/2005/8/layout/hList1"/>
    <dgm:cxn modelId="{9E9173DF-76C5-4F42-BC2A-C41C8984E67D}" type="presParOf" srcId="{AC23F5A0-DEA8-4C83-B105-69A3E4C064E8}" destId="{AF9ABD53-D5A5-469E-946D-2DF6ABF2FFE4}" srcOrd="0" destOrd="0" presId="urn:microsoft.com/office/officeart/2005/8/layout/hList1"/>
    <dgm:cxn modelId="{B3663D29-14FA-4A18-82F6-32A85BC52BD4}" type="presParOf" srcId="{AC23F5A0-DEA8-4C83-B105-69A3E4C064E8}" destId="{4FA8E37E-75B3-43B7-928B-C246BBB7C060}" srcOrd="1" destOrd="0" presId="urn:microsoft.com/office/officeart/2005/8/layout/hList1"/>
    <dgm:cxn modelId="{D0FA6C75-DD39-4EE4-8E5D-E97B59505BE7}" type="presParOf" srcId="{23B666D0-F1EC-4728-AD89-52752958ED12}" destId="{C3BCAAD0-FD55-4A6B-AC4D-976F208F79C4}" srcOrd="1" destOrd="0" presId="urn:microsoft.com/office/officeart/2005/8/layout/hList1"/>
    <dgm:cxn modelId="{144107E9-9990-4A6F-83E2-BE244112AA81}" type="presParOf" srcId="{23B666D0-F1EC-4728-AD89-52752958ED12}" destId="{E8F18989-C07C-44CF-B839-3FD735C1E7A3}" srcOrd="2" destOrd="0" presId="urn:microsoft.com/office/officeart/2005/8/layout/hList1"/>
    <dgm:cxn modelId="{F29CC2F0-35ED-47A6-BE63-94C29B780453}" type="presParOf" srcId="{E8F18989-C07C-44CF-B839-3FD735C1E7A3}" destId="{31C04FC9-C4A6-40C8-8DAA-5CAEBD0A150E}" srcOrd="0" destOrd="0" presId="urn:microsoft.com/office/officeart/2005/8/layout/hList1"/>
    <dgm:cxn modelId="{2DE481D7-FF2B-40AC-8E09-4744900FFEB2}" type="presParOf" srcId="{E8F18989-C07C-44CF-B839-3FD735C1E7A3}" destId="{31FE9366-274B-4225-8F79-94CA9D7B36ED}" srcOrd="1" destOrd="0" presId="urn:microsoft.com/office/officeart/2005/8/layout/hList1"/>
    <dgm:cxn modelId="{3B263929-B1C9-40E4-A70A-AA0F41F9C543}" type="presParOf" srcId="{23B666D0-F1EC-4728-AD89-52752958ED12}" destId="{C1E8779F-3235-49C3-9835-F8D4CA1D3D7B}" srcOrd="3" destOrd="0" presId="urn:microsoft.com/office/officeart/2005/8/layout/hList1"/>
    <dgm:cxn modelId="{490F4F81-6C17-417C-8894-D306B880011C}" type="presParOf" srcId="{23B666D0-F1EC-4728-AD89-52752958ED12}" destId="{9ED50E5B-805E-4C18-9C1B-1824A419A32B}" srcOrd="4" destOrd="0" presId="urn:microsoft.com/office/officeart/2005/8/layout/hList1"/>
    <dgm:cxn modelId="{69938CFD-48BA-4406-959C-F72E02DF065E}" type="presParOf" srcId="{9ED50E5B-805E-4C18-9C1B-1824A419A32B}" destId="{7B53B16F-603E-4B06-A14D-459B302873AF}" srcOrd="0" destOrd="0" presId="urn:microsoft.com/office/officeart/2005/8/layout/hList1"/>
    <dgm:cxn modelId="{69C7D5DC-CDE0-4969-95F2-5642317CFF91}" type="presParOf" srcId="{9ED50E5B-805E-4C18-9C1B-1824A419A32B}" destId="{F316BB9E-9076-4887-A96D-45E4336E2C0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AFC74A6D-4B76-4842-9D2F-A50CDF0FEAB8}" type="doc">
      <dgm:prSet loTypeId="urn:microsoft.com/office/officeart/2005/8/layout/default" loCatId="list" qsTypeId="urn:microsoft.com/office/officeart/2005/8/quickstyle/simple4" qsCatId="simple" csTypeId="urn:microsoft.com/office/officeart/2005/8/colors/colorful2" csCatId="colorful"/>
      <dgm:spPr/>
      <dgm:t>
        <a:bodyPr/>
        <a:lstStyle/>
        <a:p>
          <a:endParaRPr lang="en-US"/>
        </a:p>
      </dgm:t>
    </dgm:pt>
    <dgm:pt modelId="{53C73B45-B3AC-4A92-A0CC-F5D43024B610}">
      <dgm:prSet/>
      <dgm:spPr/>
      <dgm:t>
        <a:bodyPr/>
        <a:lstStyle/>
        <a:p>
          <a:r>
            <a:rPr lang="en-GB"/>
            <a:t>Skips large chunks of data to speed up scans</a:t>
          </a:r>
          <a:endParaRPr lang="en-US"/>
        </a:p>
      </dgm:t>
    </dgm:pt>
    <dgm:pt modelId="{11ACE014-EE04-42F2-8757-58355BA794F2}" type="parTrans" cxnId="{A5908BA9-6259-477A-90BF-A91A3AAD2EE9}">
      <dgm:prSet/>
      <dgm:spPr/>
      <dgm:t>
        <a:bodyPr/>
        <a:lstStyle/>
        <a:p>
          <a:endParaRPr lang="en-US"/>
        </a:p>
      </dgm:t>
    </dgm:pt>
    <dgm:pt modelId="{44D15B14-B3F6-4E67-A2E0-6D31554ACD49}" type="sibTrans" cxnId="{A5908BA9-6259-477A-90BF-A91A3AAD2EE9}">
      <dgm:prSet/>
      <dgm:spPr/>
      <dgm:t>
        <a:bodyPr/>
        <a:lstStyle/>
        <a:p>
          <a:endParaRPr lang="en-US"/>
        </a:p>
      </dgm:t>
    </dgm:pt>
    <dgm:pt modelId="{0F14970F-E2B8-4E7A-A918-9F05D141277E}">
      <dgm:prSet/>
      <dgm:spPr/>
      <dgm:t>
        <a:bodyPr/>
        <a:lstStyle/>
        <a:p>
          <a:r>
            <a:rPr lang="en-GB"/>
            <a:t>Each partition in a column store index is broken into segments</a:t>
          </a:r>
          <a:endParaRPr lang="en-US"/>
        </a:p>
      </dgm:t>
    </dgm:pt>
    <dgm:pt modelId="{916734AD-3839-4563-AD50-03DB84E91635}" type="parTrans" cxnId="{CC0BBB83-247D-4E83-8744-F009004E13D0}">
      <dgm:prSet/>
      <dgm:spPr/>
      <dgm:t>
        <a:bodyPr/>
        <a:lstStyle/>
        <a:p>
          <a:endParaRPr lang="en-US"/>
        </a:p>
      </dgm:t>
    </dgm:pt>
    <dgm:pt modelId="{97EC3A39-4C97-4C9F-B422-6DBA709FCC77}" type="sibTrans" cxnId="{CC0BBB83-247D-4E83-8744-F009004E13D0}">
      <dgm:prSet/>
      <dgm:spPr/>
      <dgm:t>
        <a:bodyPr/>
        <a:lstStyle/>
        <a:p>
          <a:endParaRPr lang="en-US"/>
        </a:p>
      </dgm:t>
    </dgm:pt>
    <dgm:pt modelId="{740882AD-B1B9-414D-B270-6FE20AD82533}">
      <dgm:prSet/>
      <dgm:spPr/>
      <dgm:t>
        <a:bodyPr/>
        <a:lstStyle/>
        <a:p>
          <a:r>
            <a:rPr lang="en-GB"/>
            <a:t>Each segment has metadata that stores the minimum and maximum value of each column for the segment</a:t>
          </a:r>
          <a:endParaRPr lang="en-US"/>
        </a:p>
      </dgm:t>
    </dgm:pt>
    <dgm:pt modelId="{575EADE0-4545-40D4-AB29-6FC4AABCBAEE}" type="parTrans" cxnId="{D7F6BE1C-27E2-416C-8D14-86F3AE8A1519}">
      <dgm:prSet/>
      <dgm:spPr/>
      <dgm:t>
        <a:bodyPr/>
        <a:lstStyle/>
        <a:p>
          <a:endParaRPr lang="en-US"/>
        </a:p>
      </dgm:t>
    </dgm:pt>
    <dgm:pt modelId="{69644ACB-B2E1-48BD-B9F9-57C51CAC642D}" type="sibTrans" cxnId="{D7F6BE1C-27E2-416C-8D14-86F3AE8A1519}">
      <dgm:prSet/>
      <dgm:spPr/>
      <dgm:t>
        <a:bodyPr/>
        <a:lstStyle/>
        <a:p>
          <a:endParaRPr lang="en-US"/>
        </a:p>
      </dgm:t>
    </dgm:pt>
    <dgm:pt modelId="{1AF1157A-7293-4250-B32B-F66730BDCFAA}">
      <dgm:prSet/>
      <dgm:spPr/>
      <dgm:t>
        <a:bodyPr/>
        <a:lstStyle/>
        <a:p>
          <a:r>
            <a:rPr lang="en-GB"/>
            <a:t>The storage engine checks filter conditions against the metadata</a:t>
          </a:r>
          <a:endParaRPr lang="en-US"/>
        </a:p>
      </dgm:t>
    </dgm:pt>
    <dgm:pt modelId="{5997B9CC-5B22-4CC8-A9DE-DA5373A2E509}" type="parTrans" cxnId="{62F34D46-3505-411C-8895-1B4F2A572C69}">
      <dgm:prSet/>
      <dgm:spPr/>
      <dgm:t>
        <a:bodyPr/>
        <a:lstStyle/>
        <a:p>
          <a:endParaRPr lang="en-US"/>
        </a:p>
      </dgm:t>
    </dgm:pt>
    <dgm:pt modelId="{26CACE9B-6FD1-4CF8-8D01-2E99C38993BB}" type="sibTrans" cxnId="{62F34D46-3505-411C-8895-1B4F2A572C69}">
      <dgm:prSet/>
      <dgm:spPr/>
      <dgm:t>
        <a:bodyPr/>
        <a:lstStyle/>
        <a:p>
          <a:endParaRPr lang="en-US"/>
        </a:p>
      </dgm:t>
    </dgm:pt>
    <dgm:pt modelId="{4AB401DC-E66A-4F54-9BC7-FA18E3944213}">
      <dgm:prSet/>
      <dgm:spPr/>
      <dgm:t>
        <a:bodyPr/>
        <a:lstStyle/>
        <a:p>
          <a:r>
            <a:rPr lang="en-GB"/>
            <a:t>If it detects no rows that qualify, it skips the entire segment without reading it from disk</a:t>
          </a:r>
          <a:endParaRPr lang="en-US"/>
        </a:p>
      </dgm:t>
    </dgm:pt>
    <dgm:pt modelId="{877E81DE-EF2D-45B0-AE23-E0622CFFEBB8}" type="parTrans" cxnId="{BBF2110F-2E34-47BD-B6F8-08895266FB8B}">
      <dgm:prSet/>
      <dgm:spPr/>
      <dgm:t>
        <a:bodyPr/>
        <a:lstStyle/>
        <a:p>
          <a:endParaRPr lang="en-US"/>
        </a:p>
      </dgm:t>
    </dgm:pt>
    <dgm:pt modelId="{AD7640D5-A116-4757-ADD5-0D7E4B59E781}" type="sibTrans" cxnId="{BBF2110F-2E34-47BD-B6F8-08895266FB8B}">
      <dgm:prSet/>
      <dgm:spPr/>
      <dgm:t>
        <a:bodyPr/>
        <a:lstStyle/>
        <a:p>
          <a:endParaRPr lang="en-US"/>
        </a:p>
      </dgm:t>
    </dgm:pt>
    <dgm:pt modelId="{3B1D4002-1690-40A2-9B7E-903AFA24994E}" type="pres">
      <dgm:prSet presAssocID="{AFC74A6D-4B76-4842-9D2F-A50CDF0FEAB8}" presName="diagram" presStyleCnt="0">
        <dgm:presLayoutVars>
          <dgm:dir/>
          <dgm:resizeHandles val="exact"/>
        </dgm:presLayoutVars>
      </dgm:prSet>
      <dgm:spPr/>
    </dgm:pt>
    <dgm:pt modelId="{2C27F988-DEE5-4A99-9E5C-3B3CA1BBC356}" type="pres">
      <dgm:prSet presAssocID="{53C73B45-B3AC-4A92-A0CC-F5D43024B610}" presName="node" presStyleLbl="node1" presStyleIdx="0" presStyleCnt="5">
        <dgm:presLayoutVars>
          <dgm:bulletEnabled val="1"/>
        </dgm:presLayoutVars>
      </dgm:prSet>
      <dgm:spPr/>
    </dgm:pt>
    <dgm:pt modelId="{7A0AAB0F-78D1-4B2F-9F3C-B9BA203BC41D}" type="pres">
      <dgm:prSet presAssocID="{44D15B14-B3F6-4E67-A2E0-6D31554ACD49}" presName="sibTrans" presStyleCnt="0"/>
      <dgm:spPr/>
    </dgm:pt>
    <dgm:pt modelId="{8AAF0ED5-4F75-4760-9059-772B89857C60}" type="pres">
      <dgm:prSet presAssocID="{0F14970F-E2B8-4E7A-A918-9F05D141277E}" presName="node" presStyleLbl="node1" presStyleIdx="1" presStyleCnt="5">
        <dgm:presLayoutVars>
          <dgm:bulletEnabled val="1"/>
        </dgm:presLayoutVars>
      </dgm:prSet>
      <dgm:spPr/>
    </dgm:pt>
    <dgm:pt modelId="{49C588FA-CCD0-4D5B-A558-8014E1E9DDBF}" type="pres">
      <dgm:prSet presAssocID="{97EC3A39-4C97-4C9F-B422-6DBA709FCC77}" presName="sibTrans" presStyleCnt="0"/>
      <dgm:spPr/>
    </dgm:pt>
    <dgm:pt modelId="{FB72EDAF-9678-4462-B908-0B6504BDE394}" type="pres">
      <dgm:prSet presAssocID="{740882AD-B1B9-414D-B270-6FE20AD82533}" presName="node" presStyleLbl="node1" presStyleIdx="2" presStyleCnt="5">
        <dgm:presLayoutVars>
          <dgm:bulletEnabled val="1"/>
        </dgm:presLayoutVars>
      </dgm:prSet>
      <dgm:spPr/>
    </dgm:pt>
    <dgm:pt modelId="{13DAA3C9-CA10-48D9-9B80-A229D9ED3654}" type="pres">
      <dgm:prSet presAssocID="{69644ACB-B2E1-48BD-B9F9-57C51CAC642D}" presName="sibTrans" presStyleCnt="0"/>
      <dgm:spPr/>
    </dgm:pt>
    <dgm:pt modelId="{6B0A9993-8425-4995-921C-36F8C8875194}" type="pres">
      <dgm:prSet presAssocID="{1AF1157A-7293-4250-B32B-F66730BDCFAA}" presName="node" presStyleLbl="node1" presStyleIdx="3" presStyleCnt="5">
        <dgm:presLayoutVars>
          <dgm:bulletEnabled val="1"/>
        </dgm:presLayoutVars>
      </dgm:prSet>
      <dgm:spPr/>
    </dgm:pt>
    <dgm:pt modelId="{2479147B-6B98-412E-8F9B-9EA19CB7A9C4}" type="pres">
      <dgm:prSet presAssocID="{26CACE9B-6FD1-4CF8-8D01-2E99C38993BB}" presName="sibTrans" presStyleCnt="0"/>
      <dgm:spPr/>
    </dgm:pt>
    <dgm:pt modelId="{05E13E4C-A993-4BA7-84B0-4C04398DEACD}" type="pres">
      <dgm:prSet presAssocID="{4AB401DC-E66A-4F54-9BC7-FA18E3944213}" presName="node" presStyleLbl="node1" presStyleIdx="4" presStyleCnt="5">
        <dgm:presLayoutVars>
          <dgm:bulletEnabled val="1"/>
        </dgm:presLayoutVars>
      </dgm:prSet>
      <dgm:spPr/>
    </dgm:pt>
  </dgm:ptLst>
  <dgm:cxnLst>
    <dgm:cxn modelId="{BBF2110F-2E34-47BD-B6F8-08895266FB8B}" srcId="{AFC74A6D-4B76-4842-9D2F-A50CDF0FEAB8}" destId="{4AB401DC-E66A-4F54-9BC7-FA18E3944213}" srcOrd="4" destOrd="0" parTransId="{877E81DE-EF2D-45B0-AE23-E0622CFFEBB8}" sibTransId="{AD7640D5-A116-4757-ADD5-0D7E4B59E781}"/>
    <dgm:cxn modelId="{D7F6BE1C-27E2-416C-8D14-86F3AE8A1519}" srcId="{AFC74A6D-4B76-4842-9D2F-A50CDF0FEAB8}" destId="{740882AD-B1B9-414D-B270-6FE20AD82533}" srcOrd="2" destOrd="0" parTransId="{575EADE0-4545-40D4-AB29-6FC4AABCBAEE}" sibTransId="{69644ACB-B2E1-48BD-B9F9-57C51CAC642D}"/>
    <dgm:cxn modelId="{83C7F823-9456-4781-A2FD-64D0B3373946}" type="presOf" srcId="{AFC74A6D-4B76-4842-9D2F-A50CDF0FEAB8}" destId="{3B1D4002-1690-40A2-9B7E-903AFA24994E}" srcOrd="0" destOrd="0" presId="urn:microsoft.com/office/officeart/2005/8/layout/default"/>
    <dgm:cxn modelId="{44DB1737-6329-4B27-9F61-8EE6F16062B0}" type="presOf" srcId="{740882AD-B1B9-414D-B270-6FE20AD82533}" destId="{FB72EDAF-9678-4462-B908-0B6504BDE394}" srcOrd="0" destOrd="0" presId="urn:microsoft.com/office/officeart/2005/8/layout/default"/>
    <dgm:cxn modelId="{64C2EE45-E599-4BC8-ADB6-63280047BC13}" type="presOf" srcId="{1AF1157A-7293-4250-B32B-F66730BDCFAA}" destId="{6B0A9993-8425-4995-921C-36F8C8875194}" srcOrd="0" destOrd="0" presId="urn:microsoft.com/office/officeart/2005/8/layout/default"/>
    <dgm:cxn modelId="{62F34D46-3505-411C-8895-1B4F2A572C69}" srcId="{AFC74A6D-4B76-4842-9D2F-A50CDF0FEAB8}" destId="{1AF1157A-7293-4250-B32B-F66730BDCFAA}" srcOrd="3" destOrd="0" parTransId="{5997B9CC-5B22-4CC8-A9DE-DA5373A2E509}" sibTransId="{26CACE9B-6FD1-4CF8-8D01-2E99C38993BB}"/>
    <dgm:cxn modelId="{A2BE0F7E-93B6-40F8-A094-23903292E441}" type="presOf" srcId="{53C73B45-B3AC-4A92-A0CC-F5D43024B610}" destId="{2C27F988-DEE5-4A99-9E5C-3B3CA1BBC356}" srcOrd="0" destOrd="0" presId="urn:microsoft.com/office/officeart/2005/8/layout/default"/>
    <dgm:cxn modelId="{CC0BBB83-247D-4E83-8744-F009004E13D0}" srcId="{AFC74A6D-4B76-4842-9D2F-A50CDF0FEAB8}" destId="{0F14970F-E2B8-4E7A-A918-9F05D141277E}" srcOrd="1" destOrd="0" parTransId="{916734AD-3839-4563-AD50-03DB84E91635}" sibTransId="{97EC3A39-4C97-4C9F-B422-6DBA709FCC77}"/>
    <dgm:cxn modelId="{BC56DB8D-7BE1-4108-B197-6AAEE4AD6108}" type="presOf" srcId="{4AB401DC-E66A-4F54-9BC7-FA18E3944213}" destId="{05E13E4C-A993-4BA7-84B0-4C04398DEACD}" srcOrd="0" destOrd="0" presId="urn:microsoft.com/office/officeart/2005/8/layout/default"/>
    <dgm:cxn modelId="{804F0D9E-FEED-47EE-BF2F-F48D30D4A012}" type="presOf" srcId="{0F14970F-E2B8-4E7A-A918-9F05D141277E}" destId="{8AAF0ED5-4F75-4760-9059-772B89857C60}" srcOrd="0" destOrd="0" presId="urn:microsoft.com/office/officeart/2005/8/layout/default"/>
    <dgm:cxn modelId="{A5908BA9-6259-477A-90BF-A91A3AAD2EE9}" srcId="{AFC74A6D-4B76-4842-9D2F-A50CDF0FEAB8}" destId="{53C73B45-B3AC-4A92-A0CC-F5D43024B610}" srcOrd="0" destOrd="0" parTransId="{11ACE014-EE04-42F2-8757-58355BA794F2}" sibTransId="{44D15B14-B3F6-4E67-A2E0-6D31554ACD49}"/>
    <dgm:cxn modelId="{F8C994D4-432E-4015-BFC3-07B93161AFAC}" type="presParOf" srcId="{3B1D4002-1690-40A2-9B7E-903AFA24994E}" destId="{2C27F988-DEE5-4A99-9E5C-3B3CA1BBC356}" srcOrd="0" destOrd="0" presId="urn:microsoft.com/office/officeart/2005/8/layout/default"/>
    <dgm:cxn modelId="{D145B479-CDCD-4589-B0FF-DC3EEB11E491}" type="presParOf" srcId="{3B1D4002-1690-40A2-9B7E-903AFA24994E}" destId="{7A0AAB0F-78D1-4B2F-9F3C-B9BA203BC41D}" srcOrd="1" destOrd="0" presId="urn:microsoft.com/office/officeart/2005/8/layout/default"/>
    <dgm:cxn modelId="{BBB819B0-BC16-4BFD-96AD-94F6419D4C1E}" type="presParOf" srcId="{3B1D4002-1690-40A2-9B7E-903AFA24994E}" destId="{8AAF0ED5-4F75-4760-9059-772B89857C60}" srcOrd="2" destOrd="0" presId="urn:microsoft.com/office/officeart/2005/8/layout/default"/>
    <dgm:cxn modelId="{02A7A076-4037-42CC-838E-150F55380B3D}" type="presParOf" srcId="{3B1D4002-1690-40A2-9B7E-903AFA24994E}" destId="{49C588FA-CCD0-4D5B-A558-8014E1E9DDBF}" srcOrd="3" destOrd="0" presId="urn:microsoft.com/office/officeart/2005/8/layout/default"/>
    <dgm:cxn modelId="{F3C649A4-AA06-4E6C-A0CC-2A2DEE414611}" type="presParOf" srcId="{3B1D4002-1690-40A2-9B7E-903AFA24994E}" destId="{FB72EDAF-9678-4462-B908-0B6504BDE394}" srcOrd="4" destOrd="0" presId="urn:microsoft.com/office/officeart/2005/8/layout/default"/>
    <dgm:cxn modelId="{2B2EAD21-7825-4E90-BF31-55C6A5460894}" type="presParOf" srcId="{3B1D4002-1690-40A2-9B7E-903AFA24994E}" destId="{13DAA3C9-CA10-48D9-9B80-A229D9ED3654}" srcOrd="5" destOrd="0" presId="urn:microsoft.com/office/officeart/2005/8/layout/default"/>
    <dgm:cxn modelId="{9E094F31-1E6A-4688-9FB3-CEDFA88451E5}" type="presParOf" srcId="{3B1D4002-1690-40A2-9B7E-903AFA24994E}" destId="{6B0A9993-8425-4995-921C-36F8C8875194}" srcOrd="6" destOrd="0" presId="urn:microsoft.com/office/officeart/2005/8/layout/default"/>
    <dgm:cxn modelId="{7246E735-59FF-4902-8F53-0AFD3C66B1B8}" type="presParOf" srcId="{3B1D4002-1690-40A2-9B7E-903AFA24994E}" destId="{2479147B-6B98-412E-8F9B-9EA19CB7A9C4}" srcOrd="7" destOrd="0" presId="urn:microsoft.com/office/officeart/2005/8/layout/default"/>
    <dgm:cxn modelId="{9779784C-897C-4E57-9AFD-1037C5DBE26D}" type="presParOf" srcId="{3B1D4002-1690-40A2-9B7E-903AFA24994E}" destId="{05E13E4C-A993-4BA7-84B0-4C04398DEAC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59479431-47E4-48C1-91FC-191073E5AF5E}"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49E3AB70-15E5-4CAD-95AF-4C7D4B943A65}">
      <dgm:prSet custT="1"/>
      <dgm:spPr/>
      <dgm:t>
        <a:bodyPr/>
        <a:lstStyle/>
        <a:p>
          <a:r>
            <a:rPr lang="en-US" sz="2400"/>
            <a:t>Segment Elimination</a:t>
          </a:r>
        </a:p>
      </dgm:t>
    </dgm:pt>
    <dgm:pt modelId="{1CE7BBA1-96B4-409C-9787-D9C88134D2FC}" type="parTrans" cxnId="{AB7C058B-FD7F-4DB4-9996-A8195CA9DB89}">
      <dgm:prSet/>
      <dgm:spPr/>
      <dgm:t>
        <a:bodyPr/>
        <a:lstStyle/>
        <a:p>
          <a:endParaRPr lang="en-US"/>
        </a:p>
      </dgm:t>
    </dgm:pt>
    <dgm:pt modelId="{F6ACD674-966C-4C60-9635-A14F4CDA47B4}" type="sibTrans" cxnId="{AB7C058B-FD7F-4DB4-9996-A8195CA9DB89}">
      <dgm:prSet/>
      <dgm:spPr/>
      <dgm:t>
        <a:bodyPr/>
        <a:lstStyle/>
        <a:p>
          <a:endParaRPr lang="en-US"/>
        </a:p>
      </dgm:t>
    </dgm:pt>
    <dgm:pt modelId="{89A26833-97AF-4C5C-A4B1-8BBAA6E612F3}" type="pres">
      <dgm:prSet presAssocID="{59479431-47E4-48C1-91FC-191073E5AF5E}" presName="Name0" presStyleCnt="0">
        <dgm:presLayoutVars>
          <dgm:chPref val="3"/>
          <dgm:dir/>
          <dgm:animLvl val="lvl"/>
          <dgm:resizeHandles/>
        </dgm:presLayoutVars>
      </dgm:prSet>
      <dgm:spPr/>
    </dgm:pt>
    <dgm:pt modelId="{BCE2BD7A-8BC7-40E8-850D-57D197AEDDEF}" type="pres">
      <dgm:prSet presAssocID="{49E3AB70-15E5-4CAD-95AF-4C7D4B943A65}" presName="horFlow" presStyleCnt="0"/>
      <dgm:spPr/>
    </dgm:pt>
    <dgm:pt modelId="{4F551716-7A8B-4F85-AF68-AF9AA507861A}" type="pres">
      <dgm:prSet presAssocID="{49E3AB70-15E5-4CAD-95AF-4C7D4B943A65}" presName="bigChev" presStyleLbl="node1" presStyleIdx="0" presStyleCnt="1" custScaleX="122791" custScaleY="100151" custLinFactX="-97748" custLinFactNeighborX="-100000" custLinFactNeighborY="39699"/>
      <dgm:spPr/>
    </dgm:pt>
  </dgm:ptLst>
  <dgm:cxnLst>
    <dgm:cxn modelId="{E5C78249-DB08-4F65-935B-027013A8AE21}" type="presOf" srcId="{49E3AB70-15E5-4CAD-95AF-4C7D4B943A65}" destId="{4F551716-7A8B-4F85-AF68-AF9AA507861A}" srcOrd="0" destOrd="0" presId="urn:microsoft.com/office/officeart/2005/8/layout/lProcess3"/>
    <dgm:cxn modelId="{AB7C058B-FD7F-4DB4-9996-A8195CA9DB89}" srcId="{59479431-47E4-48C1-91FC-191073E5AF5E}" destId="{49E3AB70-15E5-4CAD-95AF-4C7D4B943A65}" srcOrd="0" destOrd="0" parTransId="{1CE7BBA1-96B4-409C-9787-D9C88134D2FC}" sibTransId="{F6ACD674-966C-4C60-9635-A14F4CDA47B4}"/>
    <dgm:cxn modelId="{1E660AFD-57D6-4B9D-AD76-F79338486612}" type="presOf" srcId="{59479431-47E4-48C1-91FC-191073E5AF5E}" destId="{89A26833-97AF-4C5C-A4B1-8BBAA6E612F3}" srcOrd="0" destOrd="0" presId="urn:microsoft.com/office/officeart/2005/8/layout/lProcess3"/>
    <dgm:cxn modelId="{95A1ADC9-0244-4F33-A7BA-A3F18E44D86B}" type="presParOf" srcId="{89A26833-97AF-4C5C-A4B1-8BBAA6E612F3}" destId="{BCE2BD7A-8BC7-40E8-850D-57D197AEDDEF}" srcOrd="0" destOrd="0" presId="urn:microsoft.com/office/officeart/2005/8/layout/lProcess3"/>
    <dgm:cxn modelId="{9094EA10-4AE9-4A19-8FF7-60FDB2B55158}" type="presParOf" srcId="{BCE2BD7A-8BC7-40E8-850D-57D197AEDDEF}" destId="{4F551716-7A8B-4F85-AF68-AF9AA507861A}" srcOrd="0" destOrd="0" presId="urn:microsoft.com/office/officeart/2005/8/layout/lProcess3"/>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FEF3ED86-B089-4521-8B19-A9B3F7AA332E}"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0AB8BFCB-25A6-490B-9851-AC69BD1B91EB}" type="pres">
      <dgm:prSet presAssocID="{FEF3ED86-B089-4521-8B19-A9B3F7AA332E}" presName="Name0" presStyleCnt="0">
        <dgm:presLayoutVars>
          <dgm:chPref val="3"/>
          <dgm:dir/>
          <dgm:animLvl val="lvl"/>
          <dgm:resizeHandles/>
        </dgm:presLayoutVars>
      </dgm:prSet>
      <dgm:spPr/>
    </dgm:pt>
  </dgm:ptLst>
  <dgm:cxnLst>
    <dgm:cxn modelId="{E94A51CC-5433-427C-8E3E-491BBFC57596}" type="presOf" srcId="{FEF3ED86-B089-4521-8B19-A9B3F7AA332E}" destId="{0AB8BFCB-25A6-490B-9851-AC69BD1B91EB}" srcOrd="0" destOrd="0" presId="urn:microsoft.com/office/officeart/2005/8/layout/lProcess3"/>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59479431-47E4-48C1-91FC-191073E5AF5E}"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49E3AB70-15E5-4CAD-95AF-4C7D4B943A65}">
      <dgm:prSet custT="1"/>
      <dgm:spPr/>
      <dgm:t>
        <a:bodyPr/>
        <a:lstStyle/>
        <a:p>
          <a:r>
            <a:rPr lang="en-US" sz="2400"/>
            <a:t>Segment Elimination</a:t>
          </a:r>
        </a:p>
      </dgm:t>
    </dgm:pt>
    <dgm:pt modelId="{1CE7BBA1-96B4-409C-9787-D9C88134D2FC}" type="parTrans" cxnId="{AB7C058B-FD7F-4DB4-9996-A8195CA9DB89}">
      <dgm:prSet/>
      <dgm:spPr/>
      <dgm:t>
        <a:bodyPr/>
        <a:lstStyle/>
        <a:p>
          <a:endParaRPr lang="en-US"/>
        </a:p>
      </dgm:t>
    </dgm:pt>
    <dgm:pt modelId="{F6ACD674-966C-4C60-9635-A14F4CDA47B4}" type="sibTrans" cxnId="{AB7C058B-FD7F-4DB4-9996-A8195CA9DB89}">
      <dgm:prSet/>
      <dgm:spPr/>
      <dgm:t>
        <a:bodyPr/>
        <a:lstStyle/>
        <a:p>
          <a:endParaRPr lang="en-US"/>
        </a:p>
      </dgm:t>
    </dgm:pt>
    <dgm:pt modelId="{89A26833-97AF-4C5C-A4B1-8BBAA6E612F3}" type="pres">
      <dgm:prSet presAssocID="{59479431-47E4-48C1-91FC-191073E5AF5E}" presName="Name0" presStyleCnt="0">
        <dgm:presLayoutVars>
          <dgm:chPref val="3"/>
          <dgm:dir/>
          <dgm:animLvl val="lvl"/>
          <dgm:resizeHandles/>
        </dgm:presLayoutVars>
      </dgm:prSet>
      <dgm:spPr/>
    </dgm:pt>
    <dgm:pt modelId="{BCE2BD7A-8BC7-40E8-850D-57D197AEDDEF}" type="pres">
      <dgm:prSet presAssocID="{49E3AB70-15E5-4CAD-95AF-4C7D4B943A65}" presName="horFlow" presStyleCnt="0"/>
      <dgm:spPr/>
    </dgm:pt>
    <dgm:pt modelId="{4F551716-7A8B-4F85-AF68-AF9AA507861A}" type="pres">
      <dgm:prSet presAssocID="{49E3AB70-15E5-4CAD-95AF-4C7D4B943A65}" presName="bigChev" presStyleLbl="node1" presStyleIdx="0" presStyleCnt="1" custScaleX="122791" custScaleY="100151" custLinFactX="-97748" custLinFactNeighborX="-100000" custLinFactNeighborY="39699"/>
      <dgm:spPr/>
    </dgm:pt>
  </dgm:ptLst>
  <dgm:cxnLst>
    <dgm:cxn modelId="{E5C78249-DB08-4F65-935B-027013A8AE21}" type="presOf" srcId="{49E3AB70-15E5-4CAD-95AF-4C7D4B943A65}" destId="{4F551716-7A8B-4F85-AF68-AF9AA507861A}" srcOrd="0" destOrd="0" presId="urn:microsoft.com/office/officeart/2005/8/layout/lProcess3"/>
    <dgm:cxn modelId="{AB7C058B-FD7F-4DB4-9996-A8195CA9DB89}" srcId="{59479431-47E4-48C1-91FC-191073E5AF5E}" destId="{49E3AB70-15E5-4CAD-95AF-4C7D4B943A65}" srcOrd="0" destOrd="0" parTransId="{1CE7BBA1-96B4-409C-9787-D9C88134D2FC}" sibTransId="{F6ACD674-966C-4C60-9635-A14F4CDA47B4}"/>
    <dgm:cxn modelId="{1E660AFD-57D6-4B9D-AD76-F79338486612}" type="presOf" srcId="{59479431-47E4-48C1-91FC-191073E5AF5E}" destId="{89A26833-97AF-4C5C-A4B1-8BBAA6E612F3}" srcOrd="0" destOrd="0" presId="urn:microsoft.com/office/officeart/2005/8/layout/lProcess3"/>
    <dgm:cxn modelId="{95A1ADC9-0244-4F33-A7BA-A3F18E44D86B}" type="presParOf" srcId="{89A26833-97AF-4C5C-A4B1-8BBAA6E612F3}" destId="{BCE2BD7A-8BC7-40E8-850D-57D197AEDDEF}" srcOrd="0" destOrd="0" presId="urn:microsoft.com/office/officeart/2005/8/layout/lProcess3"/>
    <dgm:cxn modelId="{9094EA10-4AE9-4A19-8FF7-60FDB2B55158}" type="presParOf" srcId="{BCE2BD7A-8BC7-40E8-850D-57D197AEDDEF}" destId="{4F551716-7A8B-4F85-AF68-AF9AA507861A}" srcOrd="0" destOrd="0" presId="urn:microsoft.com/office/officeart/2005/8/layout/lProcess3"/>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FEF3ED86-B089-4521-8B19-A9B3F7AA332E}"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A67978A8-748D-4AFC-A6D7-759C029257BF}">
      <dgm:prSet custT="1"/>
      <dgm:spPr/>
      <dgm:t>
        <a:bodyPr/>
        <a:lstStyle/>
        <a:p>
          <a:r>
            <a:rPr lang="en-US" sz="2400"/>
            <a:t>RowGroup Elimination</a:t>
          </a:r>
        </a:p>
      </dgm:t>
    </dgm:pt>
    <dgm:pt modelId="{4B2C1A3D-8857-4842-87A3-69998A4B53C4}" type="parTrans" cxnId="{98F41DDA-B211-453C-923C-344F3ACF712E}">
      <dgm:prSet/>
      <dgm:spPr/>
      <dgm:t>
        <a:bodyPr/>
        <a:lstStyle/>
        <a:p>
          <a:endParaRPr lang="en-US"/>
        </a:p>
      </dgm:t>
    </dgm:pt>
    <dgm:pt modelId="{F308140E-CA8E-4836-B4DE-368F96F10FA5}" type="sibTrans" cxnId="{98F41DDA-B211-453C-923C-344F3ACF712E}">
      <dgm:prSet/>
      <dgm:spPr/>
      <dgm:t>
        <a:bodyPr/>
        <a:lstStyle/>
        <a:p>
          <a:endParaRPr lang="en-US"/>
        </a:p>
      </dgm:t>
    </dgm:pt>
    <dgm:pt modelId="{0AB8BFCB-25A6-490B-9851-AC69BD1B91EB}" type="pres">
      <dgm:prSet presAssocID="{FEF3ED86-B089-4521-8B19-A9B3F7AA332E}" presName="Name0" presStyleCnt="0">
        <dgm:presLayoutVars>
          <dgm:chPref val="3"/>
          <dgm:dir/>
          <dgm:animLvl val="lvl"/>
          <dgm:resizeHandles/>
        </dgm:presLayoutVars>
      </dgm:prSet>
      <dgm:spPr/>
    </dgm:pt>
    <dgm:pt modelId="{C4CF22CC-03C6-4C6B-94E1-92AA5F07166A}" type="pres">
      <dgm:prSet presAssocID="{A67978A8-748D-4AFC-A6D7-759C029257BF}" presName="horFlow" presStyleCnt="0"/>
      <dgm:spPr/>
    </dgm:pt>
    <dgm:pt modelId="{C6481716-649F-422F-BFB3-33D3C6C86AD8}" type="pres">
      <dgm:prSet presAssocID="{A67978A8-748D-4AFC-A6D7-759C029257BF}" presName="bigChev" presStyleLbl="node1" presStyleIdx="0" presStyleCnt="1" custScaleX="130266" custLinFactNeighborX="10034" custLinFactNeighborY="-3121"/>
      <dgm:spPr/>
    </dgm:pt>
  </dgm:ptLst>
  <dgm:cxnLst>
    <dgm:cxn modelId="{C3A01C40-9D0A-44B0-8924-EEB233A2BDDA}" type="presOf" srcId="{A67978A8-748D-4AFC-A6D7-759C029257BF}" destId="{C6481716-649F-422F-BFB3-33D3C6C86AD8}" srcOrd="0" destOrd="0" presId="urn:microsoft.com/office/officeart/2005/8/layout/lProcess3"/>
    <dgm:cxn modelId="{E94A51CC-5433-427C-8E3E-491BBFC57596}" type="presOf" srcId="{FEF3ED86-B089-4521-8B19-A9B3F7AA332E}" destId="{0AB8BFCB-25A6-490B-9851-AC69BD1B91EB}" srcOrd="0" destOrd="0" presId="urn:microsoft.com/office/officeart/2005/8/layout/lProcess3"/>
    <dgm:cxn modelId="{98F41DDA-B211-453C-923C-344F3ACF712E}" srcId="{FEF3ED86-B089-4521-8B19-A9B3F7AA332E}" destId="{A67978A8-748D-4AFC-A6D7-759C029257BF}" srcOrd="0" destOrd="0" parTransId="{4B2C1A3D-8857-4842-87A3-69998A4B53C4}" sibTransId="{F308140E-CA8E-4836-B4DE-368F96F10FA5}"/>
    <dgm:cxn modelId="{689C9519-D256-4855-9D9B-7EDE8D489723}" type="presParOf" srcId="{0AB8BFCB-25A6-490B-9851-AC69BD1B91EB}" destId="{C4CF22CC-03C6-4C6B-94E1-92AA5F07166A}" srcOrd="0" destOrd="0" presId="urn:microsoft.com/office/officeart/2005/8/layout/lProcess3"/>
    <dgm:cxn modelId="{1E678429-6E98-4CF2-80AD-7AF62B2C07F3}" type="presParOf" srcId="{C4CF22CC-03C6-4C6B-94E1-92AA5F07166A}" destId="{C6481716-649F-422F-BFB3-33D3C6C86AD8}" srcOrd="0" destOrd="0" presId="urn:microsoft.com/office/officeart/2005/8/layout/lProcess3"/>
  </dgm:cxnLst>
  <dgm:bg/>
  <dgm:whole/>
  <dgm:extLst>
    <a:ext uri="http://schemas.microsoft.com/office/drawing/2008/diagram">
      <dsp:dataModelExt xmlns:dsp="http://schemas.microsoft.com/office/drawing/2008/diagram" relId="rId2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C30745-E177-40AE-83F3-00955AE4B0D9}" type="doc">
      <dgm:prSet loTypeId="urn:microsoft.com/office/officeart/2018/2/layout/IconVerticalSolidList" loCatId="icon" qsTypeId="urn:microsoft.com/office/officeart/2005/8/quickstyle/simple1" qsCatId="simple" csTypeId="urn:microsoft.com/office/officeart/2005/8/colors/colorful1" csCatId="colorful" phldr="1"/>
      <dgm:spPr/>
      <dgm:t>
        <a:bodyPr/>
        <a:lstStyle/>
        <a:p>
          <a:endParaRPr lang="en-US"/>
        </a:p>
      </dgm:t>
    </dgm:pt>
    <dgm:pt modelId="{C510EAD0-82C4-46FB-A3B5-0FBA4E1F33AD}">
      <dgm:prSet/>
      <dgm:spPr/>
      <dgm:t>
        <a:bodyPr/>
        <a:lstStyle/>
        <a:p>
          <a:pPr>
            <a:lnSpc>
              <a:spcPct val="100000"/>
            </a:lnSpc>
          </a:pPr>
          <a:r>
            <a:rPr lang="en-US" baseline="0" dirty="0"/>
            <a:t>An ordered data structure that is implemented as a Balanced (B) Tree.</a:t>
          </a:r>
          <a:endParaRPr lang="en-US" dirty="0"/>
        </a:p>
      </dgm:t>
    </dgm:pt>
    <dgm:pt modelId="{0CD25B61-1CD1-48F4-AACF-A7650D9E7CEF}" type="parTrans" cxnId="{4FD3D87F-E324-4022-AECA-FAF7FA180975}">
      <dgm:prSet/>
      <dgm:spPr/>
      <dgm:t>
        <a:bodyPr/>
        <a:lstStyle/>
        <a:p>
          <a:endParaRPr lang="en-US"/>
        </a:p>
      </dgm:t>
    </dgm:pt>
    <dgm:pt modelId="{352F8E03-ACFB-4ED3-A72B-5507D1386F24}" type="sibTrans" cxnId="{4FD3D87F-E324-4022-AECA-FAF7FA180975}">
      <dgm:prSet/>
      <dgm:spPr/>
      <dgm:t>
        <a:bodyPr/>
        <a:lstStyle/>
        <a:p>
          <a:endParaRPr lang="en-US"/>
        </a:p>
      </dgm:t>
    </dgm:pt>
    <dgm:pt modelId="{BD7550B3-7175-4F09-8C63-D7A003C78A24}">
      <dgm:prSet/>
      <dgm:spPr/>
      <dgm:t>
        <a:bodyPr/>
        <a:lstStyle/>
        <a:p>
          <a:pPr>
            <a:lnSpc>
              <a:spcPct val="100000"/>
            </a:lnSpc>
          </a:pPr>
          <a:r>
            <a:rPr lang="en-US" baseline="0" dirty="0"/>
            <a:t>When a table is clustered, the leaf level of the index contains ALL data in the table. This means that the clustered index IS the table. This is also why there is only one per table.</a:t>
          </a:r>
          <a:endParaRPr lang="en-US" dirty="0"/>
        </a:p>
      </dgm:t>
    </dgm:pt>
    <dgm:pt modelId="{8E781184-2945-40A8-9A77-D283954DB444}" type="parTrans" cxnId="{3C3B8FA8-BE5F-4C58-9D29-4EE7E780C162}">
      <dgm:prSet/>
      <dgm:spPr/>
      <dgm:t>
        <a:bodyPr/>
        <a:lstStyle/>
        <a:p>
          <a:endParaRPr lang="en-US"/>
        </a:p>
      </dgm:t>
    </dgm:pt>
    <dgm:pt modelId="{A9B5B686-0086-4CE1-8C09-52C127677A70}" type="sibTrans" cxnId="{3C3B8FA8-BE5F-4C58-9D29-4EE7E780C162}">
      <dgm:prSet/>
      <dgm:spPr/>
      <dgm:t>
        <a:bodyPr/>
        <a:lstStyle/>
        <a:p>
          <a:endParaRPr lang="en-US"/>
        </a:p>
      </dgm:t>
    </dgm:pt>
    <dgm:pt modelId="{0799EEDA-4FCC-46D4-A318-7A0132DEB4FA}">
      <dgm:prSet/>
      <dgm:spPr/>
      <dgm:t>
        <a:bodyPr/>
        <a:lstStyle/>
        <a:p>
          <a:pPr>
            <a:lnSpc>
              <a:spcPct val="100000"/>
            </a:lnSpc>
          </a:pPr>
          <a:r>
            <a:rPr lang="en-US" baseline="0" dirty="0"/>
            <a:t>The leaf level of the clustered index contains data pages.</a:t>
          </a:r>
          <a:endParaRPr lang="en-US" dirty="0"/>
        </a:p>
      </dgm:t>
    </dgm:pt>
    <dgm:pt modelId="{1AA5EF74-31A9-4C0B-9DCE-8C326EB735DA}" type="parTrans" cxnId="{BDACCE14-1418-4628-B170-14C9AF52ADCB}">
      <dgm:prSet/>
      <dgm:spPr/>
      <dgm:t>
        <a:bodyPr/>
        <a:lstStyle/>
        <a:p>
          <a:endParaRPr lang="en-US"/>
        </a:p>
      </dgm:t>
    </dgm:pt>
    <dgm:pt modelId="{757E11B7-695A-4EC5-9019-C211684A5DAE}" type="sibTrans" cxnId="{BDACCE14-1418-4628-B170-14C9AF52ADCB}">
      <dgm:prSet/>
      <dgm:spPr/>
      <dgm:t>
        <a:bodyPr/>
        <a:lstStyle/>
        <a:p>
          <a:endParaRPr lang="en-US"/>
        </a:p>
      </dgm:t>
    </dgm:pt>
    <dgm:pt modelId="{D0ADAED9-7825-44A0-88DC-D03C3F88EF1E}" type="pres">
      <dgm:prSet presAssocID="{E2C30745-E177-40AE-83F3-00955AE4B0D9}" presName="root" presStyleCnt="0">
        <dgm:presLayoutVars>
          <dgm:dir/>
          <dgm:resizeHandles val="exact"/>
        </dgm:presLayoutVars>
      </dgm:prSet>
      <dgm:spPr/>
    </dgm:pt>
    <dgm:pt modelId="{198201F8-6371-42E0-8230-BACA3B827C82}" type="pres">
      <dgm:prSet presAssocID="{C510EAD0-82C4-46FB-A3B5-0FBA4E1F33AD}" presName="compNode" presStyleCnt="0"/>
      <dgm:spPr/>
    </dgm:pt>
    <dgm:pt modelId="{869D3DFA-3FA5-4AAC-9049-393145ACFE06}" type="pres">
      <dgm:prSet presAssocID="{C510EAD0-82C4-46FB-A3B5-0FBA4E1F33AD}" presName="bgRect" presStyleLbl="bgShp" presStyleIdx="0" presStyleCnt="3"/>
      <dgm:spPr/>
    </dgm:pt>
    <dgm:pt modelId="{9389BA8E-8C1F-4DC3-9496-56C4BF41A21B}" type="pres">
      <dgm:prSet presAssocID="{C510EAD0-82C4-46FB-A3B5-0FBA4E1F33A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ierarchy"/>
        </a:ext>
      </dgm:extLst>
    </dgm:pt>
    <dgm:pt modelId="{C2AEB32C-DC1E-452F-B240-926B39306551}" type="pres">
      <dgm:prSet presAssocID="{C510EAD0-82C4-46FB-A3B5-0FBA4E1F33AD}" presName="spaceRect" presStyleCnt="0"/>
      <dgm:spPr/>
    </dgm:pt>
    <dgm:pt modelId="{AC670E33-B6FE-417B-AD49-1677CFE5F27A}" type="pres">
      <dgm:prSet presAssocID="{C510EAD0-82C4-46FB-A3B5-0FBA4E1F33AD}" presName="parTx" presStyleLbl="revTx" presStyleIdx="0" presStyleCnt="3">
        <dgm:presLayoutVars>
          <dgm:chMax val="0"/>
          <dgm:chPref val="0"/>
        </dgm:presLayoutVars>
      </dgm:prSet>
      <dgm:spPr/>
    </dgm:pt>
    <dgm:pt modelId="{D152CAEB-4942-41AA-B046-54F737C6016C}" type="pres">
      <dgm:prSet presAssocID="{352F8E03-ACFB-4ED3-A72B-5507D1386F24}" presName="sibTrans" presStyleCnt="0"/>
      <dgm:spPr/>
    </dgm:pt>
    <dgm:pt modelId="{34C5D7BB-5538-46FD-9CA6-E37DCCF67F66}" type="pres">
      <dgm:prSet presAssocID="{BD7550B3-7175-4F09-8C63-D7A003C78A24}" presName="compNode" presStyleCnt="0"/>
      <dgm:spPr/>
    </dgm:pt>
    <dgm:pt modelId="{812C09F5-1E00-4F05-9F75-7B18F51B805F}" type="pres">
      <dgm:prSet presAssocID="{BD7550B3-7175-4F09-8C63-D7A003C78A24}" presName="bgRect" presStyleLbl="bgShp" presStyleIdx="1" presStyleCnt="3"/>
      <dgm:spPr/>
    </dgm:pt>
    <dgm:pt modelId="{6434B39B-B6B7-44E0-AFF6-E190ABAF226B}" type="pres">
      <dgm:prSet presAssocID="{BD7550B3-7175-4F09-8C63-D7A003C78A2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atabase"/>
        </a:ext>
      </dgm:extLst>
    </dgm:pt>
    <dgm:pt modelId="{7D407D15-2E5D-4FD5-8657-5CEFEA1DA906}" type="pres">
      <dgm:prSet presAssocID="{BD7550B3-7175-4F09-8C63-D7A003C78A24}" presName="spaceRect" presStyleCnt="0"/>
      <dgm:spPr/>
    </dgm:pt>
    <dgm:pt modelId="{1C76F333-EA8D-49F9-A11E-5FE023BA65DD}" type="pres">
      <dgm:prSet presAssocID="{BD7550B3-7175-4F09-8C63-D7A003C78A24}" presName="parTx" presStyleLbl="revTx" presStyleIdx="1" presStyleCnt="3">
        <dgm:presLayoutVars>
          <dgm:chMax val="0"/>
          <dgm:chPref val="0"/>
        </dgm:presLayoutVars>
      </dgm:prSet>
      <dgm:spPr/>
    </dgm:pt>
    <dgm:pt modelId="{7E13CB27-3678-484E-A0D6-86AE2633A80C}" type="pres">
      <dgm:prSet presAssocID="{A9B5B686-0086-4CE1-8C09-52C127677A70}" presName="sibTrans" presStyleCnt="0"/>
      <dgm:spPr/>
    </dgm:pt>
    <dgm:pt modelId="{ACDD82AA-3F21-43E2-9F3D-2DB5BD910EA3}" type="pres">
      <dgm:prSet presAssocID="{0799EEDA-4FCC-46D4-A318-7A0132DEB4FA}" presName="compNode" presStyleCnt="0"/>
      <dgm:spPr/>
    </dgm:pt>
    <dgm:pt modelId="{EB7A11B7-40C9-4C2D-8501-6AE16A4B4787}" type="pres">
      <dgm:prSet presAssocID="{0799EEDA-4FCC-46D4-A318-7A0132DEB4FA}" presName="bgRect" presStyleLbl="bgShp" presStyleIdx="2" presStyleCnt="3"/>
      <dgm:spPr/>
    </dgm:pt>
    <dgm:pt modelId="{215D742C-8E7A-4351-9153-F2BE9EF856CA}" type="pres">
      <dgm:prSet presAssocID="{0799EEDA-4FCC-46D4-A318-7A0132DEB4F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Leaf"/>
        </a:ext>
      </dgm:extLst>
    </dgm:pt>
    <dgm:pt modelId="{EB3E9581-42E6-4BB6-9B35-7CD49B12861E}" type="pres">
      <dgm:prSet presAssocID="{0799EEDA-4FCC-46D4-A318-7A0132DEB4FA}" presName="spaceRect" presStyleCnt="0"/>
      <dgm:spPr/>
    </dgm:pt>
    <dgm:pt modelId="{E1C1712B-1734-4443-88F1-E5E5CB441BAD}" type="pres">
      <dgm:prSet presAssocID="{0799EEDA-4FCC-46D4-A318-7A0132DEB4FA}" presName="parTx" presStyleLbl="revTx" presStyleIdx="2" presStyleCnt="3">
        <dgm:presLayoutVars>
          <dgm:chMax val="0"/>
          <dgm:chPref val="0"/>
        </dgm:presLayoutVars>
      </dgm:prSet>
      <dgm:spPr/>
    </dgm:pt>
  </dgm:ptLst>
  <dgm:cxnLst>
    <dgm:cxn modelId="{BDACCE14-1418-4628-B170-14C9AF52ADCB}" srcId="{E2C30745-E177-40AE-83F3-00955AE4B0D9}" destId="{0799EEDA-4FCC-46D4-A318-7A0132DEB4FA}" srcOrd="2" destOrd="0" parTransId="{1AA5EF74-31A9-4C0B-9DCE-8C326EB735DA}" sibTransId="{757E11B7-695A-4EC5-9019-C211684A5DAE}"/>
    <dgm:cxn modelId="{4FD3D87F-E324-4022-AECA-FAF7FA180975}" srcId="{E2C30745-E177-40AE-83F3-00955AE4B0D9}" destId="{C510EAD0-82C4-46FB-A3B5-0FBA4E1F33AD}" srcOrd="0" destOrd="0" parTransId="{0CD25B61-1CD1-48F4-AACF-A7650D9E7CEF}" sibTransId="{352F8E03-ACFB-4ED3-A72B-5507D1386F24}"/>
    <dgm:cxn modelId="{4E25CE8B-2948-4C95-9CEA-A558588F68EC}" type="presOf" srcId="{C510EAD0-82C4-46FB-A3B5-0FBA4E1F33AD}" destId="{AC670E33-B6FE-417B-AD49-1677CFE5F27A}" srcOrd="0" destOrd="0" presId="urn:microsoft.com/office/officeart/2018/2/layout/IconVerticalSolidList"/>
    <dgm:cxn modelId="{3C3B8FA8-BE5F-4C58-9D29-4EE7E780C162}" srcId="{E2C30745-E177-40AE-83F3-00955AE4B0D9}" destId="{BD7550B3-7175-4F09-8C63-D7A003C78A24}" srcOrd="1" destOrd="0" parTransId="{8E781184-2945-40A8-9A77-D283954DB444}" sibTransId="{A9B5B686-0086-4CE1-8C09-52C127677A70}"/>
    <dgm:cxn modelId="{9D7C0EBE-9C8B-4853-B63C-6911423F658C}" type="presOf" srcId="{BD7550B3-7175-4F09-8C63-D7A003C78A24}" destId="{1C76F333-EA8D-49F9-A11E-5FE023BA65DD}" srcOrd="0" destOrd="0" presId="urn:microsoft.com/office/officeart/2018/2/layout/IconVerticalSolidList"/>
    <dgm:cxn modelId="{AA32F4BE-8F66-4704-8B42-8EB08E4395A6}" type="presOf" srcId="{0799EEDA-4FCC-46D4-A318-7A0132DEB4FA}" destId="{E1C1712B-1734-4443-88F1-E5E5CB441BAD}" srcOrd="0" destOrd="0" presId="urn:microsoft.com/office/officeart/2018/2/layout/IconVerticalSolidList"/>
    <dgm:cxn modelId="{BD4F60F8-725E-40D6-90D4-A7BEA0DEE7C8}" type="presOf" srcId="{E2C30745-E177-40AE-83F3-00955AE4B0D9}" destId="{D0ADAED9-7825-44A0-88DC-D03C3F88EF1E}" srcOrd="0" destOrd="0" presId="urn:microsoft.com/office/officeart/2018/2/layout/IconVerticalSolidList"/>
    <dgm:cxn modelId="{82AECDAB-22CC-4997-8F09-7A5CA21AF56D}" type="presParOf" srcId="{D0ADAED9-7825-44A0-88DC-D03C3F88EF1E}" destId="{198201F8-6371-42E0-8230-BACA3B827C82}" srcOrd="0" destOrd="0" presId="urn:microsoft.com/office/officeart/2018/2/layout/IconVerticalSolidList"/>
    <dgm:cxn modelId="{81D18962-5D65-44EE-8DA3-869EF0DF4FED}" type="presParOf" srcId="{198201F8-6371-42E0-8230-BACA3B827C82}" destId="{869D3DFA-3FA5-4AAC-9049-393145ACFE06}" srcOrd="0" destOrd="0" presId="urn:microsoft.com/office/officeart/2018/2/layout/IconVerticalSolidList"/>
    <dgm:cxn modelId="{E0DA7A43-D41A-4B40-9FF1-857FF3FCF81C}" type="presParOf" srcId="{198201F8-6371-42E0-8230-BACA3B827C82}" destId="{9389BA8E-8C1F-4DC3-9496-56C4BF41A21B}" srcOrd="1" destOrd="0" presId="urn:microsoft.com/office/officeart/2018/2/layout/IconVerticalSolidList"/>
    <dgm:cxn modelId="{676EEC38-CE66-48AD-AB68-04045B03CA73}" type="presParOf" srcId="{198201F8-6371-42E0-8230-BACA3B827C82}" destId="{C2AEB32C-DC1E-452F-B240-926B39306551}" srcOrd="2" destOrd="0" presId="urn:microsoft.com/office/officeart/2018/2/layout/IconVerticalSolidList"/>
    <dgm:cxn modelId="{F69D2929-4C17-4781-BB10-93B656305656}" type="presParOf" srcId="{198201F8-6371-42E0-8230-BACA3B827C82}" destId="{AC670E33-B6FE-417B-AD49-1677CFE5F27A}" srcOrd="3" destOrd="0" presId="urn:microsoft.com/office/officeart/2018/2/layout/IconVerticalSolidList"/>
    <dgm:cxn modelId="{CAF93B35-5148-4D06-8EB7-39737E0D2492}" type="presParOf" srcId="{D0ADAED9-7825-44A0-88DC-D03C3F88EF1E}" destId="{D152CAEB-4942-41AA-B046-54F737C6016C}" srcOrd="1" destOrd="0" presId="urn:microsoft.com/office/officeart/2018/2/layout/IconVerticalSolidList"/>
    <dgm:cxn modelId="{C3DD8086-B1C7-4938-A36A-3BA40A3738C6}" type="presParOf" srcId="{D0ADAED9-7825-44A0-88DC-D03C3F88EF1E}" destId="{34C5D7BB-5538-46FD-9CA6-E37DCCF67F66}" srcOrd="2" destOrd="0" presId="urn:microsoft.com/office/officeart/2018/2/layout/IconVerticalSolidList"/>
    <dgm:cxn modelId="{C93B2B40-AC5C-470B-A4C0-AAE6FB0C2FE1}" type="presParOf" srcId="{34C5D7BB-5538-46FD-9CA6-E37DCCF67F66}" destId="{812C09F5-1E00-4F05-9F75-7B18F51B805F}" srcOrd="0" destOrd="0" presId="urn:microsoft.com/office/officeart/2018/2/layout/IconVerticalSolidList"/>
    <dgm:cxn modelId="{6D4DF964-2410-4C6B-8C54-C40FB1C68916}" type="presParOf" srcId="{34C5D7BB-5538-46FD-9CA6-E37DCCF67F66}" destId="{6434B39B-B6B7-44E0-AFF6-E190ABAF226B}" srcOrd="1" destOrd="0" presId="urn:microsoft.com/office/officeart/2018/2/layout/IconVerticalSolidList"/>
    <dgm:cxn modelId="{9BFF3E1F-6182-4B6B-8B03-E20FE43620FA}" type="presParOf" srcId="{34C5D7BB-5538-46FD-9CA6-E37DCCF67F66}" destId="{7D407D15-2E5D-4FD5-8657-5CEFEA1DA906}" srcOrd="2" destOrd="0" presId="urn:microsoft.com/office/officeart/2018/2/layout/IconVerticalSolidList"/>
    <dgm:cxn modelId="{6A417D92-1A4E-4F23-9481-852F2CEAC949}" type="presParOf" srcId="{34C5D7BB-5538-46FD-9CA6-E37DCCF67F66}" destId="{1C76F333-EA8D-49F9-A11E-5FE023BA65DD}" srcOrd="3" destOrd="0" presId="urn:microsoft.com/office/officeart/2018/2/layout/IconVerticalSolidList"/>
    <dgm:cxn modelId="{7AFF6BFF-1DC4-4056-BE23-D6062408A37E}" type="presParOf" srcId="{D0ADAED9-7825-44A0-88DC-D03C3F88EF1E}" destId="{7E13CB27-3678-484E-A0D6-86AE2633A80C}" srcOrd="3" destOrd="0" presId="urn:microsoft.com/office/officeart/2018/2/layout/IconVerticalSolidList"/>
    <dgm:cxn modelId="{99D4D96D-79AF-4B5E-B3FD-39BDC9E6256C}" type="presParOf" srcId="{D0ADAED9-7825-44A0-88DC-D03C3F88EF1E}" destId="{ACDD82AA-3F21-43E2-9F3D-2DB5BD910EA3}" srcOrd="4" destOrd="0" presId="urn:microsoft.com/office/officeart/2018/2/layout/IconVerticalSolidList"/>
    <dgm:cxn modelId="{B9BCC9D1-D4FF-442F-9F2D-954EF9D32180}" type="presParOf" srcId="{ACDD82AA-3F21-43E2-9F3D-2DB5BD910EA3}" destId="{EB7A11B7-40C9-4C2D-8501-6AE16A4B4787}" srcOrd="0" destOrd="0" presId="urn:microsoft.com/office/officeart/2018/2/layout/IconVerticalSolidList"/>
    <dgm:cxn modelId="{28DAD356-27DD-4035-99B4-447802526590}" type="presParOf" srcId="{ACDD82AA-3F21-43E2-9F3D-2DB5BD910EA3}" destId="{215D742C-8E7A-4351-9153-F2BE9EF856CA}" srcOrd="1" destOrd="0" presId="urn:microsoft.com/office/officeart/2018/2/layout/IconVerticalSolidList"/>
    <dgm:cxn modelId="{1CFF5807-5663-47B8-BCBB-2C4C3F6C8A88}" type="presParOf" srcId="{ACDD82AA-3F21-43E2-9F3D-2DB5BD910EA3}" destId="{EB3E9581-42E6-4BB6-9B35-7CD49B12861E}" srcOrd="2" destOrd="0" presId="urn:microsoft.com/office/officeart/2018/2/layout/IconVerticalSolidList"/>
    <dgm:cxn modelId="{D23D935A-1E1A-4AD1-9FDF-A95C1A775DF0}" type="presParOf" srcId="{ACDD82AA-3F21-43E2-9F3D-2DB5BD910EA3}" destId="{E1C1712B-1734-4443-88F1-E5E5CB441BA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59479431-47E4-48C1-91FC-191073E5AF5E}" type="doc">
      <dgm:prSet loTypeId="urn:microsoft.com/office/officeart/2005/8/layout/lProcess3" loCatId="process" qsTypeId="urn:microsoft.com/office/officeart/2005/8/quickstyle/simple1" qsCatId="simple" csTypeId="urn:microsoft.com/office/officeart/2005/8/colors/accent0_3" csCatId="mainScheme" phldr="1"/>
      <dgm:spPr/>
      <dgm:t>
        <a:bodyPr/>
        <a:lstStyle/>
        <a:p>
          <a:endParaRPr lang="en-US"/>
        </a:p>
      </dgm:t>
    </dgm:pt>
    <dgm:pt modelId="{89A26833-97AF-4C5C-A4B1-8BBAA6E612F3}" type="pres">
      <dgm:prSet presAssocID="{59479431-47E4-48C1-91FC-191073E5AF5E}" presName="Name0" presStyleCnt="0">
        <dgm:presLayoutVars>
          <dgm:chPref val="3"/>
          <dgm:dir/>
          <dgm:animLvl val="lvl"/>
          <dgm:resizeHandles/>
        </dgm:presLayoutVars>
      </dgm:prSet>
      <dgm:spPr/>
    </dgm:pt>
  </dgm:ptLst>
  <dgm:cxnLst>
    <dgm:cxn modelId="{1E660AFD-57D6-4B9D-AD76-F79338486612}" type="presOf" srcId="{59479431-47E4-48C1-91FC-191073E5AF5E}" destId="{89A26833-97AF-4C5C-A4B1-8BBAA6E612F3}" srcOrd="0" destOrd="0" presId="urn:microsoft.com/office/officeart/2005/8/layout/lProcess3"/>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7EE19498-2B39-436E-8C5F-C9E5A5AB0F53}"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AACDFCD-5327-4DAB-9E9D-CB15748B2839}">
      <dgm:prSet custT="1"/>
      <dgm:spPr/>
      <dgm:t>
        <a:bodyPr/>
        <a:lstStyle/>
        <a:p>
          <a:r>
            <a:rPr lang="en-US" sz="2400" baseline="0" dirty="0"/>
            <a:t>Select * - lose the ability to do column elimination</a:t>
          </a:r>
          <a:endParaRPr lang="en-US" sz="2400" dirty="0"/>
        </a:p>
      </dgm:t>
    </dgm:pt>
    <dgm:pt modelId="{40CA0504-505A-48A0-B09C-AB91797F74D1}" type="parTrans" cxnId="{C11BBF53-0627-42E5-98F0-42C663549202}">
      <dgm:prSet/>
      <dgm:spPr/>
      <dgm:t>
        <a:bodyPr/>
        <a:lstStyle/>
        <a:p>
          <a:endParaRPr lang="en-US"/>
        </a:p>
      </dgm:t>
    </dgm:pt>
    <dgm:pt modelId="{A115457C-3495-43B0-AF8F-75C0CA2B6B14}" type="sibTrans" cxnId="{C11BBF53-0627-42E5-98F0-42C663549202}">
      <dgm:prSet/>
      <dgm:spPr/>
      <dgm:t>
        <a:bodyPr/>
        <a:lstStyle/>
        <a:p>
          <a:endParaRPr lang="en-US"/>
        </a:p>
      </dgm:t>
    </dgm:pt>
    <dgm:pt modelId="{317FBBB7-EF55-4F6C-8DC8-FE7ECD4E00E7}">
      <dgm:prSet custT="1"/>
      <dgm:spPr/>
      <dgm:t>
        <a:bodyPr/>
        <a:lstStyle/>
        <a:p>
          <a:r>
            <a:rPr lang="en-US" sz="2400" baseline="0" dirty="0"/>
            <a:t>Point-lookup – easier to find a particular row in a rowstore table</a:t>
          </a:r>
          <a:endParaRPr lang="en-US" sz="2400" dirty="0"/>
        </a:p>
      </dgm:t>
    </dgm:pt>
    <dgm:pt modelId="{25C06727-469E-4631-BACD-318B2A857C6B}" type="parTrans" cxnId="{A4208019-BAA1-47B8-ADD7-DA2EE1FA1577}">
      <dgm:prSet/>
      <dgm:spPr/>
      <dgm:t>
        <a:bodyPr/>
        <a:lstStyle/>
        <a:p>
          <a:endParaRPr lang="en-US"/>
        </a:p>
      </dgm:t>
    </dgm:pt>
    <dgm:pt modelId="{BD36D7EA-84A6-4686-9967-2B94338D8E08}" type="sibTrans" cxnId="{A4208019-BAA1-47B8-ADD7-DA2EE1FA1577}">
      <dgm:prSet/>
      <dgm:spPr/>
      <dgm:t>
        <a:bodyPr/>
        <a:lstStyle/>
        <a:p>
          <a:endParaRPr lang="en-US"/>
        </a:p>
      </dgm:t>
    </dgm:pt>
    <dgm:pt modelId="{F0899AEB-A71B-47FC-9FDB-0EC07BEDEE0E}">
      <dgm:prSet custT="1"/>
      <dgm:spPr/>
      <dgm:t>
        <a:bodyPr/>
        <a:lstStyle/>
        <a:p>
          <a:r>
            <a:rPr lang="en-US" sz="2400" baseline="0" dirty="0"/>
            <a:t>Selecting a range – rowstore can more easily grab that range of rows</a:t>
          </a:r>
          <a:endParaRPr lang="en-US" sz="2400" dirty="0"/>
        </a:p>
      </dgm:t>
    </dgm:pt>
    <dgm:pt modelId="{E02FABAD-2722-4E74-B28E-F2EA4B5102A9}" type="parTrans" cxnId="{92E65CDB-AE4A-42AF-83E0-0528BDA5DC89}">
      <dgm:prSet/>
      <dgm:spPr/>
      <dgm:t>
        <a:bodyPr/>
        <a:lstStyle/>
        <a:p>
          <a:endParaRPr lang="en-US"/>
        </a:p>
      </dgm:t>
    </dgm:pt>
    <dgm:pt modelId="{0A52F6C5-5901-407F-8DBE-097A779BD419}" type="sibTrans" cxnId="{92E65CDB-AE4A-42AF-83E0-0528BDA5DC89}">
      <dgm:prSet/>
      <dgm:spPr/>
      <dgm:t>
        <a:bodyPr/>
        <a:lstStyle/>
        <a:p>
          <a:endParaRPr lang="en-US"/>
        </a:p>
      </dgm:t>
    </dgm:pt>
    <dgm:pt modelId="{1345FC58-9275-4649-AD7E-B5741BF68379}">
      <dgm:prSet custT="1"/>
      <dgm:spPr/>
      <dgm:t>
        <a:bodyPr/>
        <a:lstStyle/>
        <a:p>
          <a:r>
            <a:rPr lang="en-US" sz="2400" baseline="0"/>
            <a:t>A lot of DML – more overhead in CCI.</a:t>
          </a:r>
          <a:endParaRPr lang="en-US" sz="2400"/>
        </a:p>
      </dgm:t>
    </dgm:pt>
    <dgm:pt modelId="{946DD00D-73F4-4AAC-9AE3-3DCA285EEA80}" type="parTrans" cxnId="{9551DDA9-BEF8-4B9B-BF2B-4054F2B75855}">
      <dgm:prSet/>
      <dgm:spPr/>
      <dgm:t>
        <a:bodyPr/>
        <a:lstStyle/>
        <a:p>
          <a:endParaRPr lang="en-US"/>
        </a:p>
      </dgm:t>
    </dgm:pt>
    <dgm:pt modelId="{157633C6-0073-4333-B4BA-E94A293DACD3}" type="sibTrans" cxnId="{9551DDA9-BEF8-4B9B-BF2B-4054F2B75855}">
      <dgm:prSet/>
      <dgm:spPr/>
      <dgm:t>
        <a:bodyPr/>
        <a:lstStyle/>
        <a:p>
          <a:endParaRPr lang="en-US"/>
        </a:p>
      </dgm:t>
    </dgm:pt>
    <dgm:pt modelId="{2CEF0780-1B61-4A4A-AE15-66BF55AE9FC7}">
      <dgm:prSet custT="1"/>
      <dgm:spPr/>
      <dgm:t>
        <a:bodyPr/>
        <a:lstStyle/>
        <a:p>
          <a:r>
            <a:rPr lang="en-US" sz="2400" baseline="0"/>
            <a:t>UPDATE = DELETE old row, INSERT new row</a:t>
          </a:r>
          <a:endParaRPr lang="en-US" sz="2400"/>
        </a:p>
      </dgm:t>
    </dgm:pt>
    <dgm:pt modelId="{EAFA1DB9-9A20-463A-8250-898222B55DED}" type="parTrans" cxnId="{5258F403-566C-4B79-B3DB-E4ABC9CAAF8A}">
      <dgm:prSet/>
      <dgm:spPr/>
      <dgm:t>
        <a:bodyPr/>
        <a:lstStyle/>
        <a:p>
          <a:endParaRPr lang="en-US"/>
        </a:p>
      </dgm:t>
    </dgm:pt>
    <dgm:pt modelId="{2AAA33CF-72EF-4AAA-B5FD-F1A8125C641B}" type="sibTrans" cxnId="{5258F403-566C-4B79-B3DB-E4ABC9CAAF8A}">
      <dgm:prSet/>
      <dgm:spPr/>
      <dgm:t>
        <a:bodyPr/>
        <a:lstStyle/>
        <a:p>
          <a:endParaRPr lang="en-US"/>
        </a:p>
      </dgm:t>
    </dgm:pt>
    <dgm:pt modelId="{E4502299-6DCA-44C2-8BA5-0D6FC2C39FAD}">
      <dgm:prSet custT="1"/>
      <dgm:spPr/>
      <dgm:t>
        <a:bodyPr/>
        <a:lstStyle/>
        <a:p>
          <a:r>
            <a:rPr lang="en-US" sz="2400" baseline="0" dirty="0"/>
            <a:t>DELETE – rows are only logically deleted until an ALTER INDEX REBUILD* is issued</a:t>
          </a:r>
          <a:endParaRPr lang="en-US" sz="2400" dirty="0"/>
        </a:p>
      </dgm:t>
    </dgm:pt>
    <dgm:pt modelId="{5B25B875-A19A-4583-AF54-A1053DC1E1CF}" type="parTrans" cxnId="{1524ADD8-FE05-4B4E-8680-7D0136DBC7CD}">
      <dgm:prSet/>
      <dgm:spPr/>
      <dgm:t>
        <a:bodyPr/>
        <a:lstStyle/>
        <a:p>
          <a:endParaRPr lang="en-US"/>
        </a:p>
      </dgm:t>
    </dgm:pt>
    <dgm:pt modelId="{DA51488D-4953-4CAD-8477-5EFF67511620}" type="sibTrans" cxnId="{1524ADD8-FE05-4B4E-8680-7D0136DBC7CD}">
      <dgm:prSet/>
      <dgm:spPr/>
      <dgm:t>
        <a:bodyPr/>
        <a:lstStyle/>
        <a:p>
          <a:endParaRPr lang="en-US"/>
        </a:p>
      </dgm:t>
    </dgm:pt>
    <dgm:pt modelId="{8BBDBB5C-2ED0-4E07-896B-663160D0C596}" type="pres">
      <dgm:prSet presAssocID="{7EE19498-2B39-436E-8C5F-C9E5A5AB0F53}" presName="linear" presStyleCnt="0">
        <dgm:presLayoutVars>
          <dgm:animLvl val="lvl"/>
          <dgm:resizeHandles val="exact"/>
        </dgm:presLayoutVars>
      </dgm:prSet>
      <dgm:spPr/>
    </dgm:pt>
    <dgm:pt modelId="{7A6D45A7-852E-4C0B-A34E-0B1EF1D8A232}" type="pres">
      <dgm:prSet presAssocID="{9AACDFCD-5327-4DAB-9E9D-CB15748B2839}" presName="parentText" presStyleLbl="node1" presStyleIdx="0" presStyleCnt="4">
        <dgm:presLayoutVars>
          <dgm:chMax val="0"/>
          <dgm:bulletEnabled val="1"/>
        </dgm:presLayoutVars>
      </dgm:prSet>
      <dgm:spPr/>
    </dgm:pt>
    <dgm:pt modelId="{AF23FF1E-AC46-4746-B69C-3001E5064C36}" type="pres">
      <dgm:prSet presAssocID="{A115457C-3495-43B0-AF8F-75C0CA2B6B14}" presName="spacer" presStyleCnt="0"/>
      <dgm:spPr/>
    </dgm:pt>
    <dgm:pt modelId="{AD3383DE-0B54-4FAE-9915-F9222DD5B01B}" type="pres">
      <dgm:prSet presAssocID="{317FBBB7-EF55-4F6C-8DC8-FE7ECD4E00E7}" presName="parentText" presStyleLbl="node1" presStyleIdx="1" presStyleCnt="4">
        <dgm:presLayoutVars>
          <dgm:chMax val="0"/>
          <dgm:bulletEnabled val="1"/>
        </dgm:presLayoutVars>
      </dgm:prSet>
      <dgm:spPr/>
    </dgm:pt>
    <dgm:pt modelId="{F603C93A-C4E0-4742-A6D2-85BD6C71FAA7}" type="pres">
      <dgm:prSet presAssocID="{BD36D7EA-84A6-4686-9967-2B94338D8E08}" presName="spacer" presStyleCnt="0"/>
      <dgm:spPr/>
    </dgm:pt>
    <dgm:pt modelId="{FE2BB801-2F67-422D-9958-A1D5147DBBD8}" type="pres">
      <dgm:prSet presAssocID="{F0899AEB-A71B-47FC-9FDB-0EC07BEDEE0E}" presName="parentText" presStyleLbl="node1" presStyleIdx="2" presStyleCnt="4">
        <dgm:presLayoutVars>
          <dgm:chMax val="0"/>
          <dgm:bulletEnabled val="1"/>
        </dgm:presLayoutVars>
      </dgm:prSet>
      <dgm:spPr/>
    </dgm:pt>
    <dgm:pt modelId="{F205109A-DFAC-4ACE-946B-1DC1D025338A}" type="pres">
      <dgm:prSet presAssocID="{0A52F6C5-5901-407F-8DBE-097A779BD419}" presName="spacer" presStyleCnt="0"/>
      <dgm:spPr/>
    </dgm:pt>
    <dgm:pt modelId="{16828447-DE25-4F22-8BC1-2EE0F8D345CD}" type="pres">
      <dgm:prSet presAssocID="{1345FC58-9275-4649-AD7E-B5741BF68379}" presName="parentText" presStyleLbl="node1" presStyleIdx="3" presStyleCnt="4">
        <dgm:presLayoutVars>
          <dgm:chMax val="0"/>
          <dgm:bulletEnabled val="1"/>
        </dgm:presLayoutVars>
      </dgm:prSet>
      <dgm:spPr/>
    </dgm:pt>
    <dgm:pt modelId="{CB5C7603-8134-4F8A-92CF-E0963CB374B9}" type="pres">
      <dgm:prSet presAssocID="{1345FC58-9275-4649-AD7E-B5741BF68379}" presName="childText" presStyleLbl="revTx" presStyleIdx="0" presStyleCnt="1">
        <dgm:presLayoutVars>
          <dgm:bulletEnabled val="1"/>
        </dgm:presLayoutVars>
      </dgm:prSet>
      <dgm:spPr/>
    </dgm:pt>
  </dgm:ptLst>
  <dgm:cxnLst>
    <dgm:cxn modelId="{FE0EFE01-80B8-479B-AA4F-ACA33F605C8C}" type="presOf" srcId="{317FBBB7-EF55-4F6C-8DC8-FE7ECD4E00E7}" destId="{AD3383DE-0B54-4FAE-9915-F9222DD5B01B}" srcOrd="0" destOrd="0" presId="urn:microsoft.com/office/officeart/2005/8/layout/vList2"/>
    <dgm:cxn modelId="{5258F403-566C-4B79-B3DB-E4ABC9CAAF8A}" srcId="{1345FC58-9275-4649-AD7E-B5741BF68379}" destId="{2CEF0780-1B61-4A4A-AE15-66BF55AE9FC7}" srcOrd="0" destOrd="0" parTransId="{EAFA1DB9-9A20-463A-8250-898222B55DED}" sibTransId="{2AAA33CF-72EF-4AAA-B5FD-F1A8125C641B}"/>
    <dgm:cxn modelId="{A4208019-BAA1-47B8-ADD7-DA2EE1FA1577}" srcId="{7EE19498-2B39-436E-8C5F-C9E5A5AB0F53}" destId="{317FBBB7-EF55-4F6C-8DC8-FE7ECD4E00E7}" srcOrd="1" destOrd="0" parTransId="{25C06727-469E-4631-BACD-318B2A857C6B}" sibTransId="{BD36D7EA-84A6-4686-9967-2B94338D8E08}"/>
    <dgm:cxn modelId="{10BAE228-9093-405F-AE35-D5AEB3C05783}" type="presOf" srcId="{E4502299-6DCA-44C2-8BA5-0D6FC2C39FAD}" destId="{CB5C7603-8134-4F8A-92CF-E0963CB374B9}" srcOrd="0" destOrd="1" presId="urn:microsoft.com/office/officeart/2005/8/layout/vList2"/>
    <dgm:cxn modelId="{C365F02A-E52C-42B5-B3DF-B253FC6B3441}" type="presOf" srcId="{F0899AEB-A71B-47FC-9FDB-0EC07BEDEE0E}" destId="{FE2BB801-2F67-422D-9958-A1D5147DBBD8}" srcOrd="0" destOrd="0" presId="urn:microsoft.com/office/officeart/2005/8/layout/vList2"/>
    <dgm:cxn modelId="{C11BBF53-0627-42E5-98F0-42C663549202}" srcId="{7EE19498-2B39-436E-8C5F-C9E5A5AB0F53}" destId="{9AACDFCD-5327-4DAB-9E9D-CB15748B2839}" srcOrd="0" destOrd="0" parTransId="{40CA0504-505A-48A0-B09C-AB91797F74D1}" sibTransId="{A115457C-3495-43B0-AF8F-75C0CA2B6B14}"/>
    <dgm:cxn modelId="{7E39F653-1FFD-492D-AD02-3D80ADD65D12}" type="presOf" srcId="{2CEF0780-1B61-4A4A-AE15-66BF55AE9FC7}" destId="{CB5C7603-8134-4F8A-92CF-E0963CB374B9}" srcOrd="0" destOrd="0" presId="urn:microsoft.com/office/officeart/2005/8/layout/vList2"/>
    <dgm:cxn modelId="{8431077C-675F-4A43-9A7C-CBA69D797238}" type="presOf" srcId="{9AACDFCD-5327-4DAB-9E9D-CB15748B2839}" destId="{7A6D45A7-852E-4C0B-A34E-0B1EF1D8A232}" srcOrd="0" destOrd="0" presId="urn:microsoft.com/office/officeart/2005/8/layout/vList2"/>
    <dgm:cxn modelId="{1521E791-7F01-486D-81D3-808AF4B7B041}" type="presOf" srcId="{1345FC58-9275-4649-AD7E-B5741BF68379}" destId="{16828447-DE25-4F22-8BC1-2EE0F8D345CD}" srcOrd="0" destOrd="0" presId="urn:microsoft.com/office/officeart/2005/8/layout/vList2"/>
    <dgm:cxn modelId="{9551DDA9-BEF8-4B9B-BF2B-4054F2B75855}" srcId="{7EE19498-2B39-436E-8C5F-C9E5A5AB0F53}" destId="{1345FC58-9275-4649-AD7E-B5741BF68379}" srcOrd="3" destOrd="0" parTransId="{946DD00D-73F4-4AAC-9AE3-3DCA285EEA80}" sibTransId="{157633C6-0073-4333-B4BA-E94A293DACD3}"/>
    <dgm:cxn modelId="{7C5D6ED5-07AF-42AF-8BB4-BA67455B43B6}" type="presOf" srcId="{7EE19498-2B39-436E-8C5F-C9E5A5AB0F53}" destId="{8BBDBB5C-2ED0-4E07-896B-663160D0C596}" srcOrd="0" destOrd="0" presId="urn:microsoft.com/office/officeart/2005/8/layout/vList2"/>
    <dgm:cxn modelId="{1524ADD8-FE05-4B4E-8680-7D0136DBC7CD}" srcId="{1345FC58-9275-4649-AD7E-B5741BF68379}" destId="{E4502299-6DCA-44C2-8BA5-0D6FC2C39FAD}" srcOrd="1" destOrd="0" parTransId="{5B25B875-A19A-4583-AF54-A1053DC1E1CF}" sibTransId="{DA51488D-4953-4CAD-8477-5EFF67511620}"/>
    <dgm:cxn modelId="{92E65CDB-AE4A-42AF-83E0-0528BDA5DC89}" srcId="{7EE19498-2B39-436E-8C5F-C9E5A5AB0F53}" destId="{F0899AEB-A71B-47FC-9FDB-0EC07BEDEE0E}" srcOrd="2" destOrd="0" parTransId="{E02FABAD-2722-4E74-B28E-F2EA4B5102A9}" sibTransId="{0A52F6C5-5901-407F-8DBE-097A779BD419}"/>
    <dgm:cxn modelId="{931B7D38-DBCD-43CB-BCFE-1BB5E4C6612E}" type="presParOf" srcId="{8BBDBB5C-2ED0-4E07-896B-663160D0C596}" destId="{7A6D45A7-852E-4C0B-A34E-0B1EF1D8A232}" srcOrd="0" destOrd="0" presId="urn:microsoft.com/office/officeart/2005/8/layout/vList2"/>
    <dgm:cxn modelId="{5202B8B5-DE2F-47DF-B53B-5130F5CC6656}" type="presParOf" srcId="{8BBDBB5C-2ED0-4E07-896B-663160D0C596}" destId="{AF23FF1E-AC46-4746-B69C-3001E5064C36}" srcOrd="1" destOrd="0" presId="urn:microsoft.com/office/officeart/2005/8/layout/vList2"/>
    <dgm:cxn modelId="{EEFF1831-08F5-44D8-8FEC-D6C341472BD9}" type="presParOf" srcId="{8BBDBB5C-2ED0-4E07-896B-663160D0C596}" destId="{AD3383DE-0B54-4FAE-9915-F9222DD5B01B}" srcOrd="2" destOrd="0" presId="urn:microsoft.com/office/officeart/2005/8/layout/vList2"/>
    <dgm:cxn modelId="{0F76C698-9CA5-4EF7-9943-19E36D2EA57B}" type="presParOf" srcId="{8BBDBB5C-2ED0-4E07-896B-663160D0C596}" destId="{F603C93A-C4E0-4742-A6D2-85BD6C71FAA7}" srcOrd="3" destOrd="0" presId="urn:microsoft.com/office/officeart/2005/8/layout/vList2"/>
    <dgm:cxn modelId="{FD976569-A36A-42B2-9A16-E564FD339BE7}" type="presParOf" srcId="{8BBDBB5C-2ED0-4E07-896B-663160D0C596}" destId="{FE2BB801-2F67-422D-9958-A1D5147DBBD8}" srcOrd="4" destOrd="0" presId="urn:microsoft.com/office/officeart/2005/8/layout/vList2"/>
    <dgm:cxn modelId="{1304C2D5-571C-483B-BB17-3609B929D491}" type="presParOf" srcId="{8BBDBB5C-2ED0-4E07-896B-663160D0C596}" destId="{F205109A-DFAC-4ACE-946B-1DC1D025338A}" srcOrd="5" destOrd="0" presId="urn:microsoft.com/office/officeart/2005/8/layout/vList2"/>
    <dgm:cxn modelId="{EE706B91-D6CD-459A-BA3E-4B273EE0FD53}" type="presParOf" srcId="{8BBDBB5C-2ED0-4E07-896B-663160D0C596}" destId="{16828447-DE25-4F22-8BC1-2EE0F8D345CD}" srcOrd="6" destOrd="0" presId="urn:microsoft.com/office/officeart/2005/8/layout/vList2"/>
    <dgm:cxn modelId="{9EB1E3DD-276E-4B5D-B276-9466A56A44C5}" type="presParOf" srcId="{8BBDBB5C-2ED0-4E07-896B-663160D0C596}" destId="{CB5C7603-8134-4F8A-92CF-E0963CB374B9}"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8C65DD98-F359-4789-BD34-C2FA43AD8870}" type="doc">
      <dgm:prSet loTypeId="urn:microsoft.com/office/officeart/2005/8/layout/default" loCatId="list" qsTypeId="urn:microsoft.com/office/officeart/2005/8/quickstyle/simple4" qsCatId="simple" csTypeId="urn:microsoft.com/office/officeart/2005/8/colors/colorful1" csCatId="colorful" phldr="1"/>
      <dgm:spPr/>
      <dgm:t>
        <a:bodyPr/>
        <a:lstStyle/>
        <a:p>
          <a:endParaRPr lang="en-US"/>
        </a:p>
      </dgm:t>
    </dgm:pt>
    <dgm:pt modelId="{531249C9-6756-45F2-9A4C-2A0856395CE4}">
      <dgm:prSet/>
      <dgm:spPr/>
      <dgm:t>
        <a:bodyPr/>
        <a:lstStyle/>
        <a:p>
          <a:r>
            <a:rPr lang="en-US" baseline="0"/>
            <a:t>Process around 1000 rows at a time</a:t>
          </a:r>
          <a:endParaRPr lang="en-US"/>
        </a:p>
      </dgm:t>
    </dgm:pt>
    <dgm:pt modelId="{32601FFF-8ABB-403A-ACC2-EA0663F93B74}" type="parTrans" cxnId="{6C92F0CA-66A2-4437-9785-96E3606990B3}">
      <dgm:prSet/>
      <dgm:spPr/>
      <dgm:t>
        <a:bodyPr/>
        <a:lstStyle/>
        <a:p>
          <a:endParaRPr lang="en-US"/>
        </a:p>
      </dgm:t>
    </dgm:pt>
    <dgm:pt modelId="{57195B5C-9745-4DB4-BC02-9FA55F924097}" type="sibTrans" cxnId="{6C92F0CA-66A2-4437-9785-96E3606990B3}">
      <dgm:prSet/>
      <dgm:spPr/>
      <dgm:t>
        <a:bodyPr/>
        <a:lstStyle/>
        <a:p>
          <a:endParaRPr lang="en-US"/>
        </a:p>
      </dgm:t>
    </dgm:pt>
    <dgm:pt modelId="{4D9B59FB-B452-4270-946C-737424C5A383}">
      <dgm:prSet/>
      <dgm:spPr/>
      <dgm:t>
        <a:bodyPr/>
        <a:lstStyle/>
        <a:p>
          <a:r>
            <a:rPr lang="en-US" baseline="0" dirty="0"/>
            <a:t>As opposed to 1 row at a time with row-based processing</a:t>
          </a:r>
          <a:endParaRPr lang="en-US" dirty="0"/>
        </a:p>
      </dgm:t>
    </dgm:pt>
    <dgm:pt modelId="{5A01EFFB-11F8-48F4-9287-267DDC31B348}" type="parTrans" cxnId="{6FF0C6F7-047B-4479-95AD-11A5F3BF5EA0}">
      <dgm:prSet/>
      <dgm:spPr/>
      <dgm:t>
        <a:bodyPr/>
        <a:lstStyle/>
        <a:p>
          <a:endParaRPr lang="en-US"/>
        </a:p>
      </dgm:t>
    </dgm:pt>
    <dgm:pt modelId="{E16CD79F-BEF4-4AF9-927C-2A63E8338059}" type="sibTrans" cxnId="{6FF0C6F7-047B-4479-95AD-11A5F3BF5EA0}">
      <dgm:prSet/>
      <dgm:spPr/>
      <dgm:t>
        <a:bodyPr/>
        <a:lstStyle/>
        <a:p>
          <a:endParaRPr lang="en-US"/>
        </a:p>
      </dgm:t>
    </dgm:pt>
    <dgm:pt modelId="{49F25080-510E-48F1-A9D4-DDE1F00671C2}">
      <dgm:prSet/>
      <dgm:spPr/>
      <dgm:t>
        <a:bodyPr/>
        <a:lstStyle/>
        <a:p>
          <a:r>
            <a:rPr lang="en-US" baseline="0"/>
            <a:t>Not all query plan operators can perform batch processing</a:t>
          </a:r>
          <a:endParaRPr lang="en-US"/>
        </a:p>
      </dgm:t>
    </dgm:pt>
    <dgm:pt modelId="{D2EDCD64-D6AB-4325-BDD5-20B66281346A}" type="parTrans" cxnId="{37AD5E48-DAA3-4698-B174-558B64B6F138}">
      <dgm:prSet/>
      <dgm:spPr/>
      <dgm:t>
        <a:bodyPr/>
        <a:lstStyle/>
        <a:p>
          <a:endParaRPr lang="en-US"/>
        </a:p>
      </dgm:t>
    </dgm:pt>
    <dgm:pt modelId="{6CB1063A-6AB1-479C-9F75-3D2F1419B733}" type="sibTrans" cxnId="{37AD5E48-DAA3-4698-B174-558B64B6F138}">
      <dgm:prSet/>
      <dgm:spPr/>
      <dgm:t>
        <a:bodyPr/>
        <a:lstStyle/>
        <a:p>
          <a:endParaRPr lang="en-US"/>
        </a:p>
      </dgm:t>
    </dgm:pt>
    <dgm:pt modelId="{7D5464B9-5646-49D3-8E01-3BFF45E0F020}">
      <dgm:prSet/>
      <dgm:spPr/>
      <dgm:t>
        <a:bodyPr/>
        <a:lstStyle/>
        <a:p>
          <a:r>
            <a:rPr lang="en-US" baseline="0"/>
            <a:t>nested loops</a:t>
          </a:r>
          <a:endParaRPr lang="en-US"/>
        </a:p>
      </dgm:t>
    </dgm:pt>
    <dgm:pt modelId="{D6FE9461-2333-4603-9466-E3B819DEF236}" type="parTrans" cxnId="{F1F53BFC-3DC6-480D-8AB6-9CC65A738140}">
      <dgm:prSet/>
      <dgm:spPr/>
      <dgm:t>
        <a:bodyPr/>
        <a:lstStyle/>
        <a:p>
          <a:endParaRPr lang="en-US"/>
        </a:p>
      </dgm:t>
    </dgm:pt>
    <dgm:pt modelId="{5C760F25-9886-407A-AA5B-2DEA748B46FD}" type="sibTrans" cxnId="{F1F53BFC-3DC6-480D-8AB6-9CC65A738140}">
      <dgm:prSet/>
      <dgm:spPr/>
      <dgm:t>
        <a:bodyPr/>
        <a:lstStyle/>
        <a:p>
          <a:endParaRPr lang="en-US"/>
        </a:p>
      </dgm:t>
    </dgm:pt>
    <dgm:pt modelId="{2FCFA69D-9305-46E8-9986-55450F1D7F35}">
      <dgm:prSet/>
      <dgm:spPr/>
      <dgm:t>
        <a:bodyPr/>
        <a:lstStyle/>
        <a:p>
          <a:r>
            <a:rPr lang="en-US" baseline="0"/>
            <a:t>Plan operators are expanded in SQL Server 2016+</a:t>
          </a:r>
          <a:endParaRPr lang="en-US"/>
        </a:p>
      </dgm:t>
    </dgm:pt>
    <dgm:pt modelId="{3736C2A3-5FB5-4FE8-A7F6-034217489D35}" type="parTrans" cxnId="{019D346C-5F00-46E4-81D0-CD5055764EB7}">
      <dgm:prSet/>
      <dgm:spPr/>
      <dgm:t>
        <a:bodyPr/>
        <a:lstStyle/>
        <a:p>
          <a:endParaRPr lang="en-US"/>
        </a:p>
      </dgm:t>
    </dgm:pt>
    <dgm:pt modelId="{0CF94B1A-5073-4223-B4E2-4B7E426877B3}" type="sibTrans" cxnId="{019D346C-5F00-46E4-81D0-CD5055764EB7}">
      <dgm:prSet/>
      <dgm:spPr/>
      <dgm:t>
        <a:bodyPr/>
        <a:lstStyle/>
        <a:p>
          <a:endParaRPr lang="en-US"/>
        </a:p>
      </dgm:t>
    </dgm:pt>
    <dgm:pt modelId="{F520FFCC-2780-4409-B8BB-C7CEC125BD71}">
      <dgm:prSet/>
      <dgm:spPr/>
      <dgm:t>
        <a:bodyPr/>
        <a:lstStyle/>
        <a:p>
          <a:r>
            <a:rPr lang="en-US" baseline="0"/>
            <a:t>Greatly reduced CPU time (7 to 40X)</a:t>
          </a:r>
          <a:endParaRPr lang="en-US"/>
        </a:p>
      </dgm:t>
    </dgm:pt>
    <dgm:pt modelId="{CC34D489-9FA2-4D51-B75A-B37587785CAB}" type="parTrans" cxnId="{B6C376C0-380C-4394-B545-7DF6539BDC50}">
      <dgm:prSet/>
      <dgm:spPr/>
      <dgm:t>
        <a:bodyPr/>
        <a:lstStyle/>
        <a:p>
          <a:endParaRPr lang="en-US"/>
        </a:p>
      </dgm:t>
    </dgm:pt>
    <dgm:pt modelId="{892337F0-4A1F-4BFE-9882-117E343E2CAB}" type="sibTrans" cxnId="{B6C376C0-380C-4394-B545-7DF6539BDC50}">
      <dgm:prSet/>
      <dgm:spPr/>
      <dgm:t>
        <a:bodyPr/>
        <a:lstStyle/>
        <a:p>
          <a:endParaRPr lang="en-US"/>
        </a:p>
      </dgm:t>
    </dgm:pt>
    <dgm:pt modelId="{933E91D0-CEF0-449F-AE06-362C44A7A3E2}">
      <dgm:prSet/>
      <dgm:spPr/>
      <dgm:t>
        <a:bodyPr/>
        <a:lstStyle/>
        <a:p>
          <a:r>
            <a:rPr lang="en-US" baseline="0"/>
            <a:t>merge join</a:t>
          </a:r>
          <a:endParaRPr lang="en-US"/>
        </a:p>
      </dgm:t>
    </dgm:pt>
    <dgm:pt modelId="{7E2B6D88-9811-46DD-91E6-34E0A53EE0C2}" type="parTrans" cxnId="{1582A87E-271B-4B56-8A1E-402B329EC453}">
      <dgm:prSet/>
      <dgm:spPr/>
    </dgm:pt>
    <dgm:pt modelId="{F7D76232-CEF7-4A68-9EAA-8C547987ECAF}" type="sibTrans" cxnId="{1582A87E-271B-4B56-8A1E-402B329EC453}">
      <dgm:prSet/>
      <dgm:spPr/>
    </dgm:pt>
    <dgm:pt modelId="{B94F5C72-D8BC-42E1-9F39-36C3E16EC927}" type="pres">
      <dgm:prSet presAssocID="{8C65DD98-F359-4789-BD34-C2FA43AD8870}" presName="diagram" presStyleCnt="0">
        <dgm:presLayoutVars>
          <dgm:dir/>
          <dgm:resizeHandles val="exact"/>
        </dgm:presLayoutVars>
      </dgm:prSet>
      <dgm:spPr/>
    </dgm:pt>
    <dgm:pt modelId="{7D4AEB9D-2797-4985-B1DC-B7BC865AEF70}" type="pres">
      <dgm:prSet presAssocID="{531249C9-6756-45F2-9A4C-2A0856395CE4}" presName="node" presStyleLbl="node1" presStyleIdx="0" presStyleCnt="5">
        <dgm:presLayoutVars>
          <dgm:bulletEnabled val="1"/>
        </dgm:presLayoutVars>
      </dgm:prSet>
      <dgm:spPr/>
    </dgm:pt>
    <dgm:pt modelId="{B4D81332-5247-4D35-9389-3AE23F57157E}" type="pres">
      <dgm:prSet presAssocID="{57195B5C-9745-4DB4-BC02-9FA55F924097}" presName="sibTrans" presStyleCnt="0"/>
      <dgm:spPr/>
    </dgm:pt>
    <dgm:pt modelId="{6A70846C-F0B8-42EA-B638-3BE790113915}" type="pres">
      <dgm:prSet presAssocID="{4D9B59FB-B452-4270-946C-737424C5A383}" presName="node" presStyleLbl="node1" presStyleIdx="1" presStyleCnt="5">
        <dgm:presLayoutVars>
          <dgm:bulletEnabled val="1"/>
        </dgm:presLayoutVars>
      </dgm:prSet>
      <dgm:spPr/>
    </dgm:pt>
    <dgm:pt modelId="{227C80A8-193E-444D-8ACD-629BB3884BAD}" type="pres">
      <dgm:prSet presAssocID="{E16CD79F-BEF4-4AF9-927C-2A63E8338059}" presName="sibTrans" presStyleCnt="0"/>
      <dgm:spPr/>
    </dgm:pt>
    <dgm:pt modelId="{AAD0CDBF-6358-4899-9D9F-92895FBC30C6}" type="pres">
      <dgm:prSet presAssocID="{49F25080-510E-48F1-A9D4-DDE1F00671C2}" presName="node" presStyleLbl="node1" presStyleIdx="2" presStyleCnt="5">
        <dgm:presLayoutVars>
          <dgm:bulletEnabled val="1"/>
        </dgm:presLayoutVars>
      </dgm:prSet>
      <dgm:spPr/>
    </dgm:pt>
    <dgm:pt modelId="{ACF55965-5E15-4C2F-AAC4-C036CEB46D86}" type="pres">
      <dgm:prSet presAssocID="{6CB1063A-6AB1-479C-9F75-3D2F1419B733}" presName="sibTrans" presStyleCnt="0"/>
      <dgm:spPr/>
    </dgm:pt>
    <dgm:pt modelId="{78E1BC93-1E48-4F2C-93B4-03E5B84958B4}" type="pres">
      <dgm:prSet presAssocID="{2FCFA69D-9305-46E8-9986-55450F1D7F35}" presName="node" presStyleLbl="node1" presStyleIdx="3" presStyleCnt="5">
        <dgm:presLayoutVars>
          <dgm:bulletEnabled val="1"/>
        </dgm:presLayoutVars>
      </dgm:prSet>
      <dgm:spPr/>
    </dgm:pt>
    <dgm:pt modelId="{D56B25FA-D67D-47B6-ADF4-13C3DBA11AD8}" type="pres">
      <dgm:prSet presAssocID="{0CF94B1A-5073-4223-B4E2-4B7E426877B3}" presName="sibTrans" presStyleCnt="0"/>
      <dgm:spPr/>
    </dgm:pt>
    <dgm:pt modelId="{95C0C9A5-CFD4-4794-81F3-5052E30E15F8}" type="pres">
      <dgm:prSet presAssocID="{F520FFCC-2780-4409-B8BB-C7CEC125BD71}" presName="node" presStyleLbl="node1" presStyleIdx="4" presStyleCnt="5">
        <dgm:presLayoutVars>
          <dgm:bulletEnabled val="1"/>
        </dgm:presLayoutVars>
      </dgm:prSet>
      <dgm:spPr/>
    </dgm:pt>
  </dgm:ptLst>
  <dgm:cxnLst>
    <dgm:cxn modelId="{A59C9B01-C082-4DA2-B8BF-69D3ABFD8949}" type="presOf" srcId="{4D9B59FB-B452-4270-946C-737424C5A383}" destId="{6A70846C-F0B8-42EA-B638-3BE790113915}" srcOrd="0" destOrd="0" presId="urn:microsoft.com/office/officeart/2005/8/layout/default"/>
    <dgm:cxn modelId="{FF27D010-82AC-4E46-ABE9-E50AE8BA9324}" type="presOf" srcId="{933E91D0-CEF0-449F-AE06-362C44A7A3E2}" destId="{AAD0CDBF-6358-4899-9D9F-92895FBC30C6}" srcOrd="0" destOrd="2" presId="urn:microsoft.com/office/officeart/2005/8/layout/default"/>
    <dgm:cxn modelId="{E9DEB122-21C0-4A36-99BC-736EFF82A1DC}" type="presOf" srcId="{7D5464B9-5646-49D3-8E01-3BFF45E0F020}" destId="{AAD0CDBF-6358-4899-9D9F-92895FBC30C6}" srcOrd="0" destOrd="1" presId="urn:microsoft.com/office/officeart/2005/8/layout/default"/>
    <dgm:cxn modelId="{C0CBEB27-368E-44B4-96E9-0BD251011F12}" type="presOf" srcId="{531249C9-6756-45F2-9A4C-2A0856395CE4}" destId="{7D4AEB9D-2797-4985-B1DC-B7BC865AEF70}" srcOrd="0" destOrd="0" presId="urn:microsoft.com/office/officeart/2005/8/layout/default"/>
    <dgm:cxn modelId="{37AD5E48-DAA3-4698-B174-558B64B6F138}" srcId="{8C65DD98-F359-4789-BD34-C2FA43AD8870}" destId="{49F25080-510E-48F1-A9D4-DDE1F00671C2}" srcOrd="2" destOrd="0" parTransId="{D2EDCD64-D6AB-4325-BDD5-20B66281346A}" sibTransId="{6CB1063A-6AB1-479C-9F75-3D2F1419B733}"/>
    <dgm:cxn modelId="{07A21E6C-67BA-42B0-8851-8D54877FEEAE}" type="presOf" srcId="{8C65DD98-F359-4789-BD34-C2FA43AD8870}" destId="{B94F5C72-D8BC-42E1-9F39-36C3E16EC927}" srcOrd="0" destOrd="0" presId="urn:microsoft.com/office/officeart/2005/8/layout/default"/>
    <dgm:cxn modelId="{019D346C-5F00-46E4-81D0-CD5055764EB7}" srcId="{8C65DD98-F359-4789-BD34-C2FA43AD8870}" destId="{2FCFA69D-9305-46E8-9986-55450F1D7F35}" srcOrd="3" destOrd="0" parTransId="{3736C2A3-5FB5-4FE8-A7F6-034217489D35}" sibTransId="{0CF94B1A-5073-4223-B4E2-4B7E426877B3}"/>
    <dgm:cxn modelId="{FE722974-E74C-47EF-AE95-60053E2125EC}" type="presOf" srcId="{F520FFCC-2780-4409-B8BB-C7CEC125BD71}" destId="{95C0C9A5-CFD4-4794-81F3-5052E30E15F8}" srcOrd="0" destOrd="0" presId="urn:microsoft.com/office/officeart/2005/8/layout/default"/>
    <dgm:cxn modelId="{1582A87E-271B-4B56-8A1E-402B329EC453}" srcId="{49F25080-510E-48F1-A9D4-DDE1F00671C2}" destId="{933E91D0-CEF0-449F-AE06-362C44A7A3E2}" srcOrd="1" destOrd="0" parTransId="{7E2B6D88-9811-46DD-91E6-34E0A53EE0C2}" sibTransId="{F7D76232-CEF7-4A68-9EAA-8C547987ECAF}"/>
    <dgm:cxn modelId="{5299FB88-F9F2-46B4-ADDF-A7668E747585}" type="presOf" srcId="{2FCFA69D-9305-46E8-9986-55450F1D7F35}" destId="{78E1BC93-1E48-4F2C-93B4-03E5B84958B4}" srcOrd="0" destOrd="0" presId="urn:microsoft.com/office/officeart/2005/8/layout/default"/>
    <dgm:cxn modelId="{B08CDC95-60E0-4826-981F-5CAC3C23D9FF}" type="presOf" srcId="{49F25080-510E-48F1-A9D4-DDE1F00671C2}" destId="{AAD0CDBF-6358-4899-9D9F-92895FBC30C6}" srcOrd="0" destOrd="0" presId="urn:microsoft.com/office/officeart/2005/8/layout/default"/>
    <dgm:cxn modelId="{B6C376C0-380C-4394-B545-7DF6539BDC50}" srcId="{8C65DD98-F359-4789-BD34-C2FA43AD8870}" destId="{F520FFCC-2780-4409-B8BB-C7CEC125BD71}" srcOrd="4" destOrd="0" parTransId="{CC34D489-9FA2-4D51-B75A-B37587785CAB}" sibTransId="{892337F0-4A1F-4BFE-9882-117E343E2CAB}"/>
    <dgm:cxn modelId="{6C92F0CA-66A2-4437-9785-96E3606990B3}" srcId="{8C65DD98-F359-4789-BD34-C2FA43AD8870}" destId="{531249C9-6756-45F2-9A4C-2A0856395CE4}" srcOrd="0" destOrd="0" parTransId="{32601FFF-8ABB-403A-ACC2-EA0663F93B74}" sibTransId="{57195B5C-9745-4DB4-BC02-9FA55F924097}"/>
    <dgm:cxn modelId="{6FF0C6F7-047B-4479-95AD-11A5F3BF5EA0}" srcId="{8C65DD98-F359-4789-BD34-C2FA43AD8870}" destId="{4D9B59FB-B452-4270-946C-737424C5A383}" srcOrd="1" destOrd="0" parTransId="{5A01EFFB-11F8-48F4-9287-267DDC31B348}" sibTransId="{E16CD79F-BEF4-4AF9-927C-2A63E8338059}"/>
    <dgm:cxn modelId="{F1F53BFC-3DC6-480D-8AB6-9CC65A738140}" srcId="{49F25080-510E-48F1-A9D4-DDE1F00671C2}" destId="{7D5464B9-5646-49D3-8E01-3BFF45E0F020}" srcOrd="0" destOrd="0" parTransId="{D6FE9461-2333-4603-9466-E3B819DEF236}" sibTransId="{5C760F25-9886-407A-AA5B-2DEA748B46FD}"/>
    <dgm:cxn modelId="{21CDE73B-08F2-4DF2-982E-C169C79FEC73}" type="presParOf" srcId="{B94F5C72-D8BC-42E1-9F39-36C3E16EC927}" destId="{7D4AEB9D-2797-4985-B1DC-B7BC865AEF70}" srcOrd="0" destOrd="0" presId="urn:microsoft.com/office/officeart/2005/8/layout/default"/>
    <dgm:cxn modelId="{61BFB6BA-94BD-4381-B389-3A4A27FC4085}" type="presParOf" srcId="{B94F5C72-D8BC-42E1-9F39-36C3E16EC927}" destId="{B4D81332-5247-4D35-9389-3AE23F57157E}" srcOrd="1" destOrd="0" presId="urn:microsoft.com/office/officeart/2005/8/layout/default"/>
    <dgm:cxn modelId="{DE9ACB0F-D70B-4183-B4C9-2BF76905651A}" type="presParOf" srcId="{B94F5C72-D8BC-42E1-9F39-36C3E16EC927}" destId="{6A70846C-F0B8-42EA-B638-3BE790113915}" srcOrd="2" destOrd="0" presId="urn:microsoft.com/office/officeart/2005/8/layout/default"/>
    <dgm:cxn modelId="{034F4421-EBDB-450F-8EF3-217D66AD7B89}" type="presParOf" srcId="{B94F5C72-D8BC-42E1-9F39-36C3E16EC927}" destId="{227C80A8-193E-444D-8ACD-629BB3884BAD}" srcOrd="3" destOrd="0" presId="urn:microsoft.com/office/officeart/2005/8/layout/default"/>
    <dgm:cxn modelId="{0D0AC36B-733A-4FE2-A55F-6F41744447E9}" type="presParOf" srcId="{B94F5C72-D8BC-42E1-9F39-36C3E16EC927}" destId="{AAD0CDBF-6358-4899-9D9F-92895FBC30C6}" srcOrd="4" destOrd="0" presId="urn:microsoft.com/office/officeart/2005/8/layout/default"/>
    <dgm:cxn modelId="{AF5A9DEC-A459-403C-9A2D-9D416DD82D43}" type="presParOf" srcId="{B94F5C72-D8BC-42E1-9F39-36C3E16EC927}" destId="{ACF55965-5E15-4C2F-AAC4-C036CEB46D86}" srcOrd="5" destOrd="0" presId="urn:microsoft.com/office/officeart/2005/8/layout/default"/>
    <dgm:cxn modelId="{48811279-CB28-40FD-86F9-D60CACA06AA4}" type="presParOf" srcId="{B94F5C72-D8BC-42E1-9F39-36C3E16EC927}" destId="{78E1BC93-1E48-4F2C-93B4-03E5B84958B4}" srcOrd="6" destOrd="0" presId="urn:microsoft.com/office/officeart/2005/8/layout/default"/>
    <dgm:cxn modelId="{DD0BFFDD-49D4-4CBF-AACB-FD1276C0476A}" type="presParOf" srcId="{B94F5C72-D8BC-42E1-9F39-36C3E16EC927}" destId="{D56B25FA-D67D-47B6-ADF4-13C3DBA11AD8}" srcOrd="7" destOrd="0" presId="urn:microsoft.com/office/officeart/2005/8/layout/default"/>
    <dgm:cxn modelId="{0E02489C-029D-4644-9EA9-E744C7B6F51A}" type="presParOf" srcId="{B94F5C72-D8BC-42E1-9F39-36C3E16EC927}" destId="{95C0C9A5-CFD4-4794-81F3-5052E30E15F8}"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Name a primary reason for implementing a column store index?</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is the purpose of segments?</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the purpose of row groups?</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719ECA3-3CE0-46D1-9FF4-9EE3D9D0A6D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D2917527-7086-4B85-A4D9-8FDA7C1764A4}">
      <dgm:prSet/>
      <dgm:spPr/>
      <dgm:t>
        <a:bodyPr/>
        <a:lstStyle/>
        <a:p>
          <a:pPr>
            <a:lnSpc>
              <a:spcPct val="100000"/>
            </a:lnSpc>
          </a:pPr>
          <a:r>
            <a:rPr lang="en-US" baseline="0"/>
            <a:t>Same B-tree data structure as a clustered index.</a:t>
          </a:r>
          <a:endParaRPr lang="en-US"/>
        </a:p>
      </dgm:t>
    </dgm:pt>
    <dgm:pt modelId="{085D596E-D229-4F12-89C5-5953F770FE09}" type="parTrans" cxnId="{10225714-E408-45E6-AE21-111206D474A9}">
      <dgm:prSet/>
      <dgm:spPr/>
      <dgm:t>
        <a:bodyPr/>
        <a:lstStyle/>
        <a:p>
          <a:endParaRPr lang="en-US"/>
        </a:p>
      </dgm:t>
    </dgm:pt>
    <dgm:pt modelId="{32F926CA-3310-4CD9-BD3B-C1989F83BC78}" type="sibTrans" cxnId="{10225714-E408-45E6-AE21-111206D474A9}">
      <dgm:prSet/>
      <dgm:spPr/>
      <dgm:t>
        <a:bodyPr/>
        <a:lstStyle/>
        <a:p>
          <a:endParaRPr lang="en-US"/>
        </a:p>
      </dgm:t>
    </dgm:pt>
    <dgm:pt modelId="{232B8A2F-60B3-4F3B-8958-40663FBB233D}">
      <dgm:prSet/>
      <dgm:spPr/>
      <dgm:t>
        <a:bodyPr/>
        <a:lstStyle/>
        <a:p>
          <a:pPr>
            <a:lnSpc>
              <a:spcPct val="100000"/>
            </a:lnSpc>
          </a:pPr>
          <a:r>
            <a:rPr lang="en-US" baseline="0"/>
            <a:t>It is a separate structure built on top of a Heap or Clustered Index.</a:t>
          </a:r>
          <a:endParaRPr lang="en-US"/>
        </a:p>
      </dgm:t>
    </dgm:pt>
    <dgm:pt modelId="{BEDBC1AA-C3C9-4C37-93EA-F0B9A49A9AF1}" type="parTrans" cxnId="{6C5ED27B-501D-4756-9084-2C3BB3762A08}">
      <dgm:prSet/>
      <dgm:spPr/>
      <dgm:t>
        <a:bodyPr/>
        <a:lstStyle/>
        <a:p>
          <a:endParaRPr lang="en-US"/>
        </a:p>
      </dgm:t>
    </dgm:pt>
    <dgm:pt modelId="{6B173B4E-B112-484F-A378-D051F3976227}" type="sibTrans" cxnId="{6C5ED27B-501D-4756-9084-2C3BB3762A08}">
      <dgm:prSet/>
      <dgm:spPr/>
      <dgm:t>
        <a:bodyPr/>
        <a:lstStyle/>
        <a:p>
          <a:endParaRPr lang="en-US"/>
        </a:p>
      </dgm:t>
    </dgm:pt>
    <dgm:pt modelId="{1A944772-CB45-4E37-8643-BEFCB79E6E37}">
      <dgm:prSet/>
      <dgm:spPr/>
      <dgm:t>
        <a:bodyPr/>
        <a:lstStyle/>
        <a:p>
          <a:pPr>
            <a:lnSpc>
              <a:spcPct val="100000"/>
            </a:lnSpc>
          </a:pPr>
          <a:r>
            <a:rPr lang="en-US" baseline="0"/>
            <a:t>Only contains a subset of the columns in the base table</a:t>
          </a:r>
          <a:endParaRPr lang="en-US"/>
        </a:p>
      </dgm:t>
    </dgm:pt>
    <dgm:pt modelId="{CDB71A8F-2F56-403A-BB50-16410B9C5822}" type="parTrans" cxnId="{93CC801C-614D-4B44-A1A6-B2E3A9571FA5}">
      <dgm:prSet/>
      <dgm:spPr/>
      <dgm:t>
        <a:bodyPr/>
        <a:lstStyle/>
        <a:p>
          <a:endParaRPr lang="en-US"/>
        </a:p>
      </dgm:t>
    </dgm:pt>
    <dgm:pt modelId="{C1F78A9F-26CB-4A48-9EB7-7BDF24D2C4A5}" type="sibTrans" cxnId="{93CC801C-614D-4B44-A1A6-B2E3A9571FA5}">
      <dgm:prSet/>
      <dgm:spPr/>
      <dgm:t>
        <a:bodyPr/>
        <a:lstStyle/>
        <a:p>
          <a:endParaRPr lang="en-US"/>
        </a:p>
      </dgm:t>
    </dgm:pt>
    <dgm:pt modelId="{928176D8-5C1A-424A-AFA9-1DBF83F06279}">
      <dgm:prSet/>
      <dgm:spPr/>
      <dgm:t>
        <a:bodyPr/>
        <a:lstStyle/>
        <a:p>
          <a:pPr>
            <a:lnSpc>
              <a:spcPct val="100000"/>
            </a:lnSpc>
          </a:pPr>
          <a:r>
            <a:rPr lang="en-US" baseline="0"/>
            <a:t>The leaf level contains only the columns defined in the index as well as the clustered key/heap ID that points to the base table structure.</a:t>
          </a:r>
          <a:endParaRPr lang="en-US"/>
        </a:p>
      </dgm:t>
    </dgm:pt>
    <dgm:pt modelId="{47EA6C56-1E62-4AA9-9B98-3309E36833CB}" type="parTrans" cxnId="{74D0B935-876C-47F8-B8D3-030BC470F19F}">
      <dgm:prSet/>
      <dgm:spPr/>
      <dgm:t>
        <a:bodyPr/>
        <a:lstStyle/>
        <a:p>
          <a:endParaRPr lang="en-US"/>
        </a:p>
      </dgm:t>
    </dgm:pt>
    <dgm:pt modelId="{6BB9336A-1F14-4450-989D-32670C6BA7B8}" type="sibTrans" cxnId="{74D0B935-876C-47F8-B8D3-030BC470F19F}">
      <dgm:prSet/>
      <dgm:spPr/>
      <dgm:t>
        <a:bodyPr/>
        <a:lstStyle/>
        <a:p>
          <a:endParaRPr lang="en-US"/>
        </a:p>
      </dgm:t>
    </dgm:pt>
    <dgm:pt modelId="{0F1E717B-3B89-4E79-8682-2A844A3C6A09}" type="pres">
      <dgm:prSet presAssocID="{F719ECA3-3CE0-46D1-9FF4-9EE3D9D0A6DF}" presName="root" presStyleCnt="0">
        <dgm:presLayoutVars>
          <dgm:dir/>
          <dgm:resizeHandles val="exact"/>
        </dgm:presLayoutVars>
      </dgm:prSet>
      <dgm:spPr/>
    </dgm:pt>
    <dgm:pt modelId="{76D51A2C-D811-4A8B-9948-EB4BC1D23F4A}" type="pres">
      <dgm:prSet presAssocID="{D2917527-7086-4B85-A4D9-8FDA7C1764A4}" presName="compNode" presStyleCnt="0"/>
      <dgm:spPr/>
    </dgm:pt>
    <dgm:pt modelId="{F669275B-E183-45F3-9FC2-5133B6D14A1C}" type="pres">
      <dgm:prSet presAssocID="{D2917527-7086-4B85-A4D9-8FDA7C1764A4}" presName="bgRect" presStyleLbl="bgShp" presStyleIdx="0" presStyleCnt="4"/>
      <dgm:spPr/>
    </dgm:pt>
    <dgm:pt modelId="{3ECDF78B-F671-4474-AFDC-AB0586B09D38}" type="pres">
      <dgm:prSet presAssocID="{D2917527-7086-4B85-A4D9-8FDA7C1764A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t="6471" b="6471"/>
          </a:stretch>
        </a:blipFill>
      </dgm:spPr>
      <dgm:extLst>
        <a:ext uri="{E40237B7-FDA0-4F09-8148-C483321AD2D9}">
          <dgm14:cNvPr xmlns:dgm14="http://schemas.microsoft.com/office/drawing/2010/diagram" id="0" name="" descr="people_16"/>
        </a:ext>
      </dgm:extLst>
    </dgm:pt>
    <dgm:pt modelId="{1355C2FA-9E0F-4E96-B1A1-43CC79A1F7E7}" type="pres">
      <dgm:prSet presAssocID="{D2917527-7086-4B85-A4D9-8FDA7C1764A4}" presName="spaceRect" presStyleCnt="0"/>
      <dgm:spPr/>
    </dgm:pt>
    <dgm:pt modelId="{6AC8043C-98B9-4EE2-9B1A-538D698A37A2}" type="pres">
      <dgm:prSet presAssocID="{D2917527-7086-4B85-A4D9-8FDA7C1764A4}" presName="parTx" presStyleLbl="revTx" presStyleIdx="0" presStyleCnt="4">
        <dgm:presLayoutVars>
          <dgm:chMax val="0"/>
          <dgm:chPref val="0"/>
        </dgm:presLayoutVars>
      </dgm:prSet>
      <dgm:spPr/>
    </dgm:pt>
    <dgm:pt modelId="{4C1F5B01-3B98-46A3-86E0-07BE6C53F2C1}" type="pres">
      <dgm:prSet presAssocID="{32F926CA-3310-4CD9-BD3B-C1989F83BC78}" presName="sibTrans" presStyleCnt="0"/>
      <dgm:spPr/>
    </dgm:pt>
    <dgm:pt modelId="{E47B1CF9-F627-4C01-951E-4069C8659663}" type="pres">
      <dgm:prSet presAssocID="{232B8A2F-60B3-4F3B-8958-40663FBB233D}" presName="compNode" presStyleCnt="0"/>
      <dgm:spPr/>
    </dgm:pt>
    <dgm:pt modelId="{3138D751-E1E2-428F-B704-5533049F5E14}" type="pres">
      <dgm:prSet presAssocID="{232B8A2F-60B3-4F3B-8958-40663FBB233D}" presName="bgRect" presStyleLbl="bgShp" presStyleIdx="1" presStyleCnt="4"/>
      <dgm:spPr/>
    </dgm:pt>
    <dgm:pt modelId="{35A836A4-C06F-43F0-B97D-65DFA3082CE2}" type="pres">
      <dgm:prSet presAssocID="{232B8A2F-60B3-4F3B-8958-40663FBB233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t="6322" b="6322"/>
          </a:stretch>
        </a:blipFill>
      </dgm:spPr>
      <dgm:extLst>
        <a:ext uri="{E40237B7-FDA0-4F09-8148-C483321AD2D9}">
          <dgm14:cNvPr xmlns:dgm14="http://schemas.microsoft.com/office/drawing/2010/diagram" id="0" name="" descr="funnel"/>
        </a:ext>
      </dgm:extLst>
    </dgm:pt>
    <dgm:pt modelId="{F5E53997-0E85-49BB-B615-D3BDDFD31DBF}" type="pres">
      <dgm:prSet presAssocID="{232B8A2F-60B3-4F3B-8958-40663FBB233D}" presName="spaceRect" presStyleCnt="0"/>
      <dgm:spPr/>
    </dgm:pt>
    <dgm:pt modelId="{455BEB2A-D1BD-4DBD-AF29-D20E6223D8E0}" type="pres">
      <dgm:prSet presAssocID="{232B8A2F-60B3-4F3B-8958-40663FBB233D}" presName="parTx" presStyleLbl="revTx" presStyleIdx="1" presStyleCnt="4">
        <dgm:presLayoutVars>
          <dgm:chMax val="0"/>
          <dgm:chPref val="0"/>
        </dgm:presLayoutVars>
      </dgm:prSet>
      <dgm:spPr/>
    </dgm:pt>
    <dgm:pt modelId="{7B6E3D9C-95E2-4DDB-A28D-35364F801FE1}" type="pres">
      <dgm:prSet presAssocID="{6B173B4E-B112-484F-A378-D051F3976227}" presName="sibTrans" presStyleCnt="0"/>
      <dgm:spPr/>
    </dgm:pt>
    <dgm:pt modelId="{01A8A5D2-0F3B-4733-9208-9D71B3DDF47F}" type="pres">
      <dgm:prSet presAssocID="{1A944772-CB45-4E37-8643-BEFCB79E6E37}" presName="compNode" presStyleCnt="0"/>
      <dgm:spPr/>
    </dgm:pt>
    <dgm:pt modelId="{B1B321F8-0F48-4EC3-A8BC-032D8A094BC3}" type="pres">
      <dgm:prSet presAssocID="{1A944772-CB45-4E37-8643-BEFCB79E6E37}" presName="bgRect" presStyleLbl="bgShp" presStyleIdx="2" presStyleCnt="4"/>
      <dgm:spPr/>
    </dgm:pt>
    <dgm:pt modelId="{D465E1E2-6EE2-4B3F-85D6-B8EB0738B31B}" type="pres">
      <dgm:prSet presAssocID="{1A944772-CB45-4E37-8643-BEFCB79E6E3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BarChartVertical_E9EC"/>
        </a:ext>
      </dgm:extLst>
    </dgm:pt>
    <dgm:pt modelId="{1D2923AC-8586-41DD-892A-96EA08A8A410}" type="pres">
      <dgm:prSet presAssocID="{1A944772-CB45-4E37-8643-BEFCB79E6E37}" presName="spaceRect" presStyleCnt="0"/>
      <dgm:spPr/>
    </dgm:pt>
    <dgm:pt modelId="{A97D69F0-D5CF-4D00-AD8D-BCC137F6ECCE}" type="pres">
      <dgm:prSet presAssocID="{1A944772-CB45-4E37-8643-BEFCB79E6E37}" presName="parTx" presStyleLbl="revTx" presStyleIdx="2" presStyleCnt="4">
        <dgm:presLayoutVars>
          <dgm:chMax val="0"/>
          <dgm:chPref val="0"/>
        </dgm:presLayoutVars>
      </dgm:prSet>
      <dgm:spPr/>
    </dgm:pt>
    <dgm:pt modelId="{8D199A92-1C68-40DC-B28E-B15469768042}" type="pres">
      <dgm:prSet presAssocID="{C1F78A9F-26CB-4A48-9EB7-7BDF24D2C4A5}" presName="sibTrans" presStyleCnt="0"/>
      <dgm:spPr/>
    </dgm:pt>
    <dgm:pt modelId="{8574F998-786F-4225-9803-60E0A29E2F4C}" type="pres">
      <dgm:prSet presAssocID="{928176D8-5C1A-424A-AFA9-1DBF83F06279}" presName="compNode" presStyleCnt="0"/>
      <dgm:spPr/>
    </dgm:pt>
    <dgm:pt modelId="{2BAA5DA1-13BB-4B71-9F00-F59F845689B6}" type="pres">
      <dgm:prSet presAssocID="{928176D8-5C1A-424A-AFA9-1DBF83F06279}" presName="bgRect" presStyleLbl="bgShp" presStyleIdx="3" presStyleCnt="4"/>
      <dgm:spPr/>
    </dgm:pt>
    <dgm:pt modelId="{A2E8B214-EB6F-4894-B825-6FB2A6A6597D}" type="pres">
      <dgm:prSet presAssocID="{928176D8-5C1A-424A-AFA9-1DBF83F0627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l="16146" r="16146"/>
          </a:stretch>
        </a:blipFill>
      </dgm:spPr>
      <dgm:extLst>
        <a:ext uri="{E40237B7-FDA0-4F09-8148-C483321AD2D9}">
          <dgm14:cNvPr xmlns:dgm14="http://schemas.microsoft.com/office/drawing/2010/diagram" id="0" name="" descr="Leaf"/>
        </a:ext>
      </dgm:extLst>
    </dgm:pt>
    <dgm:pt modelId="{D13AA8FC-3CDB-4FB1-BB4A-789A96697A14}" type="pres">
      <dgm:prSet presAssocID="{928176D8-5C1A-424A-AFA9-1DBF83F06279}" presName="spaceRect" presStyleCnt="0"/>
      <dgm:spPr/>
    </dgm:pt>
    <dgm:pt modelId="{B5897854-AF76-48E4-BFAF-1A5DC77ACA3D}" type="pres">
      <dgm:prSet presAssocID="{928176D8-5C1A-424A-AFA9-1DBF83F06279}" presName="parTx" presStyleLbl="revTx" presStyleIdx="3" presStyleCnt="4">
        <dgm:presLayoutVars>
          <dgm:chMax val="0"/>
          <dgm:chPref val="0"/>
        </dgm:presLayoutVars>
      </dgm:prSet>
      <dgm:spPr/>
    </dgm:pt>
  </dgm:ptLst>
  <dgm:cxnLst>
    <dgm:cxn modelId="{10225714-E408-45E6-AE21-111206D474A9}" srcId="{F719ECA3-3CE0-46D1-9FF4-9EE3D9D0A6DF}" destId="{D2917527-7086-4B85-A4D9-8FDA7C1764A4}" srcOrd="0" destOrd="0" parTransId="{085D596E-D229-4F12-89C5-5953F770FE09}" sibTransId="{32F926CA-3310-4CD9-BD3B-C1989F83BC78}"/>
    <dgm:cxn modelId="{93CC801C-614D-4B44-A1A6-B2E3A9571FA5}" srcId="{F719ECA3-3CE0-46D1-9FF4-9EE3D9D0A6DF}" destId="{1A944772-CB45-4E37-8643-BEFCB79E6E37}" srcOrd="2" destOrd="0" parTransId="{CDB71A8F-2F56-403A-BB50-16410B9C5822}" sibTransId="{C1F78A9F-26CB-4A48-9EB7-7BDF24D2C4A5}"/>
    <dgm:cxn modelId="{74D0B935-876C-47F8-B8D3-030BC470F19F}" srcId="{F719ECA3-3CE0-46D1-9FF4-9EE3D9D0A6DF}" destId="{928176D8-5C1A-424A-AFA9-1DBF83F06279}" srcOrd="3" destOrd="0" parTransId="{47EA6C56-1E62-4AA9-9B98-3309E36833CB}" sibTransId="{6BB9336A-1F14-4450-989D-32670C6BA7B8}"/>
    <dgm:cxn modelId="{9AC5865E-27B8-4E1B-8F19-69F1B2B16788}" type="presOf" srcId="{1A944772-CB45-4E37-8643-BEFCB79E6E37}" destId="{A97D69F0-D5CF-4D00-AD8D-BCC137F6ECCE}" srcOrd="0" destOrd="0" presId="urn:microsoft.com/office/officeart/2018/2/layout/IconVerticalSolidList"/>
    <dgm:cxn modelId="{9A7BCB63-BB13-4867-889A-516CF8EA36CC}" type="presOf" srcId="{D2917527-7086-4B85-A4D9-8FDA7C1764A4}" destId="{6AC8043C-98B9-4EE2-9B1A-538D698A37A2}" srcOrd="0" destOrd="0" presId="urn:microsoft.com/office/officeart/2018/2/layout/IconVerticalSolidList"/>
    <dgm:cxn modelId="{6C5ED27B-501D-4756-9084-2C3BB3762A08}" srcId="{F719ECA3-3CE0-46D1-9FF4-9EE3D9D0A6DF}" destId="{232B8A2F-60B3-4F3B-8958-40663FBB233D}" srcOrd="1" destOrd="0" parTransId="{BEDBC1AA-C3C9-4C37-93EA-F0B9A49A9AF1}" sibTransId="{6B173B4E-B112-484F-A378-D051F3976227}"/>
    <dgm:cxn modelId="{9BC4BFA4-6259-4110-9EE4-6645669B7C9E}" type="presOf" srcId="{928176D8-5C1A-424A-AFA9-1DBF83F06279}" destId="{B5897854-AF76-48E4-BFAF-1A5DC77ACA3D}" srcOrd="0" destOrd="0" presId="urn:microsoft.com/office/officeart/2018/2/layout/IconVerticalSolidList"/>
    <dgm:cxn modelId="{AE7D1FA8-D988-42F1-99FB-FAE10EB396E0}" type="presOf" srcId="{F719ECA3-3CE0-46D1-9FF4-9EE3D9D0A6DF}" destId="{0F1E717B-3B89-4E79-8682-2A844A3C6A09}" srcOrd="0" destOrd="0" presId="urn:microsoft.com/office/officeart/2018/2/layout/IconVerticalSolidList"/>
    <dgm:cxn modelId="{099506C0-D886-418C-B640-2E2504436BC2}" type="presOf" srcId="{232B8A2F-60B3-4F3B-8958-40663FBB233D}" destId="{455BEB2A-D1BD-4DBD-AF29-D20E6223D8E0}" srcOrd="0" destOrd="0" presId="urn:microsoft.com/office/officeart/2018/2/layout/IconVerticalSolidList"/>
    <dgm:cxn modelId="{4B404F2E-A0B0-46C7-B430-6C185A954E0E}" type="presParOf" srcId="{0F1E717B-3B89-4E79-8682-2A844A3C6A09}" destId="{76D51A2C-D811-4A8B-9948-EB4BC1D23F4A}" srcOrd="0" destOrd="0" presId="urn:microsoft.com/office/officeart/2018/2/layout/IconVerticalSolidList"/>
    <dgm:cxn modelId="{9177E881-60BD-405E-98CB-C6A4CDA9EC66}" type="presParOf" srcId="{76D51A2C-D811-4A8B-9948-EB4BC1D23F4A}" destId="{F669275B-E183-45F3-9FC2-5133B6D14A1C}" srcOrd="0" destOrd="0" presId="urn:microsoft.com/office/officeart/2018/2/layout/IconVerticalSolidList"/>
    <dgm:cxn modelId="{E79F4290-32B2-4017-8845-8DB7CFFCD562}" type="presParOf" srcId="{76D51A2C-D811-4A8B-9948-EB4BC1D23F4A}" destId="{3ECDF78B-F671-4474-AFDC-AB0586B09D38}" srcOrd="1" destOrd="0" presId="urn:microsoft.com/office/officeart/2018/2/layout/IconVerticalSolidList"/>
    <dgm:cxn modelId="{27AAA8B4-F094-44FD-AB11-EAFABC5CE99F}" type="presParOf" srcId="{76D51A2C-D811-4A8B-9948-EB4BC1D23F4A}" destId="{1355C2FA-9E0F-4E96-B1A1-43CC79A1F7E7}" srcOrd="2" destOrd="0" presId="urn:microsoft.com/office/officeart/2018/2/layout/IconVerticalSolidList"/>
    <dgm:cxn modelId="{9CF5F213-1185-46BA-A0A5-51CB0689C64B}" type="presParOf" srcId="{76D51A2C-D811-4A8B-9948-EB4BC1D23F4A}" destId="{6AC8043C-98B9-4EE2-9B1A-538D698A37A2}" srcOrd="3" destOrd="0" presId="urn:microsoft.com/office/officeart/2018/2/layout/IconVerticalSolidList"/>
    <dgm:cxn modelId="{71C12CE2-88BE-4AC8-8D75-D7850D5C36BA}" type="presParOf" srcId="{0F1E717B-3B89-4E79-8682-2A844A3C6A09}" destId="{4C1F5B01-3B98-46A3-86E0-07BE6C53F2C1}" srcOrd="1" destOrd="0" presId="urn:microsoft.com/office/officeart/2018/2/layout/IconVerticalSolidList"/>
    <dgm:cxn modelId="{D95F16FB-FF12-4D5E-A21C-044B5B7D58F2}" type="presParOf" srcId="{0F1E717B-3B89-4E79-8682-2A844A3C6A09}" destId="{E47B1CF9-F627-4C01-951E-4069C8659663}" srcOrd="2" destOrd="0" presId="urn:microsoft.com/office/officeart/2018/2/layout/IconVerticalSolidList"/>
    <dgm:cxn modelId="{32BFD4AA-4BB2-4673-A6AC-B3F9EB56D56F}" type="presParOf" srcId="{E47B1CF9-F627-4C01-951E-4069C8659663}" destId="{3138D751-E1E2-428F-B704-5533049F5E14}" srcOrd="0" destOrd="0" presId="urn:microsoft.com/office/officeart/2018/2/layout/IconVerticalSolidList"/>
    <dgm:cxn modelId="{DF53B53B-812B-4966-BC29-5215B1F969B8}" type="presParOf" srcId="{E47B1CF9-F627-4C01-951E-4069C8659663}" destId="{35A836A4-C06F-43F0-B97D-65DFA3082CE2}" srcOrd="1" destOrd="0" presId="urn:microsoft.com/office/officeart/2018/2/layout/IconVerticalSolidList"/>
    <dgm:cxn modelId="{C4CD8E33-58C6-4153-83B2-7E44EAD8B61E}" type="presParOf" srcId="{E47B1CF9-F627-4C01-951E-4069C8659663}" destId="{F5E53997-0E85-49BB-B615-D3BDDFD31DBF}" srcOrd="2" destOrd="0" presId="urn:microsoft.com/office/officeart/2018/2/layout/IconVerticalSolidList"/>
    <dgm:cxn modelId="{25826FAD-3E62-4BF9-A8DD-A14BDF7EEA61}" type="presParOf" srcId="{E47B1CF9-F627-4C01-951E-4069C8659663}" destId="{455BEB2A-D1BD-4DBD-AF29-D20E6223D8E0}" srcOrd="3" destOrd="0" presId="urn:microsoft.com/office/officeart/2018/2/layout/IconVerticalSolidList"/>
    <dgm:cxn modelId="{162C604D-899E-4422-AAF4-0D5B7462C099}" type="presParOf" srcId="{0F1E717B-3B89-4E79-8682-2A844A3C6A09}" destId="{7B6E3D9C-95E2-4DDB-A28D-35364F801FE1}" srcOrd="3" destOrd="0" presId="urn:microsoft.com/office/officeart/2018/2/layout/IconVerticalSolidList"/>
    <dgm:cxn modelId="{90A0E34C-6D7D-43A9-A09E-DF9F26FED8F5}" type="presParOf" srcId="{0F1E717B-3B89-4E79-8682-2A844A3C6A09}" destId="{01A8A5D2-0F3B-4733-9208-9D71B3DDF47F}" srcOrd="4" destOrd="0" presId="urn:microsoft.com/office/officeart/2018/2/layout/IconVerticalSolidList"/>
    <dgm:cxn modelId="{5431988C-4906-4E0C-8BC2-E78B35F5BC09}" type="presParOf" srcId="{01A8A5D2-0F3B-4733-9208-9D71B3DDF47F}" destId="{B1B321F8-0F48-4EC3-A8BC-032D8A094BC3}" srcOrd="0" destOrd="0" presId="urn:microsoft.com/office/officeart/2018/2/layout/IconVerticalSolidList"/>
    <dgm:cxn modelId="{D4FD449B-5664-46AA-8E71-F58F4512BA0A}" type="presParOf" srcId="{01A8A5D2-0F3B-4733-9208-9D71B3DDF47F}" destId="{D465E1E2-6EE2-4B3F-85D6-B8EB0738B31B}" srcOrd="1" destOrd="0" presId="urn:microsoft.com/office/officeart/2018/2/layout/IconVerticalSolidList"/>
    <dgm:cxn modelId="{DB025C03-FD95-47CA-9079-93FA21C73459}" type="presParOf" srcId="{01A8A5D2-0F3B-4733-9208-9D71B3DDF47F}" destId="{1D2923AC-8586-41DD-892A-96EA08A8A410}" srcOrd="2" destOrd="0" presId="urn:microsoft.com/office/officeart/2018/2/layout/IconVerticalSolidList"/>
    <dgm:cxn modelId="{290F38D0-2E27-49AB-94C6-045636D02E74}" type="presParOf" srcId="{01A8A5D2-0F3B-4733-9208-9D71B3DDF47F}" destId="{A97D69F0-D5CF-4D00-AD8D-BCC137F6ECCE}" srcOrd="3" destOrd="0" presId="urn:microsoft.com/office/officeart/2018/2/layout/IconVerticalSolidList"/>
    <dgm:cxn modelId="{13E08A84-8F4F-4CB2-957E-58FFDAC0F55D}" type="presParOf" srcId="{0F1E717B-3B89-4E79-8682-2A844A3C6A09}" destId="{8D199A92-1C68-40DC-B28E-B15469768042}" srcOrd="5" destOrd="0" presId="urn:microsoft.com/office/officeart/2018/2/layout/IconVerticalSolidList"/>
    <dgm:cxn modelId="{D51AFA18-C808-4709-A6F9-74868F413EFF}" type="presParOf" srcId="{0F1E717B-3B89-4E79-8682-2A844A3C6A09}" destId="{8574F998-786F-4225-9803-60E0A29E2F4C}" srcOrd="6" destOrd="0" presId="urn:microsoft.com/office/officeart/2018/2/layout/IconVerticalSolidList"/>
    <dgm:cxn modelId="{9F04AC0C-98B8-4AE2-9063-73771FA90DD9}" type="presParOf" srcId="{8574F998-786F-4225-9803-60E0A29E2F4C}" destId="{2BAA5DA1-13BB-4B71-9F00-F59F845689B6}" srcOrd="0" destOrd="0" presId="urn:microsoft.com/office/officeart/2018/2/layout/IconVerticalSolidList"/>
    <dgm:cxn modelId="{80E5F70A-7860-4AD5-A3B9-2A7470D1B804}" type="presParOf" srcId="{8574F998-786F-4225-9803-60E0A29E2F4C}" destId="{A2E8B214-EB6F-4894-B825-6FB2A6A6597D}" srcOrd="1" destOrd="0" presId="urn:microsoft.com/office/officeart/2018/2/layout/IconVerticalSolidList"/>
    <dgm:cxn modelId="{AAD4C585-E3D6-4FC3-9764-DA68CB5FF311}" type="presParOf" srcId="{8574F998-786F-4225-9803-60E0A29E2F4C}" destId="{D13AA8FC-3CDB-4FB1-BB4A-789A96697A14}" srcOrd="2" destOrd="0" presId="urn:microsoft.com/office/officeart/2018/2/layout/IconVerticalSolidList"/>
    <dgm:cxn modelId="{E1FFC275-D935-4124-BD80-4CDD42598CCA}" type="presParOf" srcId="{8574F998-786F-4225-9803-60E0A29E2F4C}" destId="{B5897854-AF76-48E4-BFAF-1A5DC77ACA3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10FF6C0-E6CD-4147-838D-4B599EEE10A8}" type="doc">
      <dgm:prSet loTypeId="urn:microsoft.com/office/officeart/2005/8/layout/hList1" loCatId="list" qsTypeId="urn:microsoft.com/office/officeart/2005/8/quickstyle/simple4" qsCatId="simple" csTypeId="urn:microsoft.com/office/officeart/2005/8/colors/colorful2" csCatId="colorful" phldr="1"/>
      <dgm:spPr/>
      <dgm:t>
        <a:bodyPr/>
        <a:lstStyle/>
        <a:p>
          <a:endParaRPr lang="en-US"/>
        </a:p>
      </dgm:t>
    </dgm:pt>
    <dgm:pt modelId="{BF6FB160-B554-4F55-84C6-4B8AC1EB349C}">
      <dgm:prSet/>
      <dgm:spPr/>
      <dgm:t>
        <a:bodyPr/>
        <a:lstStyle/>
        <a:p>
          <a:r>
            <a:rPr lang="en-US"/>
            <a:t>Clustered Indexes</a:t>
          </a:r>
        </a:p>
      </dgm:t>
    </dgm:pt>
    <dgm:pt modelId="{A3BA0989-2CB0-43C3-B412-54D7EBAC6E6E}" type="parTrans" cxnId="{6EC5EDDD-DC00-49D4-AB5E-AECEFC973CBA}">
      <dgm:prSet/>
      <dgm:spPr/>
      <dgm:t>
        <a:bodyPr/>
        <a:lstStyle/>
        <a:p>
          <a:endParaRPr lang="en-US"/>
        </a:p>
      </dgm:t>
    </dgm:pt>
    <dgm:pt modelId="{3B6D2E0E-8028-4D40-AA1A-92925093C7DA}" type="sibTrans" cxnId="{6EC5EDDD-DC00-49D4-AB5E-AECEFC973CBA}">
      <dgm:prSet/>
      <dgm:spPr/>
      <dgm:t>
        <a:bodyPr/>
        <a:lstStyle/>
        <a:p>
          <a:endParaRPr lang="en-US"/>
        </a:p>
      </dgm:t>
    </dgm:pt>
    <dgm:pt modelId="{D32ECA96-70EF-4871-9F06-DC288D98D39B}">
      <dgm:prSet/>
      <dgm:spPr/>
      <dgm:t>
        <a:bodyPr/>
        <a:lstStyle/>
        <a:p>
          <a:r>
            <a:rPr lang="en-US"/>
            <a:t>Leaf level has data rows stored with index.</a:t>
          </a:r>
        </a:p>
      </dgm:t>
    </dgm:pt>
    <dgm:pt modelId="{53F4D5DB-F64A-43A7-A560-E23C5C9CD81B}" type="parTrans" cxnId="{4212C62D-0279-421F-97DB-E397499DDD23}">
      <dgm:prSet/>
      <dgm:spPr/>
      <dgm:t>
        <a:bodyPr/>
        <a:lstStyle/>
        <a:p>
          <a:endParaRPr lang="en-US"/>
        </a:p>
      </dgm:t>
    </dgm:pt>
    <dgm:pt modelId="{812532DA-2325-42E9-80C9-AFDC1165BC69}" type="sibTrans" cxnId="{4212C62D-0279-421F-97DB-E397499DDD23}">
      <dgm:prSet/>
      <dgm:spPr/>
      <dgm:t>
        <a:bodyPr/>
        <a:lstStyle/>
        <a:p>
          <a:endParaRPr lang="en-US"/>
        </a:p>
      </dgm:t>
    </dgm:pt>
    <dgm:pt modelId="{821D27D6-E6BB-489A-AA34-05A29A2B55D8}">
      <dgm:prSet/>
      <dgm:spPr/>
      <dgm:t>
        <a:bodyPr/>
        <a:lstStyle/>
        <a:p>
          <a:r>
            <a:rPr lang="en-US"/>
            <a:t>Non-clustered Indexes</a:t>
          </a:r>
        </a:p>
      </dgm:t>
    </dgm:pt>
    <dgm:pt modelId="{77792C74-34E3-4F61-B7A9-66B3A3504BA8}" type="parTrans" cxnId="{30B55308-A7E8-4A83-B5B3-457CD508B125}">
      <dgm:prSet/>
      <dgm:spPr/>
      <dgm:t>
        <a:bodyPr/>
        <a:lstStyle/>
        <a:p>
          <a:endParaRPr lang="en-US"/>
        </a:p>
      </dgm:t>
    </dgm:pt>
    <dgm:pt modelId="{D0AD591B-0571-474B-AB70-6C560A1A821C}" type="sibTrans" cxnId="{30B55308-A7E8-4A83-B5B3-457CD508B125}">
      <dgm:prSet/>
      <dgm:spPr/>
      <dgm:t>
        <a:bodyPr/>
        <a:lstStyle/>
        <a:p>
          <a:endParaRPr lang="en-US"/>
        </a:p>
      </dgm:t>
    </dgm:pt>
    <dgm:pt modelId="{C90E9F2A-0519-4F10-9FEE-DE7D11592927}">
      <dgm:prSet/>
      <dgm:spPr/>
      <dgm:t>
        <a:bodyPr/>
        <a:lstStyle/>
        <a:p>
          <a:r>
            <a:rPr lang="en-US" dirty="0"/>
            <a:t>Separate structure from base table.</a:t>
          </a:r>
        </a:p>
      </dgm:t>
    </dgm:pt>
    <dgm:pt modelId="{34FE8762-E01B-46D0-87C2-9D2226FA0881}" type="parTrans" cxnId="{C0AA77FE-9770-4B0B-A76C-67BCE587CF00}">
      <dgm:prSet/>
      <dgm:spPr/>
      <dgm:t>
        <a:bodyPr/>
        <a:lstStyle/>
        <a:p>
          <a:endParaRPr lang="en-US"/>
        </a:p>
      </dgm:t>
    </dgm:pt>
    <dgm:pt modelId="{2C2629FF-47F9-45E8-85E6-17D354302656}" type="sibTrans" cxnId="{C0AA77FE-9770-4B0B-A76C-67BCE587CF00}">
      <dgm:prSet/>
      <dgm:spPr/>
      <dgm:t>
        <a:bodyPr/>
        <a:lstStyle/>
        <a:p>
          <a:endParaRPr lang="en-US"/>
        </a:p>
      </dgm:t>
    </dgm:pt>
    <dgm:pt modelId="{EFBC3BA4-BA6A-47A9-9AD7-EB80D928D2A1}">
      <dgm:prSet/>
      <dgm:spPr/>
      <dgm:t>
        <a:bodyPr/>
        <a:lstStyle/>
        <a:p>
          <a:r>
            <a:rPr lang="en-US" dirty="0"/>
            <a:t>Contains a pointer </a:t>
          </a:r>
          <a:r>
            <a:rPr lang="en-US" u="none" dirty="0"/>
            <a:t>back to base table called:</a:t>
          </a:r>
          <a:endParaRPr lang="en-US" dirty="0"/>
        </a:p>
      </dgm:t>
    </dgm:pt>
    <dgm:pt modelId="{99EE8FB9-E488-4179-86E8-D2B27FA4F871}" type="parTrans" cxnId="{5B95C044-DD02-440C-AACC-7607D0128C6E}">
      <dgm:prSet/>
      <dgm:spPr/>
      <dgm:t>
        <a:bodyPr/>
        <a:lstStyle/>
        <a:p>
          <a:endParaRPr lang="en-US"/>
        </a:p>
      </dgm:t>
    </dgm:pt>
    <dgm:pt modelId="{031357DF-52E1-4857-813E-69862D5B3931}" type="sibTrans" cxnId="{5B95C044-DD02-440C-AACC-7607D0128C6E}">
      <dgm:prSet/>
      <dgm:spPr/>
      <dgm:t>
        <a:bodyPr/>
        <a:lstStyle/>
        <a:p>
          <a:endParaRPr lang="en-US"/>
        </a:p>
      </dgm:t>
    </dgm:pt>
    <dgm:pt modelId="{EA0039EC-765D-47A6-A454-EB79FFB7D6D0}">
      <dgm:prSet/>
      <dgm:spPr/>
      <dgm:t>
        <a:bodyPr/>
        <a:lstStyle/>
        <a:p>
          <a:r>
            <a:rPr lang="en-US"/>
            <a:t>“Skinny” data structure as it contains a  subset of base table only.</a:t>
          </a:r>
        </a:p>
      </dgm:t>
    </dgm:pt>
    <dgm:pt modelId="{B2BA17B9-EB15-4C17-A522-BA46BE165620}" type="parTrans" cxnId="{541E130A-5DC0-47EB-988D-897020EF6CA5}">
      <dgm:prSet/>
      <dgm:spPr/>
      <dgm:t>
        <a:bodyPr/>
        <a:lstStyle/>
        <a:p>
          <a:endParaRPr lang="en-US"/>
        </a:p>
      </dgm:t>
    </dgm:pt>
    <dgm:pt modelId="{FF337856-94F4-49CB-B152-304486D57661}" type="sibTrans" cxnId="{541E130A-5DC0-47EB-988D-897020EF6CA5}">
      <dgm:prSet/>
      <dgm:spPr/>
      <dgm:t>
        <a:bodyPr/>
        <a:lstStyle/>
        <a:p>
          <a:endParaRPr lang="en-US"/>
        </a:p>
      </dgm:t>
    </dgm:pt>
    <dgm:pt modelId="{4800BCFF-DE1E-40E2-BE2D-215CB5F3C3F8}">
      <dgm:prSet/>
      <dgm:spPr/>
      <dgm:t>
        <a:bodyPr/>
        <a:lstStyle/>
        <a:p>
          <a:r>
            <a:rPr lang="en-US"/>
            <a:t>To by-pass index key limits (1,700 bytes) ,non-key columns can be added to leaf level. </a:t>
          </a:r>
        </a:p>
      </dgm:t>
    </dgm:pt>
    <dgm:pt modelId="{CF852995-1682-4F08-B1E8-297340B2FA48}" type="parTrans" cxnId="{8EB90479-821A-4DCB-83A6-3F897A18BEA6}">
      <dgm:prSet/>
      <dgm:spPr/>
      <dgm:t>
        <a:bodyPr/>
        <a:lstStyle/>
        <a:p>
          <a:endParaRPr lang="en-US"/>
        </a:p>
      </dgm:t>
    </dgm:pt>
    <dgm:pt modelId="{D2D83A8B-CCCA-42D5-8894-226969206E1B}" type="sibTrans" cxnId="{8EB90479-821A-4DCB-83A6-3F897A18BEA6}">
      <dgm:prSet/>
      <dgm:spPr/>
      <dgm:t>
        <a:bodyPr/>
        <a:lstStyle/>
        <a:p>
          <a:endParaRPr lang="en-US"/>
        </a:p>
      </dgm:t>
    </dgm:pt>
    <dgm:pt modelId="{1EB32244-5DD4-4097-913E-BE6EA4FDFBEC}">
      <dgm:prSet/>
      <dgm:spPr/>
      <dgm:t>
        <a:bodyPr/>
        <a:lstStyle/>
        <a:p>
          <a:r>
            <a:rPr lang="en-US"/>
            <a:t>As Leaf level contains fewer columns than base table, the non-clustered index uses fewer pages than the corresponding base table.</a:t>
          </a:r>
          <a:endParaRPr lang="en-US" u="none"/>
        </a:p>
      </dgm:t>
    </dgm:pt>
    <dgm:pt modelId="{5197F012-9E05-4591-814A-1D512E9B295D}" type="parTrans" cxnId="{EE3558EA-E792-4CAF-9B4F-B5AD78A78562}">
      <dgm:prSet/>
      <dgm:spPr/>
      <dgm:t>
        <a:bodyPr/>
        <a:lstStyle/>
        <a:p>
          <a:endParaRPr lang="en-US"/>
        </a:p>
      </dgm:t>
    </dgm:pt>
    <dgm:pt modelId="{00B5F050-D943-4B27-8835-49511C94F5A0}" type="sibTrans" cxnId="{EE3558EA-E792-4CAF-9B4F-B5AD78A78562}">
      <dgm:prSet/>
      <dgm:spPr/>
      <dgm:t>
        <a:bodyPr/>
        <a:lstStyle/>
        <a:p>
          <a:endParaRPr lang="en-US"/>
        </a:p>
      </dgm:t>
    </dgm:pt>
    <dgm:pt modelId="{27DB2621-D425-4E88-BA49-3BB127CFCFEB}">
      <dgm:prSet/>
      <dgm:spPr/>
      <dgm:t>
        <a:bodyPr/>
        <a:lstStyle/>
        <a:p>
          <a:r>
            <a:rPr lang="en-US" b="0" i="0" u="none" baseline="0">
              <a:effectLst/>
              <a:latin typeface="+mn-lt"/>
              <a:ea typeface="+mn-ea"/>
              <a:cs typeface="+mn-cs"/>
            </a:rPr>
            <a:t>Row ID (RID when base table is HEAP)</a:t>
          </a:r>
          <a:endParaRPr lang="en-US"/>
        </a:p>
      </dgm:t>
    </dgm:pt>
    <dgm:pt modelId="{A83B9BB3-1685-441B-ADA5-C317416068D4}" type="parTrans" cxnId="{BBFFA024-47EA-48BD-AB19-E93918860658}">
      <dgm:prSet/>
      <dgm:spPr/>
      <dgm:t>
        <a:bodyPr/>
        <a:lstStyle/>
        <a:p>
          <a:endParaRPr lang="en-US"/>
        </a:p>
      </dgm:t>
    </dgm:pt>
    <dgm:pt modelId="{0059C056-2D42-42E4-BA90-BA243E56B135}" type="sibTrans" cxnId="{BBFFA024-47EA-48BD-AB19-E93918860658}">
      <dgm:prSet/>
      <dgm:spPr/>
      <dgm:t>
        <a:bodyPr/>
        <a:lstStyle/>
        <a:p>
          <a:endParaRPr lang="en-US"/>
        </a:p>
      </dgm:t>
    </dgm:pt>
    <dgm:pt modelId="{A66791C9-FC66-4711-8CDA-46232279A7C8}">
      <dgm:prSet/>
      <dgm:spPr/>
      <dgm:t>
        <a:bodyPr/>
        <a:lstStyle/>
        <a:p>
          <a:r>
            <a:rPr lang="en-US" b="0" i="0" u="none" baseline="0">
              <a:effectLst/>
              <a:latin typeface="+mn-lt"/>
              <a:ea typeface="+mn-ea"/>
              <a:cs typeface="+mn-cs"/>
            </a:rPr>
            <a:t>Key      (KEY when base table is Clustered) </a:t>
          </a:r>
          <a:endParaRPr lang="en-US" dirty="0"/>
        </a:p>
      </dgm:t>
    </dgm:pt>
    <dgm:pt modelId="{15328F54-E02E-48CD-A9F1-726DFA784C7F}" type="parTrans" cxnId="{2F92AB8F-7B2B-4EEC-9D61-4DFC0E7BBC7B}">
      <dgm:prSet/>
      <dgm:spPr/>
      <dgm:t>
        <a:bodyPr/>
        <a:lstStyle/>
        <a:p>
          <a:endParaRPr lang="en-US"/>
        </a:p>
      </dgm:t>
    </dgm:pt>
    <dgm:pt modelId="{DEF56018-7012-4052-B80D-C5E6DE9682E5}" type="sibTrans" cxnId="{2F92AB8F-7B2B-4EEC-9D61-4DFC0E7BBC7B}">
      <dgm:prSet/>
      <dgm:spPr/>
      <dgm:t>
        <a:bodyPr/>
        <a:lstStyle/>
        <a:p>
          <a:endParaRPr lang="en-US"/>
        </a:p>
      </dgm:t>
    </dgm:pt>
    <dgm:pt modelId="{0E663FDF-FCC5-400F-8536-56677CA3DC90}">
      <dgm:prSet/>
      <dgm:spPr/>
      <dgm:t>
        <a:bodyPr/>
        <a:lstStyle/>
        <a:p>
          <a:r>
            <a:rPr lang="en-US" b="0" i="0"/>
            <a:t>Table data can be sorted in only one way.</a:t>
          </a:r>
          <a:endParaRPr lang="en-US" b="0"/>
        </a:p>
      </dgm:t>
    </dgm:pt>
    <dgm:pt modelId="{024ED45B-AD1F-47FC-B6D3-7C981BCA672E}" type="parTrans" cxnId="{B4EDB34E-7222-4E53-9FC6-499CE697EE04}">
      <dgm:prSet/>
      <dgm:spPr/>
      <dgm:t>
        <a:bodyPr/>
        <a:lstStyle/>
        <a:p>
          <a:endParaRPr lang="en-US"/>
        </a:p>
      </dgm:t>
    </dgm:pt>
    <dgm:pt modelId="{9A7F8172-4DFF-47D1-87FF-1522EA3D6E58}" type="sibTrans" cxnId="{B4EDB34E-7222-4E53-9FC6-499CE697EE04}">
      <dgm:prSet/>
      <dgm:spPr/>
      <dgm:t>
        <a:bodyPr/>
        <a:lstStyle/>
        <a:p>
          <a:endParaRPr lang="en-US"/>
        </a:p>
      </dgm:t>
    </dgm:pt>
    <dgm:pt modelId="{F7771B0A-A471-425B-8C85-8C71A49056D5}">
      <dgm:prSet/>
      <dgm:spPr/>
      <dgm:t>
        <a:bodyPr/>
        <a:lstStyle/>
        <a:p>
          <a:r>
            <a:rPr lang="en-US" b="0" i="0"/>
            <a:t>Defines the order in which data is physically stored in a table.</a:t>
          </a:r>
          <a:endParaRPr lang="en-US" b="0"/>
        </a:p>
      </dgm:t>
    </dgm:pt>
    <dgm:pt modelId="{9B7434A4-0698-4E6C-BA01-7D2E4AC6CEF7}" type="parTrans" cxnId="{3F823E84-819D-4421-9D15-136D2C199E92}">
      <dgm:prSet/>
      <dgm:spPr/>
      <dgm:t>
        <a:bodyPr/>
        <a:lstStyle/>
        <a:p>
          <a:endParaRPr lang="en-US"/>
        </a:p>
      </dgm:t>
    </dgm:pt>
    <dgm:pt modelId="{2034D030-38FF-488E-B085-1D9D6DF485E4}" type="sibTrans" cxnId="{3F823E84-819D-4421-9D15-136D2C199E92}">
      <dgm:prSet/>
      <dgm:spPr/>
      <dgm:t>
        <a:bodyPr/>
        <a:lstStyle/>
        <a:p>
          <a:endParaRPr lang="en-US"/>
        </a:p>
      </dgm:t>
    </dgm:pt>
    <dgm:pt modelId="{E9EA3D65-13F7-43C9-94E0-E8C0C3A64BD1}">
      <dgm:prSet/>
      <dgm:spPr/>
      <dgm:t>
        <a:bodyPr/>
        <a:lstStyle/>
        <a:p>
          <a:endParaRPr lang="en-US"/>
        </a:p>
      </dgm:t>
    </dgm:pt>
    <dgm:pt modelId="{FD5FD4D2-3B3E-4744-B0CC-AEC48A972A2D}" type="parTrans" cxnId="{8C14BB0E-7B9B-4AFE-A1CA-BB0B295CC032}">
      <dgm:prSet/>
      <dgm:spPr/>
      <dgm:t>
        <a:bodyPr/>
        <a:lstStyle/>
        <a:p>
          <a:endParaRPr lang="en-US"/>
        </a:p>
      </dgm:t>
    </dgm:pt>
    <dgm:pt modelId="{64CC3659-004C-4AB1-9920-BCFC314AF1F2}" type="sibTrans" cxnId="{8C14BB0E-7B9B-4AFE-A1CA-BB0B295CC032}">
      <dgm:prSet/>
      <dgm:spPr/>
      <dgm:t>
        <a:bodyPr/>
        <a:lstStyle/>
        <a:p>
          <a:endParaRPr lang="en-US"/>
        </a:p>
      </dgm:t>
    </dgm:pt>
    <dgm:pt modelId="{BA5D76D4-02AA-45C5-82C8-2A7CC7F34638}">
      <dgm:prSet/>
      <dgm:spPr/>
      <dgm:t>
        <a:bodyPr/>
        <a:lstStyle/>
        <a:p>
          <a:endParaRPr lang="en-US"/>
        </a:p>
      </dgm:t>
    </dgm:pt>
    <dgm:pt modelId="{ECC6B342-34F1-4070-BC1A-9D00B04043D6}" type="parTrans" cxnId="{5EDAD10D-CA15-44D9-8D6C-FB0909896A0E}">
      <dgm:prSet/>
      <dgm:spPr/>
      <dgm:t>
        <a:bodyPr/>
        <a:lstStyle/>
        <a:p>
          <a:endParaRPr lang="en-US"/>
        </a:p>
      </dgm:t>
    </dgm:pt>
    <dgm:pt modelId="{25FBFA35-2BDD-4AF5-AC71-8DFD9E9F1F4D}" type="sibTrans" cxnId="{5EDAD10D-CA15-44D9-8D6C-FB0909896A0E}">
      <dgm:prSet/>
      <dgm:spPr/>
      <dgm:t>
        <a:bodyPr/>
        <a:lstStyle/>
        <a:p>
          <a:endParaRPr lang="en-US"/>
        </a:p>
      </dgm:t>
    </dgm:pt>
    <dgm:pt modelId="{5CF47F27-3679-419D-8721-C569F6B20F60}">
      <dgm:prSet/>
      <dgm:spPr/>
      <dgm:t>
        <a:bodyPr/>
        <a:lstStyle/>
        <a:p>
          <a:r>
            <a:rPr lang="en-US" b="0" i="0"/>
            <a:t>When a table has a clustered index, the object is called  clustered table.</a:t>
          </a:r>
          <a:endParaRPr lang="en-US" b="0"/>
        </a:p>
      </dgm:t>
    </dgm:pt>
    <dgm:pt modelId="{D72F91F8-EB10-426E-B407-9CCA87548B8F}" type="parTrans" cxnId="{7CD02078-5802-4843-B1F3-8D3FD3C372D9}">
      <dgm:prSet/>
      <dgm:spPr/>
      <dgm:t>
        <a:bodyPr/>
        <a:lstStyle/>
        <a:p>
          <a:endParaRPr lang="en-US"/>
        </a:p>
      </dgm:t>
    </dgm:pt>
    <dgm:pt modelId="{0C66922D-366B-4F6A-A995-2F051C0DE38B}" type="sibTrans" cxnId="{7CD02078-5802-4843-B1F3-8D3FD3C372D9}">
      <dgm:prSet/>
      <dgm:spPr/>
      <dgm:t>
        <a:bodyPr/>
        <a:lstStyle/>
        <a:p>
          <a:endParaRPr lang="en-US"/>
        </a:p>
      </dgm:t>
    </dgm:pt>
    <dgm:pt modelId="{E1556876-62DA-438E-9D58-422625E8657D}">
      <dgm:prSet/>
      <dgm:spPr/>
      <dgm:t>
        <a:bodyPr/>
        <a:lstStyle/>
        <a:p>
          <a:r>
            <a:rPr lang="en-US" b="0" dirty="0"/>
            <a:t>Cluster key is added to nonclustered index (as the pointer), keep it as narrow as possible.</a:t>
          </a:r>
        </a:p>
      </dgm:t>
    </dgm:pt>
    <dgm:pt modelId="{FCBFA3D6-7861-4C91-A9B0-B84A1E796A4D}" type="parTrans" cxnId="{BD1424FE-D58B-4B35-927A-CA3D54A7735A}">
      <dgm:prSet/>
      <dgm:spPr/>
      <dgm:t>
        <a:bodyPr/>
        <a:lstStyle/>
        <a:p>
          <a:endParaRPr lang="en-US"/>
        </a:p>
      </dgm:t>
    </dgm:pt>
    <dgm:pt modelId="{ED27DD5F-0B4D-467D-97DD-D25A945B244B}" type="sibTrans" cxnId="{BD1424FE-D58B-4B35-927A-CA3D54A7735A}">
      <dgm:prSet/>
      <dgm:spPr/>
      <dgm:t>
        <a:bodyPr/>
        <a:lstStyle/>
        <a:p>
          <a:endParaRPr lang="en-US"/>
        </a:p>
      </dgm:t>
    </dgm:pt>
    <dgm:pt modelId="{59131D91-CC1A-4423-98BF-02C35D118735}" type="pres">
      <dgm:prSet presAssocID="{D10FF6C0-E6CD-4147-838D-4B599EEE10A8}" presName="Name0" presStyleCnt="0">
        <dgm:presLayoutVars>
          <dgm:dir/>
          <dgm:animLvl val="lvl"/>
          <dgm:resizeHandles val="exact"/>
        </dgm:presLayoutVars>
      </dgm:prSet>
      <dgm:spPr/>
    </dgm:pt>
    <dgm:pt modelId="{50BD7240-FC43-4C93-B522-86D5274B5683}" type="pres">
      <dgm:prSet presAssocID="{BF6FB160-B554-4F55-84C6-4B8AC1EB349C}" presName="composite" presStyleCnt="0"/>
      <dgm:spPr/>
    </dgm:pt>
    <dgm:pt modelId="{9479630F-50BE-409E-86C9-441827C6F625}" type="pres">
      <dgm:prSet presAssocID="{BF6FB160-B554-4F55-84C6-4B8AC1EB349C}" presName="parTx" presStyleLbl="alignNode1" presStyleIdx="0" presStyleCnt="2">
        <dgm:presLayoutVars>
          <dgm:chMax val="0"/>
          <dgm:chPref val="0"/>
          <dgm:bulletEnabled val="1"/>
        </dgm:presLayoutVars>
      </dgm:prSet>
      <dgm:spPr/>
    </dgm:pt>
    <dgm:pt modelId="{F2F5B685-C057-477F-88B0-0EC77369843A}" type="pres">
      <dgm:prSet presAssocID="{BF6FB160-B554-4F55-84C6-4B8AC1EB349C}" presName="desTx" presStyleLbl="alignAccFollowNode1" presStyleIdx="0" presStyleCnt="2">
        <dgm:presLayoutVars>
          <dgm:bulletEnabled val="1"/>
        </dgm:presLayoutVars>
      </dgm:prSet>
      <dgm:spPr/>
    </dgm:pt>
    <dgm:pt modelId="{5B7CDD57-0140-493C-919E-74C34F1FA488}" type="pres">
      <dgm:prSet presAssocID="{3B6D2E0E-8028-4D40-AA1A-92925093C7DA}" presName="space" presStyleCnt="0"/>
      <dgm:spPr/>
    </dgm:pt>
    <dgm:pt modelId="{93A2BB81-FCEC-4D56-840C-CCF68797B707}" type="pres">
      <dgm:prSet presAssocID="{821D27D6-E6BB-489A-AA34-05A29A2B55D8}" presName="composite" presStyleCnt="0"/>
      <dgm:spPr/>
    </dgm:pt>
    <dgm:pt modelId="{4D155514-D448-46D1-BE52-48EDAE035B28}" type="pres">
      <dgm:prSet presAssocID="{821D27D6-E6BB-489A-AA34-05A29A2B55D8}" presName="parTx" presStyleLbl="alignNode1" presStyleIdx="1" presStyleCnt="2">
        <dgm:presLayoutVars>
          <dgm:chMax val="0"/>
          <dgm:chPref val="0"/>
          <dgm:bulletEnabled val="1"/>
        </dgm:presLayoutVars>
      </dgm:prSet>
      <dgm:spPr/>
    </dgm:pt>
    <dgm:pt modelId="{C931E9E9-FBEF-41AA-A7A6-BCFE74984E33}" type="pres">
      <dgm:prSet presAssocID="{821D27D6-E6BB-489A-AA34-05A29A2B55D8}" presName="desTx" presStyleLbl="alignAccFollowNode1" presStyleIdx="1" presStyleCnt="2">
        <dgm:presLayoutVars>
          <dgm:bulletEnabled val="1"/>
        </dgm:presLayoutVars>
      </dgm:prSet>
      <dgm:spPr/>
    </dgm:pt>
  </dgm:ptLst>
  <dgm:cxnLst>
    <dgm:cxn modelId="{30B55308-A7E8-4A83-B5B3-457CD508B125}" srcId="{D10FF6C0-E6CD-4147-838D-4B599EEE10A8}" destId="{821D27D6-E6BB-489A-AA34-05A29A2B55D8}" srcOrd="1" destOrd="0" parTransId="{77792C74-34E3-4F61-B7A9-66B3A3504BA8}" sibTransId="{D0AD591B-0571-474B-AB70-6C560A1A821C}"/>
    <dgm:cxn modelId="{541E130A-5DC0-47EB-988D-897020EF6CA5}" srcId="{821D27D6-E6BB-489A-AA34-05A29A2B55D8}" destId="{EA0039EC-765D-47A6-A454-EB79FFB7D6D0}" srcOrd="2" destOrd="0" parTransId="{B2BA17B9-EB15-4C17-A522-BA46BE165620}" sibTransId="{FF337856-94F4-49CB-B152-304486D57661}"/>
    <dgm:cxn modelId="{5EDAD10D-CA15-44D9-8D6C-FB0909896A0E}" srcId="{BF6FB160-B554-4F55-84C6-4B8AC1EB349C}" destId="{BA5D76D4-02AA-45C5-82C8-2A7CC7F34638}" srcOrd="5" destOrd="0" parTransId="{ECC6B342-34F1-4070-BC1A-9D00B04043D6}" sibTransId="{25FBFA35-2BDD-4AF5-AC71-8DFD9E9F1F4D}"/>
    <dgm:cxn modelId="{8C14BB0E-7B9B-4AFE-A1CA-BB0B295CC032}" srcId="{BF6FB160-B554-4F55-84C6-4B8AC1EB349C}" destId="{E9EA3D65-13F7-43C9-94E0-E8C0C3A64BD1}" srcOrd="6" destOrd="0" parTransId="{FD5FD4D2-3B3E-4744-B0CC-AEC48A972A2D}" sibTransId="{64CC3659-004C-4AB1-9920-BCFC314AF1F2}"/>
    <dgm:cxn modelId="{74709613-54EC-46E2-8243-942A2BBF6DE7}" type="presOf" srcId="{EA0039EC-765D-47A6-A454-EB79FFB7D6D0}" destId="{C931E9E9-FBEF-41AA-A7A6-BCFE74984E33}" srcOrd="0" destOrd="4" presId="urn:microsoft.com/office/officeart/2005/8/layout/hList1"/>
    <dgm:cxn modelId="{CF452B24-3F93-4170-8902-405A322CC480}" type="presOf" srcId="{E1556876-62DA-438E-9D58-422625E8657D}" destId="{F2F5B685-C057-477F-88B0-0EC77369843A}" srcOrd="0" destOrd="4" presId="urn:microsoft.com/office/officeart/2005/8/layout/hList1"/>
    <dgm:cxn modelId="{BBFFA024-47EA-48BD-AB19-E93918860658}" srcId="{EFBC3BA4-BA6A-47A9-9AD7-EB80D928D2A1}" destId="{27DB2621-D425-4E88-BA49-3BB127CFCFEB}" srcOrd="0" destOrd="0" parTransId="{A83B9BB3-1685-441B-ADA5-C317416068D4}" sibTransId="{0059C056-2D42-42E4-BA90-BA243E56B135}"/>
    <dgm:cxn modelId="{4212C62D-0279-421F-97DB-E397499DDD23}" srcId="{BF6FB160-B554-4F55-84C6-4B8AC1EB349C}" destId="{D32ECA96-70EF-4871-9F06-DC288D98D39B}" srcOrd="2" destOrd="0" parTransId="{53F4D5DB-F64A-43A7-A560-E23C5C9CD81B}" sibTransId="{812532DA-2325-42E9-80C9-AFDC1165BC69}"/>
    <dgm:cxn modelId="{2E705E44-63C8-4BDC-9908-A2824C63C049}" type="presOf" srcId="{1EB32244-5DD4-4097-913E-BE6EA4FDFBEC}" destId="{C931E9E9-FBEF-41AA-A7A6-BCFE74984E33}" srcOrd="0" destOrd="6" presId="urn:microsoft.com/office/officeart/2005/8/layout/hList1"/>
    <dgm:cxn modelId="{5B95C044-DD02-440C-AACC-7607D0128C6E}" srcId="{821D27D6-E6BB-489A-AA34-05A29A2B55D8}" destId="{EFBC3BA4-BA6A-47A9-9AD7-EB80D928D2A1}" srcOrd="1" destOrd="0" parTransId="{99EE8FB9-E488-4179-86E8-D2B27FA4F871}" sibTransId="{031357DF-52E1-4857-813E-69862D5B3931}"/>
    <dgm:cxn modelId="{8D81FE6D-8CCB-4C42-9B40-CD3258B3BF95}" type="presOf" srcId="{F7771B0A-A471-425B-8C85-8C71A49056D5}" destId="{F2F5B685-C057-477F-88B0-0EC77369843A}" srcOrd="0" destOrd="0" presId="urn:microsoft.com/office/officeart/2005/8/layout/hList1"/>
    <dgm:cxn modelId="{B4EDB34E-7222-4E53-9FC6-499CE697EE04}" srcId="{BF6FB160-B554-4F55-84C6-4B8AC1EB349C}" destId="{0E663FDF-FCC5-400F-8536-56677CA3DC90}" srcOrd="1" destOrd="0" parTransId="{024ED45B-AD1F-47FC-B6D3-7C981BCA672E}" sibTransId="{9A7F8172-4DFF-47D1-87FF-1522EA3D6E58}"/>
    <dgm:cxn modelId="{FAB31A73-A55B-41E9-8061-F9589D7EE769}" type="presOf" srcId="{EFBC3BA4-BA6A-47A9-9AD7-EB80D928D2A1}" destId="{C931E9E9-FBEF-41AA-A7A6-BCFE74984E33}" srcOrd="0" destOrd="1" presId="urn:microsoft.com/office/officeart/2005/8/layout/hList1"/>
    <dgm:cxn modelId="{7CD02078-5802-4843-B1F3-8D3FD3C372D9}" srcId="{BF6FB160-B554-4F55-84C6-4B8AC1EB349C}" destId="{5CF47F27-3679-419D-8721-C569F6B20F60}" srcOrd="3" destOrd="0" parTransId="{D72F91F8-EB10-426E-B407-9CCA87548B8F}" sibTransId="{0C66922D-366B-4F6A-A995-2F051C0DE38B}"/>
    <dgm:cxn modelId="{8EB90479-821A-4DCB-83A6-3F897A18BEA6}" srcId="{821D27D6-E6BB-489A-AA34-05A29A2B55D8}" destId="{4800BCFF-DE1E-40E2-BE2D-215CB5F3C3F8}" srcOrd="3" destOrd="0" parTransId="{CF852995-1682-4F08-B1E8-297340B2FA48}" sibTransId="{D2D83A8B-CCCA-42D5-8894-226969206E1B}"/>
    <dgm:cxn modelId="{3F823E84-819D-4421-9D15-136D2C199E92}" srcId="{BF6FB160-B554-4F55-84C6-4B8AC1EB349C}" destId="{F7771B0A-A471-425B-8C85-8C71A49056D5}" srcOrd="0" destOrd="0" parTransId="{9B7434A4-0698-4E6C-BA01-7D2E4AC6CEF7}" sibTransId="{2034D030-38FF-488E-B085-1D9D6DF485E4}"/>
    <dgm:cxn modelId="{2F92AB8F-7B2B-4EEC-9D61-4DFC0E7BBC7B}" srcId="{EFBC3BA4-BA6A-47A9-9AD7-EB80D928D2A1}" destId="{A66791C9-FC66-4711-8CDA-46232279A7C8}" srcOrd="1" destOrd="0" parTransId="{15328F54-E02E-48CD-A9F1-726DFA784C7F}" sibTransId="{DEF56018-7012-4052-B80D-C5E6DE9682E5}"/>
    <dgm:cxn modelId="{6E037290-1F6A-4477-A28D-DD8861A6287B}" type="presOf" srcId="{BF6FB160-B554-4F55-84C6-4B8AC1EB349C}" destId="{9479630F-50BE-409E-86C9-441827C6F625}" srcOrd="0" destOrd="0" presId="urn:microsoft.com/office/officeart/2005/8/layout/hList1"/>
    <dgm:cxn modelId="{F5E95EA6-E194-4474-BAF2-40D70410BA33}" type="presOf" srcId="{E9EA3D65-13F7-43C9-94E0-E8C0C3A64BD1}" destId="{F2F5B685-C057-477F-88B0-0EC77369843A}" srcOrd="0" destOrd="6" presId="urn:microsoft.com/office/officeart/2005/8/layout/hList1"/>
    <dgm:cxn modelId="{860F4CBA-3D09-488E-9D3F-37C05909E92B}" type="presOf" srcId="{0E663FDF-FCC5-400F-8536-56677CA3DC90}" destId="{F2F5B685-C057-477F-88B0-0EC77369843A}" srcOrd="0" destOrd="1" presId="urn:microsoft.com/office/officeart/2005/8/layout/hList1"/>
    <dgm:cxn modelId="{EC27D9C6-22C0-4314-8D34-07555F9CF6C3}" type="presOf" srcId="{821D27D6-E6BB-489A-AA34-05A29A2B55D8}" destId="{4D155514-D448-46D1-BE52-48EDAE035B28}" srcOrd="0" destOrd="0" presId="urn:microsoft.com/office/officeart/2005/8/layout/hList1"/>
    <dgm:cxn modelId="{CD1CD5CE-2BFB-48B5-A4DA-EFE041C3D9D4}" type="presOf" srcId="{A66791C9-FC66-4711-8CDA-46232279A7C8}" destId="{C931E9E9-FBEF-41AA-A7A6-BCFE74984E33}" srcOrd="0" destOrd="3" presId="urn:microsoft.com/office/officeart/2005/8/layout/hList1"/>
    <dgm:cxn modelId="{833E1AD1-BCA4-4C5F-83DE-98E85D44705D}" type="presOf" srcId="{4800BCFF-DE1E-40E2-BE2D-215CB5F3C3F8}" destId="{C931E9E9-FBEF-41AA-A7A6-BCFE74984E33}" srcOrd="0" destOrd="5" presId="urn:microsoft.com/office/officeart/2005/8/layout/hList1"/>
    <dgm:cxn modelId="{39C22DD2-E3C9-4B25-BFE6-05DF9B2DCDBD}" type="presOf" srcId="{5CF47F27-3679-419D-8721-C569F6B20F60}" destId="{F2F5B685-C057-477F-88B0-0EC77369843A}" srcOrd="0" destOrd="3" presId="urn:microsoft.com/office/officeart/2005/8/layout/hList1"/>
    <dgm:cxn modelId="{6EC5EDDD-DC00-49D4-AB5E-AECEFC973CBA}" srcId="{D10FF6C0-E6CD-4147-838D-4B599EEE10A8}" destId="{BF6FB160-B554-4F55-84C6-4B8AC1EB349C}" srcOrd="0" destOrd="0" parTransId="{A3BA0989-2CB0-43C3-B412-54D7EBAC6E6E}" sibTransId="{3B6D2E0E-8028-4D40-AA1A-92925093C7DA}"/>
    <dgm:cxn modelId="{A20DC4E0-9171-4E8C-9559-BF8A420D7EF1}" type="presOf" srcId="{C90E9F2A-0519-4F10-9FEE-DE7D11592927}" destId="{C931E9E9-FBEF-41AA-A7A6-BCFE74984E33}" srcOrd="0" destOrd="0" presId="urn:microsoft.com/office/officeart/2005/8/layout/hList1"/>
    <dgm:cxn modelId="{20B0E2E0-6416-490F-B3E6-DD57A8BC0F4C}" type="presOf" srcId="{D10FF6C0-E6CD-4147-838D-4B599EEE10A8}" destId="{59131D91-CC1A-4423-98BF-02C35D118735}" srcOrd="0" destOrd="0" presId="urn:microsoft.com/office/officeart/2005/8/layout/hList1"/>
    <dgm:cxn modelId="{EE3558EA-E792-4CAF-9B4F-B5AD78A78562}" srcId="{821D27D6-E6BB-489A-AA34-05A29A2B55D8}" destId="{1EB32244-5DD4-4097-913E-BE6EA4FDFBEC}" srcOrd="4" destOrd="0" parTransId="{5197F012-9E05-4591-814A-1D512E9B295D}" sibTransId="{00B5F050-D943-4B27-8835-49511C94F5A0}"/>
    <dgm:cxn modelId="{6A7EFBF0-0EBF-47ED-B28B-E76AD4A8669F}" type="presOf" srcId="{27DB2621-D425-4E88-BA49-3BB127CFCFEB}" destId="{C931E9E9-FBEF-41AA-A7A6-BCFE74984E33}" srcOrd="0" destOrd="2" presId="urn:microsoft.com/office/officeart/2005/8/layout/hList1"/>
    <dgm:cxn modelId="{268F85F3-061C-4916-B67B-068BEBD4531A}" type="presOf" srcId="{D32ECA96-70EF-4871-9F06-DC288D98D39B}" destId="{F2F5B685-C057-477F-88B0-0EC77369843A}" srcOrd="0" destOrd="2" presId="urn:microsoft.com/office/officeart/2005/8/layout/hList1"/>
    <dgm:cxn modelId="{675124F6-F27E-4657-A9BD-5C876EDDAE60}" type="presOf" srcId="{BA5D76D4-02AA-45C5-82C8-2A7CC7F34638}" destId="{F2F5B685-C057-477F-88B0-0EC77369843A}" srcOrd="0" destOrd="5" presId="urn:microsoft.com/office/officeart/2005/8/layout/hList1"/>
    <dgm:cxn modelId="{BD1424FE-D58B-4B35-927A-CA3D54A7735A}" srcId="{BF6FB160-B554-4F55-84C6-4B8AC1EB349C}" destId="{E1556876-62DA-438E-9D58-422625E8657D}" srcOrd="4" destOrd="0" parTransId="{FCBFA3D6-7861-4C91-A9B0-B84A1E796A4D}" sibTransId="{ED27DD5F-0B4D-467D-97DD-D25A945B244B}"/>
    <dgm:cxn modelId="{C0AA77FE-9770-4B0B-A76C-67BCE587CF00}" srcId="{821D27D6-E6BB-489A-AA34-05A29A2B55D8}" destId="{C90E9F2A-0519-4F10-9FEE-DE7D11592927}" srcOrd="0" destOrd="0" parTransId="{34FE8762-E01B-46D0-87C2-9D2226FA0881}" sibTransId="{2C2629FF-47F9-45E8-85E6-17D354302656}"/>
    <dgm:cxn modelId="{2F7E0F9F-C8F9-4B28-8C72-F7B14A61B563}" type="presParOf" srcId="{59131D91-CC1A-4423-98BF-02C35D118735}" destId="{50BD7240-FC43-4C93-B522-86D5274B5683}" srcOrd="0" destOrd="0" presId="urn:microsoft.com/office/officeart/2005/8/layout/hList1"/>
    <dgm:cxn modelId="{02705C5F-52E2-40F7-9504-AE0B8F49994F}" type="presParOf" srcId="{50BD7240-FC43-4C93-B522-86D5274B5683}" destId="{9479630F-50BE-409E-86C9-441827C6F625}" srcOrd="0" destOrd="0" presId="urn:microsoft.com/office/officeart/2005/8/layout/hList1"/>
    <dgm:cxn modelId="{3ACFF50E-C39B-4971-B016-F17BDE3DFDB8}" type="presParOf" srcId="{50BD7240-FC43-4C93-B522-86D5274B5683}" destId="{F2F5B685-C057-477F-88B0-0EC77369843A}" srcOrd="1" destOrd="0" presId="urn:microsoft.com/office/officeart/2005/8/layout/hList1"/>
    <dgm:cxn modelId="{3AFC4629-B52C-42D8-BE4E-978751FDF629}" type="presParOf" srcId="{59131D91-CC1A-4423-98BF-02C35D118735}" destId="{5B7CDD57-0140-493C-919E-74C34F1FA488}" srcOrd="1" destOrd="0" presId="urn:microsoft.com/office/officeart/2005/8/layout/hList1"/>
    <dgm:cxn modelId="{1C6D7193-8987-4F63-822D-804A7C261197}" type="presParOf" srcId="{59131D91-CC1A-4423-98BF-02C35D118735}" destId="{93A2BB81-FCEC-4D56-840C-CCF68797B707}" srcOrd="2" destOrd="0" presId="urn:microsoft.com/office/officeart/2005/8/layout/hList1"/>
    <dgm:cxn modelId="{742E2106-E7C7-4725-A83D-EB164441CFCC}" type="presParOf" srcId="{93A2BB81-FCEC-4D56-840C-CCF68797B707}" destId="{4D155514-D448-46D1-BE52-48EDAE035B28}" srcOrd="0" destOrd="0" presId="urn:microsoft.com/office/officeart/2005/8/layout/hList1"/>
    <dgm:cxn modelId="{D63770E8-7B59-4EB9-8625-A7D26F82C550}" type="presParOf" srcId="{93A2BB81-FCEC-4D56-840C-CCF68797B707}" destId="{C931E9E9-FBEF-41AA-A7A6-BCFE74984E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97489C6-77CC-402A-9B0B-3EE358A8A822}"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1B5C026C-FC17-4C2A-A884-94BAE489BFF0}">
      <dgm:prSet custT="1"/>
      <dgm:spPr/>
      <dgm:t>
        <a:bodyPr/>
        <a:lstStyle/>
        <a:p>
          <a:r>
            <a:rPr lang="en-US" sz="2400" baseline="0" dirty="0"/>
            <a:t>Lookup effectively join the nonclustered index back to the clustered index or heap. </a:t>
          </a:r>
          <a:endParaRPr lang="en-US" sz="2400" dirty="0"/>
        </a:p>
      </dgm:t>
    </dgm:pt>
    <dgm:pt modelId="{157543C3-57F2-4E43-BCD7-DAE62D46E770}" type="parTrans" cxnId="{42EFE70B-8EE3-4817-B8C6-1A6D4C0F661A}">
      <dgm:prSet/>
      <dgm:spPr/>
      <dgm:t>
        <a:bodyPr/>
        <a:lstStyle/>
        <a:p>
          <a:endParaRPr lang="en-US"/>
        </a:p>
      </dgm:t>
    </dgm:pt>
    <dgm:pt modelId="{AAE7C47A-99D4-4FF6-9633-E45496D5629E}" type="sibTrans" cxnId="{42EFE70B-8EE3-4817-B8C6-1A6D4C0F661A}">
      <dgm:prSet/>
      <dgm:spPr/>
      <dgm:t>
        <a:bodyPr/>
        <a:lstStyle/>
        <a:p>
          <a:endParaRPr lang="en-US"/>
        </a:p>
      </dgm:t>
    </dgm:pt>
    <dgm:pt modelId="{216A8027-1B78-43F4-927C-A6E533DCDD3B}">
      <dgm:prSet/>
      <dgm:spPr/>
      <dgm:t>
        <a:bodyPr/>
        <a:lstStyle/>
        <a:p>
          <a:r>
            <a:rPr lang="en-US" baseline="0" dirty="0"/>
            <a:t>If table has clustered index, it is called </a:t>
          </a:r>
          <a:r>
            <a:rPr lang="en-US" b="1" baseline="0" dirty="0"/>
            <a:t>bookmark lookup</a:t>
          </a:r>
          <a:r>
            <a:rPr lang="en-US" baseline="0" dirty="0"/>
            <a:t> (or key lookup)</a:t>
          </a:r>
          <a:endParaRPr lang="en-US" dirty="0"/>
        </a:p>
      </dgm:t>
    </dgm:pt>
    <dgm:pt modelId="{45E78EE8-6BE0-4346-96BD-C5563AA8AC46}" type="parTrans" cxnId="{C6A9AE35-6F23-4674-AD1A-2AD838FF2988}">
      <dgm:prSet/>
      <dgm:spPr/>
      <dgm:t>
        <a:bodyPr/>
        <a:lstStyle/>
        <a:p>
          <a:endParaRPr lang="en-US"/>
        </a:p>
      </dgm:t>
    </dgm:pt>
    <dgm:pt modelId="{2A872085-4E6C-4539-8CCD-BF54B6F127DC}" type="sibTrans" cxnId="{C6A9AE35-6F23-4674-AD1A-2AD838FF2988}">
      <dgm:prSet/>
      <dgm:spPr/>
      <dgm:t>
        <a:bodyPr/>
        <a:lstStyle/>
        <a:p>
          <a:endParaRPr lang="en-US"/>
        </a:p>
      </dgm:t>
    </dgm:pt>
    <dgm:pt modelId="{6412C85D-169F-41F0-84BC-3F217AE37F59}">
      <dgm:prSet/>
      <dgm:spPr/>
      <dgm:t>
        <a:bodyPr/>
        <a:lstStyle/>
        <a:p>
          <a:r>
            <a:rPr lang="en-US" baseline="0" dirty="0"/>
            <a:t>If the table is a heap with a non-clustered index, it is called </a:t>
          </a:r>
          <a:r>
            <a:rPr lang="en-US" b="1" baseline="0" dirty="0"/>
            <a:t>RID lookup</a:t>
          </a:r>
          <a:endParaRPr lang="en-US" dirty="0"/>
        </a:p>
      </dgm:t>
    </dgm:pt>
    <dgm:pt modelId="{8A12F81A-B840-4724-A7A3-8A0A7D522D67}" type="parTrans" cxnId="{B2AC20F6-8D19-4255-AE15-AE762FABC830}">
      <dgm:prSet/>
      <dgm:spPr/>
      <dgm:t>
        <a:bodyPr/>
        <a:lstStyle/>
        <a:p>
          <a:endParaRPr lang="en-US"/>
        </a:p>
      </dgm:t>
    </dgm:pt>
    <dgm:pt modelId="{1F093F23-9255-4E4E-B5DC-7EF6939D2C2B}" type="sibTrans" cxnId="{B2AC20F6-8D19-4255-AE15-AE762FABC830}">
      <dgm:prSet/>
      <dgm:spPr/>
      <dgm:t>
        <a:bodyPr/>
        <a:lstStyle/>
        <a:p>
          <a:endParaRPr lang="en-US"/>
        </a:p>
      </dgm:t>
    </dgm:pt>
    <dgm:pt modelId="{183C13B0-2C92-4AC6-B069-548FBC21CA4E}">
      <dgm:prSet custT="1"/>
      <dgm:spPr/>
      <dgm:t>
        <a:bodyPr/>
        <a:lstStyle/>
        <a:p>
          <a:r>
            <a:rPr lang="en-US" sz="2400" baseline="0"/>
            <a:t>This is an expensive operation.</a:t>
          </a:r>
          <a:endParaRPr lang="en-US" sz="2400"/>
        </a:p>
      </dgm:t>
    </dgm:pt>
    <dgm:pt modelId="{D8539FB9-D647-4337-9EA7-9FB491AD0686}" type="parTrans" cxnId="{9F660B86-6FDB-4CE1-9662-6D5C07E8D55F}">
      <dgm:prSet/>
      <dgm:spPr/>
      <dgm:t>
        <a:bodyPr/>
        <a:lstStyle/>
        <a:p>
          <a:endParaRPr lang="en-US"/>
        </a:p>
      </dgm:t>
    </dgm:pt>
    <dgm:pt modelId="{71B8614D-06E7-43FC-B7B3-09F75004BF7C}" type="sibTrans" cxnId="{9F660B86-6FDB-4CE1-9662-6D5C07E8D55F}">
      <dgm:prSet/>
      <dgm:spPr/>
      <dgm:t>
        <a:bodyPr/>
        <a:lstStyle/>
        <a:p>
          <a:endParaRPr lang="en-US"/>
        </a:p>
      </dgm:t>
    </dgm:pt>
    <dgm:pt modelId="{95DE43BB-DDDE-4BB5-9E38-3C0A3AC96B50}" type="pres">
      <dgm:prSet presAssocID="{897489C6-77CC-402A-9B0B-3EE358A8A822}" presName="linear" presStyleCnt="0">
        <dgm:presLayoutVars>
          <dgm:animLvl val="lvl"/>
          <dgm:resizeHandles val="exact"/>
        </dgm:presLayoutVars>
      </dgm:prSet>
      <dgm:spPr/>
    </dgm:pt>
    <dgm:pt modelId="{06CA8411-A856-4535-A9DB-19352547C6DA}" type="pres">
      <dgm:prSet presAssocID="{1B5C026C-FC17-4C2A-A884-94BAE489BFF0}" presName="parentText" presStyleLbl="node1" presStyleIdx="0" presStyleCnt="2">
        <dgm:presLayoutVars>
          <dgm:chMax val="0"/>
          <dgm:bulletEnabled val="1"/>
        </dgm:presLayoutVars>
      </dgm:prSet>
      <dgm:spPr/>
    </dgm:pt>
    <dgm:pt modelId="{8BBA09E5-FE57-4951-B99F-2BDF89EC6551}" type="pres">
      <dgm:prSet presAssocID="{1B5C026C-FC17-4C2A-A884-94BAE489BFF0}" presName="childText" presStyleLbl="revTx" presStyleIdx="0" presStyleCnt="1">
        <dgm:presLayoutVars>
          <dgm:bulletEnabled val="1"/>
        </dgm:presLayoutVars>
      </dgm:prSet>
      <dgm:spPr/>
    </dgm:pt>
    <dgm:pt modelId="{1E056329-3A95-46B0-90C8-2B1FD0228165}" type="pres">
      <dgm:prSet presAssocID="{183C13B0-2C92-4AC6-B069-548FBC21CA4E}" presName="parentText" presStyleLbl="node1" presStyleIdx="1" presStyleCnt="2">
        <dgm:presLayoutVars>
          <dgm:chMax val="0"/>
          <dgm:bulletEnabled val="1"/>
        </dgm:presLayoutVars>
      </dgm:prSet>
      <dgm:spPr/>
    </dgm:pt>
  </dgm:ptLst>
  <dgm:cxnLst>
    <dgm:cxn modelId="{42EFE70B-8EE3-4817-B8C6-1A6D4C0F661A}" srcId="{897489C6-77CC-402A-9B0B-3EE358A8A822}" destId="{1B5C026C-FC17-4C2A-A884-94BAE489BFF0}" srcOrd="0" destOrd="0" parTransId="{157543C3-57F2-4E43-BCD7-DAE62D46E770}" sibTransId="{AAE7C47A-99D4-4FF6-9633-E45496D5629E}"/>
    <dgm:cxn modelId="{C6A9AE35-6F23-4674-AD1A-2AD838FF2988}" srcId="{1B5C026C-FC17-4C2A-A884-94BAE489BFF0}" destId="{216A8027-1B78-43F4-927C-A6E533DCDD3B}" srcOrd="0" destOrd="0" parTransId="{45E78EE8-6BE0-4346-96BD-C5563AA8AC46}" sibTransId="{2A872085-4E6C-4539-8CCD-BF54B6F127DC}"/>
    <dgm:cxn modelId="{724BAA45-0E46-4FB6-9EC2-09D1B05B3B75}" type="presOf" srcId="{1B5C026C-FC17-4C2A-A884-94BAE489BFF0}" destId="{06CA8411-A856-4535-A9DB-19352547C6DA}" srcOrd="0" destOrd="0" presId="urn:microsoft.com/office/officeart/2005/8/layout/vList2"/>
    <dgm:cxn modelId="{BB240354-D076-4ADF-978A-CD203A57D5FE}" type="presOf" srcId="{6412C85D-169F-41F0-84BC-3F217AE37F59}" destId="{8BBA09E5-FE57-4951-B99F-2BDF89EC6551}" srcOrd="0" destOrd="1" presId="urn:microsoft.com/office/officeart/2005/8/layout/vList2"/>
    <dgm:cxn modelId="{CCD5F376-3B04-46C6-8BD3-F46C57547B61}" type="presOf" srcId="{897489C6-77CC-402A-9B0B-3EE358A8A822}" destId="{95DE43BB-DDDE-4BB5-9E38-3C0A3AC96B50}" srcOrd="0" destOrd="0" presId="urn:microsoft.com/office/officeart/2005/8/layout/vList2"/>
    <dgm:cxn modelId="{9F660B86-6FDB-4CE1-9662-6D5C07E8D55F}" srcId="{897489C6-77CC-402A-9B0B-3EE358A8A822}" destId="{183C13B0-2C92-4AC6-B069-548FBC21CA4E}" srcOrd="1" destOrd="0" parTransId="{D8539FB9-D647-4337-9EA7-9FB491AD0686}" sibTransId="{71B8614D-06E7-43FC-B7B3-09F75004BF7C}"/>
    <dgm:cxn modelId="{5A0819C1-214B-49D2-B256-7DDE8D23CCD9}" type="presOf" srcId="{183C13B0-2C92-4AC6-B069-548FBC21CA4E}" destId="{1E056329-3A95-46B0-90C8-2B1FD0228165}" srcOrd="0" destOrd="0" presId="urn:microsoft.com/office/officeart/2005/8/layout/vList2"/>
    <dgm:cxn modelId="{FBD325CC-4F63-4E52-B932-FA459EDD6BB5}" type="presOf" srcId="{216A8027-1B78-43F4-927C-A6E533DCDD3B}" destId="{8BBA09E5-FE57-4951-B99F-2BDF89EC6551}" srcOrd="0" destOrd="0" presId="urn:microsoft.com/office/officeart/2005/8/layout/vList2"/>
    <dgm:cxn modelId="{B2AC20F6-8D19-4255-AE15-AE762FABC830}" srcId="{1B5C026C-FC17-4C2A-A884-94BAE489BFF0}" destId="{6412C85D-169F-41F0-84BC-3F217AE37F59}" srcOrd="1" destOrd="0" parTransId="{8A12F81A-B840-4724-A7A3-8A0A7D522D67}" sibTransId="{1F093F23-9255-4E4E-B5DC-7EF6939D2C2B}"/>
    <dgm:cxn modelId="{5F304C8B-C6BB-47CC-B79E-4F37A9493FC9}" type="presParOf" srcId="{95DE43BB-DDDE-4BB5-9E38-3C0A3AC96B50}" destId="{06CA8411-A856-4535-A9DB-19352547C6DA}" srcOrd="0" destOrd="0" presId="urn:microsoft.com/office/officeart/2005/8/layout/vList2"/>
    <dgm:cxn modelId="{1A9CB084-04B6-466E-B5DC-F07D3403058E}" type="presParOf" srcId="{95DE43BB-DDDE-4BB5-9E38-3C0A3AC96B50}" destId="{8BBA09E5-FE57-4951-B99F-2BDF89EC6551}" srcOrd="1" destOrd="0" presId="urn:microsoft.com/office/officeart/2005/8/layout/vList2"/>
    <dgm:cxn modelId="{2809041A-F75A-469A-828F-11E96063D7F3}" type="presParOf" srcId="{95DE43BB-DDDE-4BB5-9E38-3C0A3AC96B50}" destId="{1E056329-3A95-46B0-90C8-2B1FD022816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D823767-75E5-40B1-AA36-23DD9EBEA41D}" type="doc">
      <dgm:prSet loTypeId="urn:microsoft.com/office/officeart/2005/8/layout/default" loCatId="list" qsTypeId="urn:microsoft.com/office/officeart/2005/8/quickstyle/simple2" qsCatId="simple" csTypeId="urn:microsoft.com/office/officeart/2005/8/colors/colorful2" csCatId="colorful" phldr="1"/>
      <dgm:spPr/>
      <dgm:t>
        <a:bodyPr/>
        <a:lstStyle/>
        <a:p>
          <a:endParaRPr lang="en-US"/>
        </a:p>
      </dgm:t>
    </dgm:pt>
    <dgm:pt modelId="{AE01687F-7142-4E4B-BF26-CDBC7076E660}">
      <dgm:prSet/>
      <dgm:spPr/>
      <dgm:t>
        <a:bodyPr/>
        <a:lstStyle/>
        <a:p>
          <a:pPr>
            <a:lnSpc>
              <a:spcPct val="100000"/>
            </a:lnSpc>
          </a:pPr>
          <a:r>
            <a:rPr lang="en-US"/>
            <a:t>Included as additional non-key columns of data in the leaf level.</a:t>
          </a:r>
        </a:p>
      </dgm:t>
    </dgm:pt>
    <dgm:pt modelId="{C46CA9B6-3457-4320-A1B0-F9516384FA02}" type="parTrans" cxnId="{5D1C124F-4060-41EC-B06A-2BA027A502F2}">
      <dgm:prSet/>
      <dgm:spPr/>
      <dgm:t>
        <a:bodyPr/>
        <a:lstStyle/>
        <a:p>
          <a:endParaRPr lang="en-US"/>
        </a:p>
      </dgm:t>
    </dgm:pt>
    <dgm:pt modelId="{2B218826-9F79-4F0D-8B91-CC255734A9ED}" type="sibTrans" cxnId="{5D1C124F-4060-41EC-B06A-2BA027A502F2}">
      <dgm:prSet/>
      <dgm:spPr/>
      <dgm:t>
        <a:bodyPr/>
        <a:lstStyle/>
        <a:p>
          <a:endParaRPr lang="en-US"/>
        </a:p>
      </dgm:t>
    </dgm:pt>
    <dgm:pt modelId="{651EAFAC-4733-4857-9542-13C59FFD46FD}">
      <dgm:prSet/>
      <dgm:spPr/>
      <dgm:t>
        <a:bodyPr/>
        <a:lstStyle/>
        <a:p>
          <a:pPr>
            <a:lnSpc>
              <a:spcPct val="100000"/>
            </a:lnSpc>
          </a:pPr>
          <a:r>
            <a:rPr lang="en-US" dirty="0"/>
            <a:t>Allows for covering more queries.</a:t>
          </a:r>
        </a:p>
      </dgm:t>
    </dgm:pt>
    <dgm:pt modelId="{364FDEC5-E8C4-43A3-BD98-953A2FEB66C4}" type="parTrans" cxnId="{0AB3351E-4BA6-4D76-9F5B-361E496B391B}">
      <dgm:prSet/>
      <dgm:spPr/>
      <dgm:t>
        <a:bodyPr/>
        <a:lstStyle/>
        <a:p>
          <a:endParaRPr lang="en-US"/>
        </a:p>
      </dgm:t>
    </dgm:pt>
    <dgm:pt modelId="{04BBFCFA-F569-4C05-B31A-4A3993B61197}" type="sibTrans" cxnId="{0AB3351E-4BA6-4D76-9F5B-361E496B391B}">
      <dgm:prSet/>
      <dgm:spPr/>
      <dgm:t>
        <a:bodyPr/>
        <a:lstStyle/>
        <a:p>
          <a:endParaRPr lang="en-US"/>
        </a:p>
      </dgm:t>
    </dgm:pt>
    <dgm:pt modelId="{A42699C2-CE61-4BC1-9B95-67DF72811927}">
      <dgm:prSet/>
      <dgm:spPr/>
      <dgm:t>
        <a:bodyPr/>
        <a:lstStyle/>
        <a:p>
          <a:pPr>
            <a:lnSpc>
              <a:spcPct val="100000"/>
            </a:lnSpc>
          </a:pPr>
          <a:r>
            <a:rPr lang="en-US"/>
            <a:t>As query optimizer  can locate column values in index (leaf level) hence performance gain is achieved.</a:t>
          </a:r>
        </a:p>
      </dgm:t>
    </dgm:pt>
    <dgm:pt modelId="{454245A7-D47B-4669-9C6D-80CC8CE817CA}" type="parTrans" cxnId="{CC6D74B6-89FB-4CB6-B712-F89850679CDE}">
      <dgm:prSet/>
      <dgm:spPr/>
      <dgm:t>
        <a:bodyPr/>
        <a:lstStyle/>
        <a:p>
          <a:endParaRPr lang="en-US"/>
        </a:p>
      </dgm:t>
    </dgm:pt>
    <dgm:pt modelId="{CFB22072-CCA9-430E-A694-37EBAE36487A}" type="sibTrans" cxnId="{CC6D74B6-89FB-4CB6-B712-F89850679CDE}">
      <dgm:prSet/>
      <dgm:spPr/>
      <dgm:t>
        <a:bodyPr/>
        <a:lstStyle/>
        <a:p>
          <a:endParaRPr lang="en-US"/>
        </a:p>
      </dgm:t>
    </dgm:pt>
    <dgm:pt modelId="{47437DF9-2564-4F66-8BE1-33B0D846D8B1}">
      <dgm:prSet/>
      <dgm:spPr/>
      <dgm:t>
        <a:bodyPr/>
        <a:lstStyle/>
        <a:p>
          <a:pPr>
            <a:lnSpc>
              <a:spcPct val="100000"/>
            </a:lnSpc>
          </a:pPr>
          <a:r>
            <a:rPr lang="en-US"/>
            <a:t>Not restricted to a Maximum of 32 key columns and index key size of 1,700 bytes.</a:t>
          </a:r>
        </a:p>
      </dgm:t>
    </dgm:pt>
    <dgm:pt modelId="{C29E2885-6CB5-4D0E-87AD-B79388926A36}" type="parTrans" cxnId="{D34FBA93-13E2-4637-963D-4EF96D5F6CD9}">
      <dgm:prSet/>
      <dgm:spPr/>
      <dgm:t>
        <a:bodyPr/>
        <a:lstStyle/>
        <a:p>
          <a:endParaRPr lang="en-US"/>
        </a:p>
      </dgm:t>
    </dgm:pt>
    <dgm:pt modelId="{FD57300E-B9F2-4E28-A29C-553842E2C21D}" type="sibTrans" cxnId="{D34FBA93-13E2-4637-963D-4EF96D5F6CD9}">
      <dgm:prSet/>
      <dgm:spPr/>
      <dgm:t>
        <a:bodyPr/>
        <a:lstStyle/>
        <a:p>
          <a:endParaRPr lang="en-US"/>
        </a:p>
      </dgm:t>
    </dgm:pt>
    <dgm:pt modelId="{84E37C2F-4FFA-43AE-AC5E-DDACE05BD55B}">
      <dgm:prSet/>
      <dgm:spPr/>
      <dgm:t>
        <a:bodyPr/>
        <a:lstStyle/>
        <a:p>
          <a:pPr>
            <a:lnSpc>
              <a:spcPct val="100000"/>
            </a:lnSpc>
          </a:pPr>
          <a:r>
            <a:rPr lang="en-US"/>
            <a:t>(n)varchar(max) can be used, but not (n)text or image data types.</a:t>
          </a:r>
        </a:p>
      </dgm:t>
    </dgm:pt>
    <dgm:pt modelId="{8B884276-D334-4C8D-9180-755B8BBAC2F3}" type="parTrans" cxnId="{1D5BA62A-3295-479E-9A66-26CE0789BE08}">
      <dgm:prSet/>
      <dgm:spPr/>
      <dgm:t>
        <a:bodyPr/>
        <a:lstStyle/>
        <a:p>
          <a:endParaRPr lang="en-US"/>
        </a:p>
      </dgm:t>
    </dgm:pt>
    <dgm:pt modelId="{1BB80DE3-4B9B-4D50-9C0E-F259C9DC43B9}" type="sibTrans" cxnId="{1D5BA62A-3295-479E-9A66-26CE0789BE08}">
      <dgm:prSet/>
      <dgm:spPr/>
      <dgm:t>
        <a:bodyPr/>
        <a:lstStyle/>
        <a:p>
          <a:endParaRPr lang="en-US"/>
        </a:p>
      </dgm:t>
    </dgm:pt>
    <dgm:pt modelId="{5C1E9777-7A46-4477-9177-E931C88DB8FD}">
      <dgm:prSet/>
      <dgm:spPr/>
      <dgm:t>
        <a:bodyPr/>
        <a:lstStyle/>
        <a:p>
          <a:pPr>
            <a:lnSpc>
              <a:spcPct val="100000"/>
            </a:lnSpc>
          </a:pPr>
          <a:r>
            <a:rPr lang="en-US"/>
            <a:t>Index search is not permitted on non-key columns.</a:t>
          </a:r>
        </a:p>
      </dgm:t>
    </dgm:pt>
    <dgm:pt modelId="{65785D06-FBD5-4A9E-9B09-AABFA8407AE9}" type="parTrans" cxnId="{374DCB9D-75CC-42F2-8250-DBDFB2A10A73}">
      <dgm:prSet/>
      <dgm:spPr/>
      <dgm:t>
        <a:bodyPr/>
        <a:lstStyle/>
        <a:p>
          <a:endParaRPr lang="en-US"/>
        </a:p>
      </dgm:t>
    </dgm:pt>
    <dgm:pt modelId="{D47EB9C5-19F8-4E20-B60F-49D14E814593}" type="sibTrans" cxnId="{374DCB9D-75CC-42F2-8250-DBDFB2A10A73}">
      <dgm:prSet/>
      <dgm:spPr/>
      <dgm:t>
        <a:bodyPr/>
        <a:lstStyle/>
        <a:p>
          <a:endParaRPr lang="en-US"/>
        </a:p>
      </dgm:t>
    </dgm:pt>
    <dgm:pt modelId="{8384AE3D-BB6D-4ED4-B955-BCC0A557F7E9}" type="pres">
      <dgm:prSet presAssocID="{0D823767-75E5-40B1-AA36-23DD9EBEA41D}" presName="diagram" presStyleCnt="0">
        <dgm:presLayoutVars>
          <dgm:dir/>
          <dgm:resizeHandles val="exact"/>
        </dgm:presLayoutVars>
      </dgm:prSet>
      <dgm:spPr/>
    </dgm:pt>
    <dgm:pt modelId="{1EFD2977-BF4C-4E16-BBF5-F0184B562505}" type="pres">
      <dgm:prSet presAssocID="{AE01687F-7142-4E4B-BF26-CDBC7076E660}" presName="node" presStyleLbl="node1" presStyleIdx="0" presStyleCnt="6">
        <dgm:presLayoutVars>
          <dgm:bulletEnabled val="1"/>
        </dgm:presLayoutVars>
      </dgm:prSet>
      <dgm:spPr/>
    </dgm:pt>
    <dgm:pt modelId="{FA24305B-64A5-4E7C-BC12-2ABD924CA7D0}" type="pres">
      <dgm:prSet presAssocID="{2B218826-9F79-4F0D-8B91-CC255734A9ED}" presName="sibTrans" presStyleCnt="0"/>
      <dgm:spPr/>
    </dgm:pt>
    <dgm:pt modelId="{2A45E248-F090-4E2E-94A0-251B90A66818}" type="pres">
      <dgm:prSet presAssocID="{651EAFAC-4733-4857-9542-13C59FFD46FD}" presName="node" presStyleLbl="node1" presStyleIdx="1" presStyleCnt="6">
        <dgm:presLayoutVars>
          <dgm:bulletEnabled val="1"/>
        </dgm:presLayoutVars>
      </dgm:prSet>
      <dgm:spPr/>
    </dgm:pt>
    <dgm:pt modelId="{749FD955-0B90-43F4-97D2-C14B9B4AA15A}" type="pres">
      <dgm:prSet presAssocID="{04BBFCFA-F569-4C05-B31A-4A3993B61197}" presName="sibTrans" presStyleCnt="0"/>
      <dgm:spPr/>
    </dgm:pt>
    <dgm:pt modelId="{694C41C6-6602-47B8-BAF1-1BDAA0389773}" type="pres">
      <dgm:prSet presAssocID="{A42699C2-CE61-4BC1-9B95-67DF72811927}" presName="node" presStyleLbl="node1" presStyleIdx="2" presStyleCnt="6">
        <dgm:presLayoutVars>
          <dgm:bulletEnabled val="1"/>
        </dgm:presLayoutVars>
      </dgm:prSet>
      <dgm:spPr/>
    </dgm:pt>
    <dgm:pt modelId="{C08DF0EE-4D68-43C7-8A75-FABB2F624E7A}" type="pres">
      <dgm:prSet presAssocID="{CFB22072-CCA9-430E-A694-37EBAE36487A}" presName="sibTrans" presStyleCnt="0"/>
      <dgm:spPr/>
    </dgm:pt>
    <dgm:pt modelId="{23913432-9EF3-43E2-849F-64C3266A4480}" type="pres">
      <dgm:prSet presAssocID="{47437DF9-2564-4F66-8BE1-33B0D846D8B1}" presName="node" presStyleLbl="node1" presStyleIdx="3" presStyleCnt="6">
        <dgm:presLayoutVars>
          <dgm:bulletEnabled val="1"/>
        </dgm:presLayoutVars>
      </dgm:prSet>
      <dgm:spPr/>
    </dgm:pt>
    <dgm:pt modelId="{7143C944-0C55-4546-A4C4-276260517A52}" type="pres">
      <dgm:prSet presAssocID="{FD57300E-B9F2-4E28-A29C-553842E2C21D}" presName="sibTrans" presStyleCnt="0"/>
      <dgm:spPr/>
    </dgm:pt>
    <dgm:pt modelId="{46D3E9C9-4DE5-4EAA-9F57-42456B82E28D}" type="pres">
      <dgm:prSet presAssocID="{84E37C2F-4FFA-43AE-AC5E-DDACE05BD55B}" presName="node" presStyleLbl="node1" presStyleIdx="4" presStyleCnt="6">
        <dgm:presLayoutVars>
          <dgm:bulletEnabled val="1"/>
        </dgm:presLayoutVars>
      </dgm:prSet>
      <dgm:spPr/>
    </dgm:pt>
    <dgm:pt modelId="{26E600F3-CB5D-4F1D-B4C5-864D0DC544C7}" type="pres">
      <dgm:prSet presAssocID="{1BB80DE3-4B9B-4D50-9C0E-F259C9DC43B9}" presName="sibTrans" presStyleCnt="0"/>
      <dgm:spPr/>
    </dgm:pt>
    <dgm:pt modelId="{9989B58E-E256-4F65-B960-DCDD6359E16B}" type="pres">
      <dgm:prSet presAssocID="{5C1E9777-7A46-4477-9177-E931C88DB8FD}" presName="node" presStyleLbl="node1" presStyleIdx="5" presStyleCnt="6">
        <dgm:presLayoutVars>
          <dgm:bulletEnabled val="1"/>
        </dgm:presLayoutVars>
      </dgm:prSet>
      <dgm:spPr/>
    </dgm:pt>
  </dgm:ptLst>
  <dgm:cxnLst>
    <dgm:cxn modelId="{C9D5F90A-3050-4496-9296-F3D64DD64153}" type="presOf" srcId="{A42699C2-CE61-4BC1-9B95-67DF72811927}" destId="{694C41C6-6602-47B8-BAF1-1BDAA0389773}" srcOrd="0" destOrd="0" presId="urn:microsoft.com/office/officeart/2005/8/layout/default"/>
    <dgm:cxn modelId="{0AB3351E-4BA6-4D76-9F5B-361E496B391B}" srcId="{0D823767-75E5-40B1-AA36-23DD9EBEA41D}" destId="{651EAFAC-4733-4857-9542-13C59FFD46FD}" srcOrd="1" destOrd="0" parTransId="{364FDEC5-E8C4-43A3-BD98-953A2FEB66C4}" sibTransId="{04BBFCFA-F569-4C05-B31A-4A3993B61197}"/>
    <dgm:cxn modelId="{1D5BA62A-3295-479E-9A66-26CE0789BE08}" srcId="{0D823767-75E5-40B1-AA36-23DD9EBEA41D}" destId="{84E37C2F-4FFA-43AE-AC5E-DDACE05BD55B}" srcOrd="4" destOrd="0" parTransId="{8B884276-D334-4C8D-9180-755B8BBAC2F3}" sibTransId="{1BB80DE3-4B9B-4D50-9C0E-F259C9DC43B9}"/>
    <dgm:cxn modelId="{F40CBA34-BBE0-4601-8F15-A6AAB0EF50E3}" type="presOf" srcId="{651EAFAC-4733-4857-9542-13C59FFD46FD}" destId="{2A45E248-F090-4E2E-94A0-251B90A66818}" srcOrd="0" destOrd="0" presId="urn:microsoft.com/office/officeart/2005/8/layout/default"/>
    <dgm:cxn modelId="{EC287B39-D45B-46A9-92B0-05D51387CF08}" type="presOf" srcId="{0D823767-75E5-40B1-AA36-23DD9EBEA41D}" destId="{8384AE3D-BB6D-4ED4-B955-BCC0A557F7E9}" srcOrd="0" destOrd="0" presId="urn:microsoft.com/office/officeart/2005/8/layout/default"/>
    <dgm:cxn modelId="{7C431F3C-23D8-4593-806B-F932A4192044}" type="presOf" srcId="{AE01687F-7142-4E4B-BF26-CDBC7076E660}" destId="{1EFD2977-BF4C-4E16-BBF5-F0184B562505}" srcOrd="0" destOrd="0" presId="urn:microsoft.com/office/officeart/2005/8/layout/default"/>
    <dgm:cxn modelId="{5D1C124F-4060-41EC-B06A-2BA027A502F2}" srcId="{0D823767-75E5-40B1-AA36-23DD9EBEA41D}" destId="{AE01687F-7142-4E4B-BF26-CDBC7076E660}" srcOrd="0" destOrd="0" parTransId="{C46CA9B6-3457-4320-A1B0-F9516384FA02}" sibTransId="{2B218826-9F79-4F0D-8B91-CC255734A9ED}"/>
    <dgm:cxn modelId="{C76FB67D-7799-46E0-A491-E3B39697CE2D}" type="presOf" srcId="{84E37C2F-4FFA-43AE-AC5E-DDACE05BD55B}" destId="{46D3E9C9-4DE5-4EAA-9F57-42456B82E28D}" srcOrd="0" destOrd="0" presId="urn:microsoft.com/office/officeart/2005/8/layout/default"/>
    <dgm:cxn modelId="{D34FBA93-13E2-4637-963D-4EF96D5F6CD9}" srcId="{0D823767-75E5-40B1-AA36-23DD9EBEA41D}" destId="{47437DF9-2564-4F66-8BE1-33B0D846D8B1}" srcOrd="3" destOrd="0" parTransId="{C29E2885-6CB5-4D0E-87AD-B79388926A36}" sibTransId="{FD57300E-B9F2-4E28-A29C-553842E2C21D}"/>
    <dgm:cxn modelId="{374DCB9D-75CC-42F2-8250-DBDFB2A10A73}" srcId="{0D823767-75E5-40B1-AA36-23DD9EBEA41D}" destId="{5C1E9777-7A46-4477-9177-E931C88DB8FD}" srcOrd="5" destOrd="0" parTransId="{65785D06-FBD5-4A9E-9B09-AABFA8407AE9}" sibTransId="{D47EB9C5-19F8-4E20-B60F-49D14E814593}"/>
    <dgm:cxn modelId="{EA9988AC-1A73-43DF-95BF-C0EC68238717}" type="presOf" srcId="{47437DF9-2564-4F66-8BE1-33B0D846D8B1}" destId="{23913432-9EF3-43E2-849F-64C3266A4480}" srcOrd="0" destOrd="0" presId="urn:microsoft.com/office/officeart/2005/8/layout/default"/>
    <dgm:cxn modelId="{CC6D74B6-89FB-4CB6-B712-F89850679CDE}" srcId="{0D823767-75E5-40B1-AA36-23DD9EBEA41D}" destId="{A42699C2-CE61-4BC1-9B95-67DF72811927}" srcOrd="2" destOrd="0" parTransId="{454245A7-D47B-4669-9C6D-80CC8CE817CA}" sibTransId="{CFB22072-CCA9-430E-A694-37EBAE36487A}"/>
    <dgm:cxn modelId="{59956CD2-AA17-470D-A183-54BEDD00F3F6}" type="presOf" srcId="{5C1E9777-7A46-4477-9177-E931C88DB8FD}" destId="{9989B58E-E256-4F65-B960-DCDD6359E16B}" srcOrd="0" destOrd="0" presId="urn:microsoft.com/office/officeart/2005/8/layout/default"/>
    <dgm:cxn modelId="{382C4BDA-BCAB-43FD-BD01-4DE0D6C5458E}" type="presParOf" srcId="{8384AE3D-BB6D-4ED4-B955-BCC0A557F7E9}" destId="{1EFD2977-BF4C-4E16-BBF5-F0184B562505}" srcOrd="0" destOrd="0" presId="urn:microsoft.com/office/officeart/2005/8/layout/default"/>
    <dgm:cxn modelId="{4C0D4988-6A37-454D-99D8-9E95E51FC2A0}" type="presParOf" srcId="{8384AE3D-BB6D-4ED4-B955-BCC0A557F7E9}" destId="{FA24305B-64A5-4E7C-BC12-2ABD924CA7D0}" srcOrd="1" destOrd="0" presId="urn:microsoft.com/office/officeart/2005/8/layout/default"/>
    <dgm:cxn modelId="{E7F681DB-E645-4A8F-933B-805A8B9ED974}" type="presParOf" srcId="{8384AE3D-BB6D-4ED4-B955-BCC0A557F7E9}" destId="{2A45E248-F090-4E2E-94A0-251B90A66818}" srcOrd="2" destOrd="0" presId="urn:microsoft.com/office/officeart/2005/8/layout/default"/>
    <dgm:cxn modelId="{1585C5E1-A74C-4A0E-B2E4-E9C10D1E8434}" type="presParOf" srcId="{8384AE3D-BB6D-4ED4-B955-BCC0A557F7E9}" destId="{749FD955-0B90-43F4-97D2-C14B9B4AA15A}" srcOrd="3" destOrd="0" presId="urn:microsoft.com/office/officeart/2005/8/layout/default"/>
    <dgm:cxn modelId="{B2B5E7EB-8EE2-4E2D-8DE5-BEBECB2CF7DC}" type="presParOf" srcId="{8384AE3D-BB6D-4ED4-B955-BCC0A557F7E9}" destId="{694C41C6-6602-47B8-BAF1-1BDAA0389773}" srcOrd="4" destOrd="0" presId="urn:microsoft.com/office/officeart/2005/8/layout/default"/>
    <dgm:cxn modelId="{8C2890E3-F378-493E-9DF3-01CD4B49D57C}" type="presParOf" srcId="{8384AE3D-BB6D-4ED4-B955-BCC0A557F7E9}" destId="{C08DF0EE-4D68-43C7-8A75-FABB2F624E7A}" srcOrd="5" destOrd="0" presId="urn:microsoft.com/office/officeart/2005/8/layout/default"/>
    <dgm:cxn modelId="{7F524013-A180-4DF5-9058-2C9B47FFF69D}" type="presParOf" srcId="{8384AE3D-BB6D-4ED4-B955-BCC0A557F7E9}" destId="{23913432-9EF3-43E2-849F-64C3266A4480}" srcOrd="6" destOrd="0" presId="urn:microsoft.com/office/officeart/2005/8/layout/default"/>
    <dgm:cxn modelId="{17ECE03C-76E1-4D0D-B03C-9BC584F54EAF}" type="presParOf" srcId="{8384AE3D-BB6D-4ED4-B955-BCC0A557F7E9}" destId="{7143C944-0C55-4546-A4C4-276260517A52}" srcOrd="7" destOrd="0" presId="urn:microsoft.com/office/officeart/2005/8/layout/default"/>
    <dgm:cxn modelId="{C570E72F-BBED-4262-A9E9-F2BAA9167A90}" type="presParOf" srcId="{8384AE3D-BB6D-4ED4-B955-BCC0A557F7E9}" destId="{46D3E9C9-4DE5-4EAA-9F57-42456B82E28D}" srcOrd="8" destOrd="0" presId="urn:microsoft.com/office/officeart/2005/8/layout/default"/>
    <dgm:cxn modelId="{31E7D8A3-54F5-4081-A849-80BC892F27F7}" type="presParOf" srcId="{8384AE3D-BB6D-4ED4-B955-BCC0A557F7E9}" destId="{26E600F3-CB5D-4F1D-B4C5-864D0DC544C7}" srcOrd="9" destOrd="0" presId="urn:microsoft.com/office/officeart/2005/8/layout/default"/>
    <dgm:cxn modelId="{1101CEB1-3902-4F68-8FCF-C2A87BB7D385}" type="presParOf" srcId="{8384AE3D-BB6D-4ED4-B955-BCC0A557F7E9}" destId="{9989B58E-E256-4F65-B960-DCDD6359E16B}"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are the three access methods reviewed in this lesson?</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at are the three different types of allocations? </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at is the primary goal of indexing?</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990606" y="2878"/>
          <a:ext cx="4373549" cy="21074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dirty="0"/>
            <a:t>An index is an on-disk structure associated with a table that speeds retrieval of rows.</a:t>
          </a:r>
          <a:endParaRPr lang="en-US" sz="3000" kern="1200" dirty="0"/>
        </a:p>
      </dsp:txBody>
      <dsp:txXfrm>
        <a:off x="990606" y="2878"/>
        <a:ext cx="4373549" cy="2107497"/>
      </dsp:txXfrm>
    </dsp:sp>
    <dsp:sp modelId="{1D82B2A2-337A-42B0-996F-DE3C71434FA6}">
      <dsp:nvSpPr>
        <dsp:cNvPr id="0" name=""/>
        <dsp:cNvSpPr/>
      </dsp:nvSpPr>
      <dsp:spPr>
        <a:xfrm>
          <a:off x="990606" y="2461625"/>
          <a:ext cx="4373549" cy="2107497"/>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dirty="0"/>
            <a:t>An index contains keys built from one or more columns in the table.</a:t>
          </a:r>
          <a:endParaRPr lang="en-US" sz="3000" kern="1200" dirty="0"/>
        </a:p>
      </dsp:txBody>
      <dsp:txXfrm>
        <a:off x="990606" y="2461625"/>
        <a:ext cx="4373549" cy="210749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41B4A-DFAD-4E95-9962-2C093565E9BF}">
      <dsp:nvSpPr>
        <dsp:cNvPr id="0" name=""/>
        <dsp:cNvSpPr/>
      </dsp:nvSpPr>
      <dsp:spPr>
        <a:xfrm>
          <a:off x="4139" y="384155"/>
          <a:ext cx="2489189" cy="691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Narrow</a:t>
          </a:r>
        </a:p>
      </dsp:txBody>
      <dsp:txXfrm>
        <a:off x="4139" y="384155"/>
        <a:ext cx="2489189" cy="691200"/>
      </dsp:txXfrm>
    </dsp:sp>
    <dsp:sp modelId="{3054F010-4FBC-416B-9ABF-97AD6E9C8F0D}">
      <dsp:nvSpPr>
        <dsp:cNvPr id="0" name=""/>
        <dsp:cNvSpPr/>
      </dsp:nvSpPr>
      <dsp:spPr>
        <a:xfrm>
          <a:off x="4139" y="1075355"/>
          <a:ext cx="2489189" cy="32940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 a data type with a small number of bytes to conserve space in tables and indexes</a:t>
          </a:r>
        </a:p>
      </dsp:txBody>
      <dsp:txXfrm>
        <a:off x="4139" y="1075355"/>
        <a:ext cx="2489189" cy="3294000"/>
      </dsp:txXfrm>
    </dsp:sp>
    <dsp:sp modelId="{763147AF-1FF9-485A-9729-4A680B954A40}">
      <dsp:nvSpPr>
        <dsp:cNvPr id="0" name=""/>
        <dsp:cNvSpPr/>
      </dsp:nvSpPr>
      <dsp:spPr>
        <a:xfrm>
          <a:off x="2841815" y="384155"/>
          <a:ext cx="2489189" cy="691200"/>
        </a:xfrm>
        <a:prstGeom prst="rect">
          <a:avLst/>
        </a:prstGeom>
        <a:solidFill>
          <a:schemeClr val="accent2">
            <a:hueOff val="-889166"/>
            <a:satOff val="18461"/>
            <a:lumOff val="196"/>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Unique</a:t>
          </a:r>
        </a:p>
      </dsp:txBody>
      <dsp:txXfrm>
        <a:off x="2841815" y="384155"/>
        <a:ext cx="2489189" cy="691200"/>
      </dsp:txXfrm>
    </dsp:sp>
    <dsp:sp modelId="{BD48AE27-377F-404D-87E4-1FBB0CF4A686}">
      <dsp:nvSpPr>
        <dsp:cNvPr id="0" name=""/>
        <dsp:cNvSpPr/>
      </dsp:nvSpPr>
      <dsp:spPr>
        <a:xfrm>
          <a:off x="2841815" y="1075355"/>
          <a:ext cx="2489189" cy="3294000"/>
        </a:xfrm>
        <a:prstGeom prst="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To avoid SQL adding a 4-byte uniquifier</a:t>
          </a:r>
          <a:endParaRPr lang="en-US" sz="2400" kern="1200" dirty="0"/>
        </a:p>
      </dsp:txBody>
      <dsp:txXfrm>
        <a:off x="2841815" y="1075355"/>
        <a:ext cx="2489189" cy="3294000"/>
      </dsp:txXfrm>
    </dsp:sp>
    <dsp:sp modelId="{34B2FABE-8128-4E75-B0F4-F292E9EA6E19}">
      <dsp:nvSpPr>
        <dsp:cNvPr id="0" name=""/>
        <dsp:cNvSpPr/>
      </dsp:nvSpPr>
      <dsp:spPr>
        <a:xfrm>
          <a:off x="5679492" y="384155"/>
          <a:ext cx="2489189" cy="691200"/>
        </a:xfrm>
        <a:prstGeom prst="rect">
          <a:avLst/>
        </a:prstGeom>
        <a:solidFill>
          <a:schemeClr val="accent2">
            <a:hueOff val="-1778331"/>
            <a:satOff val="36921"/>
            <a:lumOff val="392"/>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atic</a:t>
          </a:r>
        </a:p>
      </dsp:txBody>
      <dsp:txXfrm>
        <a:off x="5679492" y="384155"/>
        <a:ext cx="2489189" cy="691200"/>
      </dsp:txXfrm>
    </dsp:sp>
    <dsp:sp modelId="{BB2779C5-2B1E-4DDB-AC32-7413C221669E}">
      <dsp:nvSpPr>
        <dsp:cNvPr id="0" name=""/>
        <dsp:cNvSpPr/>
      </dsp:nvSpPr>
      <dsp:spPr>
        <a:xfrm>
          <a:off x="5679492" y="1075355"/>
          <a:ext cx="2489189" cy="3294000"/>
        </a:xfrm>
        <a:prstGeom prst="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Allows data to stay constant without constant changes which could lead to page splits</a:t>
          </a:r>
          <a:endParaRPr lang="en-US" sz="2400" kern="1200" dirty="0"/>
        </a:p>
      </dsp:txBody>
      <dsp:txXfrm>
        <a:off x="5679492" y="1075355"/>
        <a:ext cx="2489189" cy="3294000"/>
      </dsp:txXfrm>
    </dsp:sp>
    <dsp:sp modelId="{6B9C340A-4C2D-4897-B4C9-C697ACEFEFF6}">
      <dsp:nvSpPr>
        <dsp:cNvPr id="0" name=""/>
        <dsp:cNvSpPr/>
      </dsp:nvSpPr>
      <dsp:spPr>
        <a:xfrm>
          <a:off x="8517168" y="384155"/>
          <a:ext cx="2489189" cy="691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Increasing</a:t>
          </a:r>
        </a:p>
      </dsp:txBody>
      <dsp:txXfrm>
        <a:off x="8517168" y="384155"/>
        <a:ext cx="2489189" cy="691200"/>
      </dsp:txXfrm>
    </dsp:sp>
    <dsp:sp modelId="{FF30CCCE-2AE3-4D84-8D37-03DD4AB19273}">
      <dsp:nvSpPr>
        <dsp:cNvPr id="0" name=""/>
        <dsp:cNvSpPr/>
      </dsp:nvSpPr>
      <dsp:spPr>
        <a:xfrm>
          <a:off x="8517168" y="1075355"/>
          <a:ext cx="2489189" cy="32940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Allows better write performance and reduces fragmentation issues</a:t>
          </a:r>
          <a:endParaRPr lang="en-US" sz="2400" kern="1200" dirty="0"/>
        </a:p>
      </dsp:txBody>
      <dsp:txXfrm>
        <a:off x="8517168" y="1075355"/>
        <a:ext cx="2489189" cy="3294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BFC81-22E8-45D4-901A-23C691F6DEB9}">
      <dsp:nvSpPr>
        <dsp:cNvPr id="0" name=""/>
        <dsp:cNvSpPr/>
      </dsp:nvSpPr>
      <dsp:spPr>
        <a:xfrm>
          <a:off x="53" y="46424"/>
          <a:ext cx="5084401" cy="1872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requently, clustering on the primary key supports the clustered index best practices </a:t>
          </a:r>
          <a:endParaRPr lang="en-US" sz="2400" kern="1200" dirty="0"/>
        </a:p>
      </dsp:txBody>
      <dsp:txXfrm>
        <a:off x="53" y="46424"/>
        <a:ext cx="5084401" cy="1872000"/>
      </dsp:txXfrm>
    </dsp:sp>
    <dsp:sp modelId="{6AF58ACC-1A49-4713-A8CF-20B66EAA09E8}">
      <dsp:nvSpPr>
        <dsp:cNvPr id="0" name=""/>
        <dsp:cNvSpPr/>
      </dsp:nvSpPr>
      <dsp:spPr>
        <a:xfrm>
          <a:off x="53" y="1918424"/>
          <a:ext cx="5084401" cy="28548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Query predicate use Primary Key</a:t>
          </a:r>
        </a:p>
        <a:p>
          <a:pPr marL="228600" lvl="1" indent="-228600" algn="l" defTabSz="889000">
            <a:lnSpc>
              <a:spcPct val="90000"/>
            </a:lnSpc>
            <a:spcBef>
              <a:spcPct val="0"/>
            </a:spcBef>
            <a:spcAft>
              <a:spcPct val="15000"/>
            </a:spcAft>
            <a:buChar char="•"/>
          </a:pPr>
          <a:r>
            <a:rPr lang="en-US" sz="2000" kern="1200" baseline="0" dirty="0"/>
            <a:t>Primary keys are involved in joins to foreign keys</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unique</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typically ascending</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typically not updated</a:t>
          </a:r>
          <a:endParaRPr lang="en-US" sz="2000" kern="1200" dirty="0"/>
        </a:p>
      </dsp:txBody>
      <dsp:txXfrm>
        <a:off x="53" y="1918424"/>
        <a:ext cx="5084401" cy="2854800"/>
      </dsp:txXfrm>
    </dsp:sp>
    <dsp:sp modelId="{C2D0EB96-AF50-4A35-A3DE-D8C7A53C0B87}">
      <dsp:nvSpPr>
        <dsp:cNvPr id="0" name=""/>
        <dsp:cNvSpPr/>
      </dsp:nvSpPr>
      <dsp:spPr>
        <a:xfrm>
          <a:off x="5796270" y="46424"/>
          <a:ext cx="5084401" cy="1872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o not cluster on the Primary key IF:</a:t>
          </a:r>
          <a:endParaRPr lang="en-US" sz="2400" kern="1200" dirty="0"/>
        </a:p>
      </dsp:txBody>
      <dsp:txXfrm>
        <a:off x="5796270" y="46424"/>
        <a:ext cx="5084401" cy="1872000"/>
      </dsp:txXfrm>
    </dsp:sp>
    <dsp:sp modelId="{EC2D2716-7AE0-4C46-9709-86BA3F5024B8}">
      <dsp:nvSpPr>
        <dsp:cNvPr id="0" name=""/>
        <dsp:cNvSpPr/>
      </dsp:nvSpPr>
      <dsp:spPr>
        <a:xfrm>
          <a:off x="5796270" y="1918424"/>
          <a:ext cx="5084401" cy="28548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When table is accessed by other keys than the primary key</a:t>
          </a:r>
          <a:endParaRPr lang="en-US" sz="2000" kern="1200" dirty="0"/>
        </a:p>
        <a:p>
          <a:pPr marL="228600" lvl="1" indent="-228600" algn="l" defTabSz="889000">
            <a:lnSpc>
              <a:spcPct val="90000"/>
            </a:lnSpc>
            <a:spcBef>
              <a:spcPct val="0"/>
            </a:spcBef>
            <a:spcAft>
              <a:spcPct val="15000"/>
            </a:spcAft>
            <a:buChar char="•"/>
          </a:pPr>
          <a:r>
            <a:rPr lang="en-US" sz="2000" kern="1200" dirty="0"/>
            <a:t>Common issue accessing association or child table, when these tables require different primary key than parent table</a:t>
          </a:r>
        </a:p>
        <a:p>
          <a:pPr marL="228600" lvl="1" indent="-228600" algn="l" defTabSz="889000">
            <a:lnSpc>
              <a:spcPct val="90000"/>
            </a:lnSpc>
            <a:spcBef>
              <a:spcPct val="0"/>
            </a:spcBef>
            <a:spcAft>
              <a:spcPct val="15000"/>
            </a:spcAft>
            <a:buChar char="•"/>
          </a:pPr>
          <a:r>
            <a:rPr lang="en-US" sz="2000" kern="1200" baseline="0"/>
            <a:t>Use sys.dm_db_index_usage_stats to review data access patterns of index</a:t>
          </a:r>
          <a:endParaRPr lang="en-US" sz="2000" kern="1200" dirty="0"/>
        </a:p>
      </dsp:txBody>
      <dsp:txXfrm>
        <a:off x="5796270" y="1918424"/>
        <a:ext cx="5084401" cy="28548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58023E-5379-4E43-8D5C-BDFB7061ED99}">
      <dsp:nvSpPr>
        <dsp:cNvPr id="0" name=""/>
        <dsp:cNvSpPr/>
      </dsp:nvSpPr>
      <dsp:spPr>
        <a:xfrm>
          <a:off x="0" y="496529"/>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Index columns used in WHERE clauses and JOINs.</a:t>
          </a:r>
          <a:endParaRPr lang="en-US" sz="2400" kern="1200"/>
        </a:p>
      </dsp:txBody>
      <dsp:txXfrm>
        <a:off x="0" y="496529"/>
        <a:ext cx="3400226" cy="2040136"/>
      </dsp:txXfrm>
    </dsp:sp>
    <dsp:sp modelId="{C74C92D6-8014-4E1D-9165-76DF4C5E6A84}">
      <dsp:nvSpPr>
        <dsp:cNvPr id="0" name=""/>
        <dsp:cNvSpPr/>
      </dsp:nvSpPr>
      <dsp:spPr>
        <a:xfrm>
          <a:off x="3740249" y="496529"/>
          <a:ext cx="3400226" cy="2040136"/>
        </a:xfrm>
        <a:prstGeom prst="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Keep indexes to a minimum, to minimize impact on DML and log writes.</a:t>
          </a:r>
          <a:endParaRPr lang="en-US" sz="2400" kern="1200" dirty="0"/>
        </a:p>
      </dsp:txBody>
      <dsp:txXfrm>
        <a:off x="3740249" y="496529"/>
        <a:ext cx="3400226" cy="2040136"/>
      </dsp:txXfrm>
    </dsp:sp>
    <dsp:sp modelId="{66311983-4D89-46B6-8ACF-DE2D1AA6A44E}">
      <dsp:nvSpPr>
        <dsp:cNvPr id="0" name=""/>
        <dsp:cNvSpPr/>
      </dsp:nvSpPr>
      <dsp:spPr>
        <a:xfrm>
          <a:off x="7480499" y="496529"/>
          <a:ext cx="3400226" cy="2040136"/>
        </a:xfrm>
        <a:prstGeom prst="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wo basic approaches: Single column indexes or Multicolumn indexes</a:t>
          </a:r>
          <a:endParaRPr lang="en-US" sz="2400" kern="1200" dirty="0"/>
        </a:p>
      </dsp:txBody>
      <dsp:txXfrm>
        <a:off x="7480499" y="496529"/>
        <a:ext cx="3400226" cy="2040136"/>
      </dsp:txXfrm>
    </dsp:sp>
    <dsp:sp modelId="{75123E70-C1E2-4C1F-8147-91166157351C}">
      <dsp:nvSpPr>
        <dsp:cNvPr id="0" name=""/>
        <dsp:cNvSpPr/>
      </dsp:nvSpPr>
      <dsp:spPr>
        <a:xfrm>
          <a:off x="0" y="2876687"/>
          <a:ext cx="3400226" cy="2040136"/>
        </a:xfrm>
        <a:prstGeom prst="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asy to create too many nonclustered indexes.</a:t>
          </a:r>
          <a:endParaRPr lang="en-US" sz="2400" kern="1200" dirty="0"/>
        </a:p>
      </dsp:txBody>
      <dsp:txXfrm>
        <a:off x="0" y="2876687"/>
        <a:ext cx="3400226" cy="2040136"/>
      </dsp:txXfrm>
    </dsp:sp>
    <dsp:sp modelId="{1F149603-872A-4E7C-8F99-341873593DB3}">
      <dsp:nvSpPr>
        <dsp:cNvPr id="0" name=""/>
        <dsp:cNvSpPr/>
      </dsp:nvSpPr>
      <dsp:spPr>
        <a:xfrm>
          <a:off x="3740249" y="2876687"/>
          <a:ext cx="3400226" cy="2040136"/>
        </a:xfrm>
        <a:prstGeom prst="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pecific indexes are appropriate for high-impact queries.</a:t>
          </a:r>
          <a:endParaRPr lang="en-US" sz="2400" kern="1200" dirty="0"/>
        </a:p>
      </dsp:txBody>
      <dsp:txXfrm>
        <a:off x="3740249" y="2876687"/>
        <a:ext cx="3400226" cy="2040136"/>
      </dsp:txXfrm>
    </dsp:sp>
    <dsp:sp modelId="{7D5CE624-757B-40F4-8159-0B7EE5A0DE93}">
      <dsp:nvSpPr>
        <dsp:cNvPr id="0" name=""/>
        <dsp:cNvSpPr/>
      </dsp:nvSpPr>
      <dsp:spPr>
        <a:xfrm>
          <a:off x="7480499" y="2876687"/>
          <a:ext cx="3400226" cy="2040136"/>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ally the focus should be writing queries to use existing indexes, rather than on adding more indexes.</a:t>
          </a:r>
          <a:endParaRPr lang="en-US" sz="2400" kern="1200" dirty="0"/>
        </a:p>
      </dsp:txBody>
      <dsp:txXfrm>
        <a:off x="7480499" y="2876687"/>
        <a:ext cx="3400226" cy="204013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3BB9FA-3BE2-434C-99E8-DDC76578CD48}">
      <dsp:nvSpPr>
        <dsp:cNvPr id="0" name=""/>
        <dsp:cNvSpPr/>
      </dsp:nvSpPr>
      <dsp:spPr>
        <a:xfrm>
          <a:off x="53" y="13845"/>
          <a:ext cx="5084401" cy="10368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ingle-column Indexing</a:t>
          </a:r>
          <a:endParaRPr lang="en-US" sz="2400" kern="1200" dirty="0"/>
        </a:p>
      </dsp:txBody>
      <dsp:txXfrm>
        <a:off x="53" y="13845"/>
        <a:ext cx="5084401" cy="1036800"/>
      </dsp:txXfrm>
    </dsp:sp>
    <dsp:sp modelId="{FE2C7C66-CDAF-4895-9759-8C87FBBD1B44}">
      <dsp:nvSpPr>
        <dsp:cNvPr id="0" name=""/>
        <dsp:cNvSpPr/>
      </dsp:nvSpPr>
      <dsp:spPr>
        <a:xfrm>
          <a:off x="53" y="1050645"/>
          <a:ext cx="5084401" cy="375515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Good choice for columns that are highly selective, or columns referenced often by criteria.</a:t>
          </a:r>
          <a:endParaRPr lang="en-US" sz="2400" kern="1200" dirty="0"/>
        </a:p>
        <a:p>
          <a:pPr marL="228600" lvl="1" indent="-228600" algn="l" defTabSz="1066800">
            <a:lnSpc>
              <a:spcPct val="90000"/>
            </a:lnSpc>
            <a:spcBef>
              <a:spcPct val="0"/>
            </a:spcBef>
            <a:spcAft>
              <a:spcPct val="15000"/>
            </a:spcAft>
            <a:buChar char="•"/>
          </a:pPr>
          <a:r>
            <a:rPr lang="en-US" sz="2400" kern="1200" dirty="0"/>
            <a:t>When filtering data from table with multiple single column indexes, SQL uses the index with higher cardinality column</a:t>
          </a:r>
          <a:r>
            <a:rPr lang="en-US" sz="2400" kern="1200" baseline="0" dirty="0"/>
            <a:t>, it may be better to not index the low cardinality column.</a:t>
          </a:r>
          <a:endParaRPr lang="en-US" sz="2400" kern="1200" dirty="0"/>
        </a:p>
      </dsp:txBody>
      <dsp:txXfrm>
        <a:off x="53" y="1050645"/>
        <a:ext cx="5084401" cy="3755159"/>
      </dsp:txXfrm>
    </dsp:sp>
    <dsp:sp modelId="{C6F2A52F-A18E-4511-AF8C-7363517072EA}">
      <dsp:nvSpPr>
        <dsp:cNvPr id="0" name=""/>
        <dsp:cNvSpPr/>
      </dsp:nvSpPr>
      <dsp:spPr>
        <a:xfrm>
          <a:off x="5796270" y="13845"/>
          <a:ext cx="5084401" cy="10368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ulti-Column Indexing</a:t>
          </a:r>
          <a:endParaRPr lang="en-US" sz="2400" kern="1200" dirty="0"/>
        </a:p>
      </dsp:txBody>
      <dsp:txXfrm>
        <a:off x="5796270" y="13845"/>
        <a:ext cx="5084401" cy="1036800"/>
      </dsp:txXfrm>
    </dsp:sp>
    <dsp:sp modelId="{0E5986F9-200B-4045-9FD8-97D9D189DAE5}">
      <dsp:nvSpPr>
        <dsp:cNvPr id="0" name=""/>
        <dsp:cNvSpPr/>
      </dsp:nvSpPr>
      <dsp:spPr>
        <a:xfrm>
          <a:off x="5796270" y="1050645"/>
          <a:ext cx="5084401" cy="3755159"/>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Good choice for low cardinality columns.</a:t>
          </a:r>
          <a:endParaRPr lang="en-US" sz="2400" kern="1200"/>
        </a:p>
        <a:p>
          <a:pPr marL="228600" lvl="1" indent="-228600" algn="l" defTabSz="1066800">
            <a:lnSpc>
              <a:spcPct val="90000"/>
            </a:lnSpc>
            <a:spcBef>
              <a:spcPct val="0"/>
            </a:spcBef>
            <a:spcAft>
              <a:spcPct val="15000"/>
            </a:spcAft>
            <a:buChar char="•"/>
          </a:pPr>
          <a:r>
            <a:rPr lang="en-US" sz="2400" kern="1200" baseline="0"/>
            <a:t>Highest cardinality field first, to zoom into a narrow range of the B-Tree as quickly as possible.</a:t>
          </a:r>
          <a:endParaRPr lang="en-US" sz="2400" kern="1200"/>
        </a:p>
        <a:p>
          <a:pPr marL="228600" lvl="1" indent="-228600" algn="l" defTabSz="1066800">
            <a:lnSpc>
              <a:spcPct val="90000"/>
            </a:lnSpc>
            <a:spcBef>
              <a:spcPct val="0"/>
            </a:spcBef>
            <a:spcAft>
              <a:spcPct val="15000"/>
            </a:spcAft>
            <a:buChar char="•"/>
          </a:pPr>
          <a:r>
            <a:rPr lang="en-US" sz="2400" kern="1200" baseline="0"/>
            <a:t>Equality columns before inequality columns.</a:t>
          </a:r>
          <a:endParaRPr lang="en-US" sz="2400" kern="1200"/>
        </a:p>
      </dsp:txBody>
      <dsp:txXfrm>
        <a:off x="5796270" y="1050645"/>
        <a:ext cx="5084401" cy="375515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F8AA3-6FA0-4755-AA6E-C5BC8AE4F574}">
      <dsp:nvSpPr>
        <dsp:cNvPr id="0" name=""/>
        <dsp:cNvSpPr/>
      </dsp:nvSpPr>
      <dsp:spPr>
        <a:xfrm>
          <a:off x="2356140" y="2333"/>
          <a:ext cx="8519955" cy="2261564"/>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None/>
          </a:pPr>
          <a:endParaRPr lang="en-US" sz="2100" kern="1200" dirty="0"/>
        </a:p>
        <a:p>
          <a:pPr marL="228600" lvl="1" indent="-228600" algn="l" defTabSz="933450">
            <a:lnSpc>
              <a:spcPct val="90000"/>
            </a:lnSpc>
            <a:spcBef>
              <a:spcPct val="0"/>
            </a:spcBef>
            <a:spcAft>
              <a:spcPct val="15000"/>
            </a:spcAft>
            <a:buNone/>
          </a:pPr>
          <a:r>
            <a:rPr lang="en-US" sz="2100" kern="1200" dirty="0"/>
            <a:t> </a:t>
          </a:r>
          <a:r>
            <a:rPr lang="en-US" sz="2100" kern="1200" baseline="0" dirty="0"/>
            <a:t> </a:t>
          </a:r>
          <a:endParaRPr lang="en-US" sz="2100" kern="1200" dirty="0"/>
        </a:p>
        <a:p>
          <a:pPr marL="228600" lvl="1" indent="-228600" algn="l" defTabSz="933450">
            <a:lnSpc>
              <a:spcPct val="90000"/>
            </a:lnSpc>
            <a:spcBef>
              <a:spcPct val="0"/>
            </a:spcBef>
            <a:spcAft>
              <a:spcPct val="15000"/>
            </a:spcAft>
            <a:buNone/>
          </a:pPr>
          <a:r>
            <a:rPr lang="en-US" sz="2100" kern="1200" baseline="0" dirty="0"/>
            <a:t>	CREATE INDEX IX1 ON TABLE (PostalCode, StateID, City)</a:t>
          </a:r>
          <a:endParaRPr lang="en-US" sz="2100" kern="1200" dirty="0"/>
        </a:p>
      </dsp:txBody>
      <dsp:txXfrm>
        <a:off x="2356140" y="285029"/>
        <a:ext cx="7671869" cy="1696173"/>
      </dsp:txXfrm>
    </dsp:sp>
    <dsp:sp modelId="{4ABF60CD-2ECA-4851-82A4-094AB17608A3}">
      <dsp:nvSpPr>
        <dsp:cNvPr id="0" name=""/>
        <dsp:cNvSpPr/>
      </dsp:nvSpPr>
      <dsp:spPr>
        <a:xfrm>
          <a:off x="0" y="2333"/>
          <a:ext cx="2351510" cy="226156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eek only happens if you search for the columns in the specified order.</a:t>
          </a:r>
          <a:endParaRPr lang="en-US" sz="2000" kern="1200" dirty="0"/>
        </a:p>
      </dsp:txBody>
      <dsp:txXfrm>
        <a:off x="110400" y="112733"/>
        <a:ext cx="2130710" cy="2040764"/>
      </dsp:txXfrm>
    </dsp:sp>
    <dsp:sp modelId="{6155D189-BFBB-4B9F-8D31-913BF9BA760D}">
      <dsp:nvSpPr>
        <dsp:cNvPr id="0" name=""/>
        <dsp:cNvSpPr/>
      </dsp:nvSpPr>
      <dsp:spPr>
        <a:xfrm>
          <a:off x="2365169" y="2490053"/>
          <a:ext cx="8515176" cy="2327262"/>
        </a:xfrm>
        <a:prstGeom prst="rightArrow">
          <a:avLst>
            <a:gd name="adj1" fmla="val 75000"/>
            <a:gd name="adj2" fmla="val 5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13335" rIns="13335" bIns="13335" numCol="1" spcCol="1270" anchor="t" anchorCtr="0">
          <a:noAutofit/>
        </a:bodyPr>
        <a:lstStyle/>
        <a:p>
          <a:pPr marL="228600" lvl="1" indent="-228600" algn="l" defTabSz="933450">
            <a:lnSpc>
              <a:spcPct val="90000"/>
            </a:lnSpc>
            <a:spcBef>
              <a:spcPct val="0"/>
            </a:spcBef>
            <a:spcAft>
              <a:spcPct val="15000"/>
            </a:spcAft>
            <a:buChar char="•"/>
          </a:pPr>
          <a:r>
            <a:rPr lang="en-US" sz="2100" kern="1200" baseline="0" dirty="0"/>
            <a:t>WHERE PostalCode = 98011 – seek</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AND StateID = 79 – seek both</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PostalCode = 98011 – seek AND City = Bothell -- scan</a:t>
          </a:r>
          <a:endParaRPr lang="en-US" sz="2100" kern="1200" dirty="0"/>
        </a:p>
        <a:p>
          <a:pPr marL="228600" lvl="1" indent="-228600" algn="l" defTabSz="933450">
            <a:lnSpc>
              <a:spcPct val="90000"/>
            </a:lnSpc>
            <a:spcBef>
              <a:spcPct val="0"/>
            </a:spcBef>
            <a:spcAft>
              <a:spcPct val="15000"/>
            </a:spcAft>
            <a:buChar char="•"/>
          </a:pPr>
          <a:r>
            <a:rPr lang="en-US" sz="2100" kern="1200" baseline="0" dirty="0"/>
            <a:t>WHERE StateID = 79 -- scan</a:t>
          </a:r>
          <a:endParaRPr lang="en-US" sz="2100" kern="1200" dirty="0"/>
        </a:p>
      </dsp:txBody>
      <dsp:txXfrm>
        <a:off x="2365169" y="2780961"/>
        <a:ext cx="7642453" cy="1745446"/>
      </dsp:txXfrm>
    </dsp:sp>
    <dsp:sp modelId="{2F27A988-C430-4343-AFC6-121B747947E2}">
      <dsp:nvSpPr>
        <dsp:cNvPr id="0" name=""/>
        <dsp:cNvSpPr/>
      </dsp:nvSpPr>
      <dsp:spPr>
        <a:xfrm>
          <a:off x="0" y="2471113"/>
          <a:ext cx="2364790" cy="2261564"/>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Effect of column in different WHERE clause.</a:t>
          </a:r>
          <a:endParaRPr lang="en-US" sz="2000" kern="1200" dirty="0"/>
        </a:p>
      </dsp:txBody>
      <dsp:txXfrm>
        <a:off x="110400" y="2581513"/>
        <a:ext cx="2143990" cy="204076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2F3F0E-A92D-47AF-95EE-E6CA0A2ACA47}">
      <dsp:nvSpPr>
        <dsp:cNvPr id="0" name=""/>
        <dsp:cNvSpPr/>
      </dsp:nvSpPr>
      <dsp:spPr>
        <a:xfrm>
          <a:off x="0" y="11877"/>
          <a:ext cx="10880726"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able or Index Partition</a:t>
          </a:r>
          <a:endParaRPr lang="en-US" sz="2400" kern="1200"/>
        </a:p>
      </dsp:txBody>
      <dsp:txXfrm>
        <a:off x="59399" y="71276"/>
        <a:ext cx="10761928" cy="1098002"/>
      </dsp:txXfrm>
    </dsp:sp>
    <dsp:sp modelId="{CC26E3C0-57D0-4B79-8FFB-DC7E4CB15078}">
      <dsp:nvSpPr>
        <dsp:cNvPr id="0" name=""/>
        <dsp:cNvSpPr/>
      </dsp:nvSpPr>
      <dsp:spPr>
        <a:xfrm>
          <a:off x="0" y="1228677"/>
          <a:ext cx="10880726" cy="1715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Breaking a single table or index into multiple </a:t>
          </a:r>
          <a:r>
            <a:rPr lang="en-US" sz="2400" kern="1200" baseline="0" dirty="0" err="1"/>
            <a:t>HoBT</a:t>
          </a:r>
          <a:r>
            <a:rPr lang="en-US" sz="2400" kern="1200" baseline="0" dirty="0"/>
            <a:t> ( Heap or B-Tree) structures</a:t>
          </a:r>
          <a:endParaRPr lang="en-US" sz="2400" kern="1200" dirty="0"/>
        </a:p>
        <a:p>
          <a:pPr marL="228600" lvl="1" indent="-228600" algn="l" defTabSz="1066800">
            <a:lnSpc>
              <a:spcPct val="90000"/>
            </a:lnSpc>
            <a:spcBef>
              <a:spcPct val="0"/>
            </a:spcBef>
            <a:spcAft>
              <a:spcPct val="20000"/>
            </a:spcAft>
            <a:buChar char="•"/>
          </a:pPr>
          <a:r>
            <a:rPr lang="en-US" sz="2400" kern="1200" baseline="0"/>
            <a:t>Requires a single column to use as partition key</a:t>
          </a:r>
          <a:endParaRPr lang="en-US" sz="2400" kern="1200"/>
        </a:p>
        <a:p>
          <a:pPr marL="228600" lvl="1" indent="-228600" algn="l" defTabSz="1066800">
            <a:lnSpc>
              <a:spcPct val="90000"/>
            </a:lnSpc>
            <a:spcBef>
              <a:spcPct val="0"/>
            </a:spcBef>
            <a:spcAft>
              <a:spcPct val="20000"/>
            </a:spcAft>
            <a:buChar char="•"/>
          </a:pPr>
          <a:r>
            <a:rPr lang="en-US" sz="2400" kern="1200" baseline="0"/>
            <a:t>Partitioning is transparent to all queries</a:t>
          </a:r>
          <a:endParaRPr lang="en-US" sz="2400" kern="1200"/>
        </a:p>
      </dsp:txBody>
      <dsp:txXfrm>
        <a:off x="0" y="1228677"/>
        <a:ext cx="10880726" cy="171551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21DD05-083C-4687-9B05-1EC2CC5AB7FC}">
      <dsp:nvSpPr>
        <dsp:cNvPr id="0" name=""/>
        <dsp:cNvSpPr/>
      </dsp:nvSpPr>
      <dsp:spPr>
        <a:xfrm>
          <a:off x="53" y="83707"/>
          <a:ext cx="5084401" cy="691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Data Access</a:t>
          </a:r>
          <a:endParaRPr lang="en-US" sz="2400" kern="1200"/>
        </a:p>
      </dsp:txBody>
      <dsp:txXfrm>
        <a:off x="53" y="83707"/>
        <a:ext cx="5084401" cy="691200"/>
      </dsp:txXfrm>
    </dsp:sp>
    <dsp:sp modelId="{2722B330-7598-4AA9-AE8D-E8374B445546}">
      <dsp:nvSpPr>
        <dsp:cNvPr id="0" name=""/>
        <dsp:cNvSpPr/>
      </dsp:nvSpPr>
      <dsp:spPr>
        <a:xfrm>
          <a:off x="53" y="774907"/>
          <a:ext cx="5084401" cy="396103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Faster data load and offload.</a:t>
          </a:r>
          <a:endParaRPr lang="en-US" sz="2400" kern="1200"/>
        </a:p>
        <a:p>
          <a:pPr marL="228600" lvl="1" indent="-228600" algn="l" defTabSz="1066800">
            <a:lnSpc>
              <a:spcPct val="90000"/>
            </a:lnSpc>
            <a:spcBef>
              <a:spcPct val="0"/>
            </a:spcBef>
            <a:spcAft>
              <a:spcPct val="15000"/>
            </a:spcAft>
            <a:buChar char="•"/>
          </a:pPr>
          <a:r>
            <a:rPr lang="en-US" sz="2400" kern="1200" baseline="0"/>
            <a:t>Query performance may be improved:</a:t>
          </a:r>
          <a:endParaRPr lang="en-US" sz="2400" kern="1200"/>
        </a:p>
        <a:p>
          <a:pPr marL="457200" lvl="2" indent="-228600" algn="l" defTabSz="1066800">
            <a:lnSpc>
              <a:spcPct val="90000"/>
            </a:lnSpc>
            <a:spcBef>
              <a:spcPct val="0"/>
            </a:spcBef>
            <a:spcAft>
              <a:spcPct val="15000"/>
            </a:spcAft>
            <a:buChar char="•"/>
          </a:pPr>
          <a:r>
            <a:rPr lang="en-US" sz="2400" kern="1200" dirty="0"/>
            <a:t>when predicate uses Partition-Key </a:t>
          </a:r>
          <a:r>
            <a:rPr lang="en-US" sz="2400" kern="1200" dirty="0">
              <a:sym typeface="Wingdings" panose="05000000000000000000" pitchFamily="2" charset="2"/>
            </a:rPr>
            <a:t> partition elimination</a:t>
          </a:r>
          <a:endParaRPr lang="en-US" sz="2400" kern="1200" dirty="0"/>
        </a:p>
        <a:p>
          <a:pPr marL="457200" lvl="2" indent="-228600" algn="l" defTabSz="1066800">
            <a:lnSpc>
              <a:spcPct val="90000"/>
            </a:lnSpc>
            <a:spcBef>
              <a:spcPct val="0"/>
            </a:spcBef>
            <a:spcAft>
              <a:spcPct val="15000"/>
            </a:spcAft>
            <a:buChar char="•"/>
          </a:pPr>
          <a:r>
            <a:rPr lang="en-US" sz="2400" kern="1200"/>
            <a:t>when predicate doesn’t use partition key </a:t>
          </a:r>
          <a:r>
            <a:rPr lang="en-US" sz="2400" kern="1200">
              <a:sym typeface="Wingdings" panose="05000000000000000000" pitchFamily="2" charset="2"/>
            </a:rPr>
            <a:t>  parallel execution</a:t>
          </a:r>
          <a:endParaRPr lang="en-US" sz="2400" kern="1200"/>
        </a:p>
      </dsp:txBody>
      <dsp:txXfrm>
        <a:off x="53" y="774907"/>
        <a:ext cx="5084401" cy="3961035"/>
      </dsp:txXfrm>
    </dsp:sp>
    <dsp:sp modelId="{5BA24992-C5F4-4C61-8C52-21B82AC4EE72}">
      <dsp:nvSpPr>
        <dsp:cNvPr id="0" name=""/>
        <dsp:cNvSpPr/>
      </dsp:nvSpPr>
      <dsp:spPr>
        <a:xfrm>
          <a:off x="5796270" y="83707"/>
          <a:ext cx="5084401" cy="691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aintenance and management</a:t>
          </a:r>
          <a:endParaRPr lang="en-US" sz="2400" kern="1200"/>
        </a:p>
      </dsp:txBody>
      <dsp:txXfrm>
        <a:off x="5796270" y="83707"/>
        <a:ext cx="5084401" cy="691200"/>
      </dsp:txXfrm>
    </dsp:sp>
    <dsp:sp modelId="{6BF49467-4455-4E54-AED5-FFC549A9B0A7}">
      <dsp:nvSpPr>
        <dsp:cNvPr id="0" name=""/>
        <dsp:cNvSpPr/>
      </dsp:nvSpPr>
      <dsp:spPr>
        <a:xfrm>
          <a:off x="5796270" y="774907"/>
          <a:ext cx="5084401" cy="396103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Data placement handled by SQL Server.</a:t>
          </a:r>
          <a:endParaRPr lang="en-US" sz="2400" kern="1200"/>
        </a:p>
        <a:p>
          <a:pPr marL="228600" lvl="1" indent="-228600" algn="l" defTabSz="1066800">
            <a:lnSpc>
              <a:spcPct val="90000"/>
            </a:lnSpc>
            <a:spcBef>
              <a:spcPct val="0"/>
            </a:spcBef>
            <a:spcAft>
              <a:spcPct val="15000"/>
            </a:spcAft>
            <a:buChar char="•"/>
          </a:pPr>
          <a:r>
            <a:rPr lang="en-US" sz="2400" kern="1200" baseline="0"/>
            <a:t>Piecemeal backup / restore of data by partition.</a:t>
          </a:r>
          <a:endParaRPr lang="en-US" sz="2400" kern="1200"/>
        </a:p>
        <a:p>
          <a:pPr marL="228600" lvl="1" indent="-228600" algn="l" defTabSz="1066800">
            <a:lnSpc>
              <a:spcPct val="90000"/>
            </a:lnSpc>
            <a:spcBef>
              <a:spcPct val="0"/>
            </a:spcBef>
            <a:spcAft>
              <a:spcPct val="15000"/>
            </a:spcAft>
            <a:buChar char="•"/>
          </a:pPr>
          <a:r>
            <a:rPr lang="en-US" sz="2400" kern="1200" baseline="0"/>
            <a:t>Per-Partition management available for:</a:t>
          </a:r>
          <a:endParaRPr lang="en-US" sz="2400" kern="1200"/>
        </a:p>
        <a:p>
          <a:pPr marL="457200" lvl="2" indent="-228600" algn="l" defTabSz="1066800">
            <a:lnSpc>
              <a:spcPct val="90000"/>
            </a:lnSpc>
            <a:spcBef>
              <a:spcPct val="0"/>
            </a:spcBef>
            <a:spcAft>
              <a:spcPct val="15000"/>
            </a:spcAft>
            <a:buChar char="•"/>
          </a:pPr>
          <a:r>
            <a:rPr lang="fr-FR" sz="2400" kern="1200" baseline="0"/>
            <a:t>Index Maintenance</a:t>
          </a:r>
          <a:endParaRPr lang="en-US" sz="2400" kern="1200"/>
        </a:p>
        <a:p>
          <a:pPr marL="457200" lvl="2" indent="-228600" algn="l" defTabSz="1066800">
            <a:lnSpc>
              <a:spcPct val="90000"/>
            </a:lnSpc>
            <a:spcBef>
              <a:spcPct val="0"/>
            </a:spcBef>
            <a:spcAft>
              <a:spcPct val="15000"/>
            </a:spcAft>
            <a:buChar char="•"/>
          </a:pPr>
          <a:r>
            <a:rPr lang="fr-FR" sz="2400" kern="1200" baseline="0"/>
            <a:t>Lock </a:t>
          </a:r>
          <a:r>
            <a:rPr lang="en-US" sz="2400" kern="1200" baseline="0"/>
            <a:t>Escalation</a:t>
          </a:r>
          <a:endParaRPr lang="en-US" sz="2400" kern="1200"/>
        </a:p>
        <a:p>
          <a:pPr marL="457200" lvl="2" indent="-228600" algn="l" defTabSz="1066800">
            <a:lnSpc>
              <a:spcPct val="90000"/>
            </a:lnSpc>
            <a:spcBef>
              <a:spcPct val="0"/>
            </a:spcBef>
            <a:spcAft>
              <a:spcPct val="15000"/>
            </a:spcAft>
            <a:buChar char="•"/>
          </a:pPr>
          <a:r>
            <a:rPr lang="fr-FR" sz="2400" kern="1200" baseline="0"/>
            <a:t>Compression</a:t>
          </a:r>
          <a:endParaRPr lang="en-US" sz="2400" kern="1200"/>
        </a:p>
      </dsp:txBody>
      <dsp:txXfrm>
        <a:off x="5796270" y="774907"/>
        <a:ext cx="5084401" cy="396103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2338D4-0560-4C3F-8EED-0A18C8B205F5}">
      <dsp:nvSpPr>
        <dsp:cNvPr id="0" name=""/>
        <dsp:cNvSpPr/>
      </dsp:nvSpPr>
      <dsp:spPr>
        <a:xfrm>
          <a:off x="4090" y="159979"/>
          <a:ext cx="2459851" cy="48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Function</a:t>
          </a:r>
          <a:endParaRPr lang="en-US" sz="1700" kern="1200"/>
        </a:p>
      </dsp:txBody>
      <dsp:txXfrm>
        <a:off x="4090" y="159979"/>
        <a:ext cx="2459851" cy="489600"/>
      </dsp:txXfrm>
    </dsp:sp>
    <dsp:sp modelId="{46E0E29F-7EAA-44F9-9B66-22C50F1D49E4}">
      <dsp:nvSpPr>
        <dsp:cNvPr id="0" name=""/>
        <dsp:cNvSpPr/>
      </dsp:nvSpPr>
      <dsp:spPr>
        <a:xfrm>
          <a:off x="4090" y="649579"/>
          <a:ext cx="2459851" cy="4000247"/>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Defines how the table is logically partitioned.</a:t>
          </a:r>
          <a:endParaRPr lang="en-US" sz="1700" kern="1200"/>
        </a:p>
        <a:p>
          <a:pPr marL="171450" lvl="1" indent="-171450" algn="l" defTabSz="755650">
            <a:lnSpc>
              <a:spcPct val="90000"/>
            </a:lnSpc>
            <a:spcBef>
              <a:spcPct val="0"/>
            </a:spcBef>
            <a:spcAft>
              <a:spcPct val="15000"/>
            </a:spcAft>
            <a:buChar char="•"/>
          </a:pPr>
          <a:r>
            <a:rPr lang="en-US" sz="1700" kern="1200" baseline="0"/>
            <a:t>Defines data type of partition key, and ranges of each partition.</a:t>
          </a:r>
          <a:endParaRPr lang="en-US" sz="1700" kern="1200"/>
        </a:p>
        <a:p>
          <a:pPr marL="171450" lvl="1" indent="-171450" algn="l" defTabSz="755650">
            <a:lnSpc>
              <a:spcPct val="90000"/>
            </a:lnSpc>
            <a:spcBef>
              <a:spcPct val="0"/>
            </a:spcBef>
            <a:spcAft>
              <a:spcPct val="15000"/>
            </a:spcAft>
            <a:buChar char="•"/>
          </a:pPr>
          <a:r>
            <a:rPr lang="en-US" sz="1700" kern="1200" baseline="0"/>
            <a:t>Ranges can be modified as needed.</a:t>
          </a:r>
          <a:endParaRPr lang="en-US" sz="1700" kern="1200"/>
        </a:p>
      </dsp:txBody>
      <dsp:txXfrm>
        <a:off x="4090" y="649579"/>
        <a:ext cx="2459851" cy="4000247"/>
      </dsp:txXfrm>
    </dsp:sp>
    <dsp:sp modelId="{EAB23EFF-5FCB-4B91-B31D-58EAA96343B0}">
      <dsp:nvSpPr>
        <dsp:cNvPr id="0" name=""/>
        <dsp:cNvSpPr/>
      </dsp:nvSpPr>
      <dsp:spPr>
        <a:xfrm>
          <a:off x="2808321" y="159979"/>
          <a:ext cx="2459851" cy="489600"/>
        </a:xfrm>
        <a:prstGeom prst="rect">
          <a:avLst/>
        </a:prstGeom>
        <a:solidFill>
          <a:schemeClr val="accent2">
            <a:hueOff val="-889166"/>
            <a:satOff val="18461"/>
            <a:lumOff val="196"/>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Schemes</a:t>
          </a:r>
          <a:endParaRPr lang="en-US" sz="1700" kern="1200"/>
        </a:p>
      </dsp:txBody>
      <dsp:txXfrm>
        <a:off x="2808321" y="159979"/>
        <a:ext cx="2459851" cy="489600"/>
      </dsp:txXfrm>
    </dsp:sp>
    <dsp:sp modelId="{EF2DE192-CCE8-4903-80CD-4F5BF19D1F86}">
      <dsp:nvSpPr>
        <dsp:cNvPr id="0" name=""/>
        <dsp:cNvSpPr/>
      </dsp:nvSpPr>
      <dsp:spPr>
        <a:xfrm>
          <a:off x="2808321" y="649579"/>
          <a:ext cx="2459851" cy="4000247"/>
        </a:xfrm>
        <a:prstGeom prst="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Specify mapping from partitioned table to Filegroup(s).</a:t>
          </a:r>
          <a:endParaRPr lang="en-US" sz="1700" kern="1200"/>
        </a:p>
        <a:p>
          <a:pPr marL="171450" lvl="1" indent="-171450" algn="l" defTabSz="755650">
            <a:lnSpc>
              <a:spcPct val="90000"/>
            </a:lnSpc>
            <a:spcBef>
              <a:spcPct val="0"/>
            </a:spcBef>
            <a:spcAft>
              <a:spcPct val="15000"/>
            </a:spcAft>
            <a:buChar char="•"/>
          </a:pPr>
          <a:r>
            <a:rPr lang="en-US" sz="1700" kern="1200" baseline="0" dirty="0"/>
            <a:t>Uses </a:t>
          </a:r>
          <a:r>
            <a:rPr lang="en-US" sz="1700" i="1" kern="1200" baseline="0" dirty="0"/>
            <a:t>Partition Function </a:t>
          </a:r>
          <a:r>
            <a:rPr lang="en-US" sz="1700" kern="1200" baseline="0" dirty="0"/>
            <a:t>to perform mapping.</a:t>
          </a:r>
          <a:endParaRPr lang="en-US" sz="1700" kern="1200" dirty="0"/>
        </a:p>
        <a:p>
          <a:pPr marL="171450" lvl="1" indent="-171450" algn="l" defTabSz="755650">
            <a:lnSpc>
              <a:spcPct val="90000"/>
            </a:lnSpc>
            <a:spcBef>
              <a:spcPct val="0"/>
            </a:spcBef>
            <a:spcAft>
              <a:spcPct val="15000"/>
            </a:spcAft>
            <a:buChar char="•"/>
          </a:pPr>
          <a:r>
            <a:rPr lang="en-US" sz="1700" kern="1200" baseline="0"/>
            <a:t>Different filegroups can provide increased performance, but is not required.</a:t>
          </a:r>
          <a:endParaRPr lang="en-US" sz="1700" kern="1200"/>
        </a:p>
      </dsp:txBody>
      <dsp:txXfrm>
        <a:off x="2808321" y="649579"/>
        <a:ext cx="2459851" cy="4000247"/>
      </dsp:txXfrm>
    </dsp:sp>
    <dsp:sp modelId="{37A713E9-45CD-44E1-922A-E046517D63C3}">
      <dsp:nvSpPr>
        <dsp:cNvPr id="0" name=""/>
        <dsp:cNvSpPr/>
      </dsp:nvSpPr>
      <dsp:spPr>
        <a:xfrm>
          <a:off x="5612552" y="159979"/>
          <a:ext cx="2459851" cy="489600"/>
        </a:xfrm>
        <a:prstGeom prst="rect">
          <a:avLst/>
        </a:prstGeom>
        <a:solidFill>
          <a:schemeClr val="accent2">
            <a:hueOff val="-1778331"/>
            <a:satOff val="36921"/>
            <a:lumOff val="392"/>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artition Column (key)</a:t>
          </a:r>
        </a:p>
      </dsp:txBody>
      <dsp:txXfrm>
        <a:off x="5612552" y="159979"/>
        <a:ext cx="2459851" cy="489600"/>
      </dsp:txXfrm>
    </dsp:sp>
    <dsp:sp modelId="{B2C6D201-BABA-4409-A981-A42CB71A08DE}">
      <dsp:nvSpPr>
        <dsp:cNvPr id="0" name=""/>
        <dsp:cNvSpPr/>
      </dsp:nvSpPr>
      <dsp:spPr>
        <a:xfrm>
          <a:off x="5612552" y="649579"/>
          <a:ext cx="2459851" cy="4000247"/>
        </a:xfrm>
        <a:prstGeom prst="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Column used to apply partition function.</a:t>
          </a:r>
        </a:p>
        <a:p>
          <a:pPr marL="171450" lvl="1" indent="-171450" algn="l" defTabSz="755650">
            <a:lnSpc>
              <a:spcPct val="90000"/>
            </a:lnSpc>
            <a:spcBef>
              <a:spcPct val="0"/>
            </a:spcBef>
            <a:spcAft>
              <a:spcPct val="15000"/>
            </a:spcAft>
            <a:buChar char="•"/>
          </a:pPr>
          <a:r>
            <a:rPr lang="en-US" sz="1700" kern="1200"/>
            <a:t>If using a computed column, it must be explicitly marked as </a:t>
          </a:r>
          <a:r>
            <a:rPr lang="en-US" sz="1700" b="0" kern="1200"/>
            <a:t>PERSISTED.</a:t>
          </a:r>
        </a:p>
      </dsp:txBody>
      <dsp:txXfrm>
        <a:off x="5612552" y="649579"/>
        <a:ext cx="2459851" cy="4000247"/>
      </dsp:txXfrm>
    </dsp:sp>
    <dsp:sp modelId="{08025B29-8032-4988-9C54-D05A1A5B2D8C}">
      <dsp:nvSpPr>
        <dsp:cNvPr id="0" name=""/>
        <dsp:cNvSpPr/>
      </dsp:nvSpPr>
      <dsp:spPr>
        <a:xfrm>
          <a:off x="8416783" y="159979"/>
          <a:ext cx="2459851" cy="4896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baseline="0"/>
            <a:t>Partition Table &amp; index</a:t>
          </a:r>
          <a:endParaRPr lang="en-US" sz="1700" kern="1200"/>
        </a:p>
      </dsp:txBody>
      <dsp:txXfrm>
        <a:off x="8416783" y="159979"/>
        <a:ext cx="2459851" cy="489600"/>
      </dsp:txXfrm>
    </dsp:sp>
    <dsp:sp modelId="{85E3A82E-BF2D-4FA2-B577-610C1E97741C}">
      <dsp:nvSpPr>
        <dsp:cNvPr id="0" name=""/>
        <dsp:cNvSpPr/>
      </dsp:nvSpPr>
      <dsp:spPr>
        <a:xfrm>
          <a:off x="8416783" y="649579"/>
          <a:ext cx="2459851" cy="4000247"/>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Partitioned Tables are defined using </a:t>
          </a:r>
          <a:r>
            <a:rPr lang="en-US" sz="1700" i="1" kern="1200"/>
            <a:t>Partition Schemes</a:t>
          </a:r>
          <a:r>
            <a:rPr lang="en-US" sz="1700" i="0" kern="1200"/>
            <a:t>.</a:t>
          </a:r>
        </a:p>
        <a:p>
          <a:pPr marL="171450" lvl="1" indent="-171450" algn="l" defTabSz="755650">
            <a:lnSpc>
              <a:spcPct val="90000"/>
            </a:lnSpc>
            <a:spcBef>
              <a:spcPct val="0"/>
            </a:spcBef>
            <a:spcAft>
              <a:spcPct val="15000"/>
            </a:spcAft>
            <a:buChar char="•"/>
          </a:pPr>
          <a:r>
            <a:rPr lang="en-US" sz="1700" kern="1200"/>
            <a:t>Several tables may share common Partition Functions and Partition Schemes.</a:t>
          </a:r>
        </a:p>
        <a:p>
          <a:pPr marL="171450" lvl="1" indent="-171450" algn="l" defTabSz="755650">
            <a:lnSpc>
              <a:spcPct val="90000"/>
            </a:lnSpc>
            <a:spcBef>
              <a:spcPct val="0"/>
            </a:spcBef>
            <a:spcAft>
              <a:spcPct val="15000"/>
            </a:spcAft>
            <a:buChar char="•"/>
          </a:pPr>
          <a:r>
            <a:rPr lang="en-US" sz="1700" kern="1200" baseline="0"/>
            <a:t>Loading data into the table or index creation, will move data to correct partition automatically.</a:t>
          </a:r>
          <a:endParaRPr lang="en-US" sz="1700" kern="1200"/>
        </a:p>
      </dsp:txBody>
      <dsp:txXfrm>
        <a:off x="8416783" y="649579"/>
        <a:ext cx="2459851" cy="400024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D8EE0C-7F04-43A3-BB69-4287DED5DB06}">
      <dsp:nvSpPr>
        <dsp:cNvPr id="0" name=""/>
        <dsp:cNvSpPr/>
      </dsp:nvSpPr>
      <dsp:spPr>
        <a:xfrm>
          <a:off x="53" y="28762"/>
          <a:ext cx="5084401" cy="576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Aligned Index</a:t>
          </a:r>
          <a:endParaRPr lang="en-US" sz="2400" kern="1200"/>
        </a:p>
      </dsp:txBody>
      <dsp:txXfrm>
        <a:off x="53" y="28762"/>
        <a:ext cx="5084401" cy="576000"/>
      </dsp:txXfrm>
    </dsp:sp>
    <dsp:sp modelId="{0F9E5E52-CAB5-46C2-8CF0-D8D116190E7D}">
      <dsp:nvSpPr>
        <dsp:cNvPr id="0" name=""/>
        <dsp:cNvSpPr/>
      </dsp:nvSpPr>
      <dsp:spPr>
        <a:xfrm>
          <a:off x="53" y="604762"/>
          <a:ext cx="5084401" cy="4186124"/>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An index that is built on the same partition scheme as its corresponding table.</a:t>
          </a:r>
          <a:endParaRPr lang="en-US" sz="2000" kern="1200"/>
        </a:p>
        <a:p>
          <a:pPr marL="228600" lvl="1" indent="-228600" algn="l" defTabSz="889000">
            <a:lnSpc>
              <a:spcPct val="90000"/>
            </a:lnSpc>
            <a:spcBef>
              <a:spcPct val="0"/>
            </a:spcBef>
            <a:spcAft>
              <a:spcPct val="15000"/>
            </a:spcAft>
            <a:buChar char="•"/>
          </a:pPr>
          <a:r>
            <a:rPr lang="en-US" sz="2000" kern="1200" baseline="0"/>
            <a:t>When a table and its indexes Align, SQL Server can switch partitions quickly and efficiently.</a:t>
          </a:r>
          <a:endParaRPr lang="en-US" sz="2000" kern="1200"/>
        </a:p>
      </dsp:txBody>
      <dsp:txXfrm>
        <a:off x="53" y="604762"/>
        <a:ext cx="5084401" cy="4186124"/>
      </dsp:txXfrm>
    </dsp:sp>
    <dsp:sp modelId="{CBD98650-F3B8-419C-88CD-033633D82A97}">
      <dsp:nvSpPr>
        <dsp:cNvPr id="0" name=""/>
        <dsp:cNvSpPr/>
      </dsp:nvSpPr>
      <dsp:spPr>
        <a:xfrm>
          <a:off x="5796270" y="28762"/>
          <a:ext cx="5084401" cy="576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Non-aligned index</a:t>
          </a:r>
          <a:endParaRPr lang="en-US" sz="2400" kern="1200"/>
        </a:p>
      </dsp:txBody>
      <dsp:txXfrm>
        <a:off x="5796270" y="28762"/>
        <a:ext cx="5084401" cy="576000"/>
      </dsp:txXfrm>
    </dsp:sp>
    <dsp:sp modelId="{D88BAB86-542E-44C0-925D-B70C533A5AA3}">
      <dsp:nvSpPr>
        <dsp:cNvPr id="0" name=""/>
        <dsp:cNvSpPr/>
      </dsp:nvSpPr>
      <dsp:spPr>
        <a:xfrm>
          <a:off x="5796270" y="604762"/>
          <a:ext cx="5084401" cy="4186124"/>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An index partitioned independently from its corresponding table.</a:t>
          </a:r>
          <a:endParaRPr lang="en-US" sz="2000" kern="1200"/>
        </a:p>
        <a:p>
          <a:pPr marL="228600" lvl="1" indent="-228600" algn="l" defTabSz="889000">
            <a:lnSpc>
              <a:spcPct val="90000"/>
            </a:lnSpc>
            <a:spcBef>
              <a:spcPct val="0"/>
            </a:spcBef>
            <a:spcAft>
              <a:spcPct val="15000"/>
            </a:spcAft>
            <a:buChar char="•"/>
          </a:pPr>
          <a:r>
            <a:rPr lang="en-US" sz="2000" kern="1200" baseline="0"/>
            <a:t>Designing a non-aligned partitioned index can be useful in the following cases:</a:t>
          </a:r>
          <a:endParaRPr lang="en-US" sz="2000" kern="1200"/>
        </a:p>
        <a:p>
          <a:pPr marL="457200" lvl="2" indent="-228600" algn="l" defTabSz="889000">
            <a:lnSpc>
              <a:spcPct val="90000"/>
            </a:lnSpc>
            <a:spcBef>
              <a:spcPct val="0"/>
            </a:spcBef>
            <a:spcAft>
              <a:spcPct val="15000"/>
            </a:spcAft>
            <a:buChar char="•"/>
          </a:pPr>
          <a:r>
            <a:rPr lang="en-US" sz="2000" kern="1200" baseline="0"/>
            <a:t>The base table has not been partitioned.</a:t>
          </a:r>
          <a:endParaRPr lang="en-US" sz="2000" kern="1200"/>
        </a:p>
        <a:p>
          <a:pPr marL="457200" lvl="2" indent="-228600" algn="l" defTabSz="889000">
            <a:lnSpc>
              <a:spcPct val="90000"/>
            </a:lnSpc>
            <a:spcBef>
              <a:spcPct val="0"/>
            </a:spcBef>
            <a:spcAft>
              <a:spcPct val="15000"/>
            </a:spcAft>
            <a:buChar char="•"/>
          </a:pPr>
          <a:r>
            <a:rPr lang="en-US" sz="2000" kern="1200" baseline="0"/>
            <a:t>The index key is unique, and it does not contain the partitioning column of the table.</a:t>
          </a:r>
          <a:endParaRPr lang="en-US" sz="2000" kern="1200"/>
        </a:p>
        <a:p>
          <a:pPr marL="457200" lvl="2" indent="-228600" algn="l" defTabSz="889000">
            <a:lnSpc>
              <a:spcPct val="90000"/>
            </a:lnSpc>
            <a:spcBef>
              <a:spcPct val="0"/>
            </a:spcBef>
            <a:spcAft>
              <a:spcPct val="15000"/>
            </a:spcAft>
            <a:buChar char="•"/>
          </a:pPr>
          <a:r>
            <a:rPr lang="en-US" sz="2000" kern="1200" baseline="0"/>
            <a:t>Useful when want to joins with more tables using different join columns.</a:t>
          </a:r>
          <a:endParaRPr lang="en-US" sz="2000" kern="1200"/>
        </a:p>
      </dsp:txBody>
      <dsp:txXfrm>
        <a:off x="5796270" y="604762"/>
        <a:ext cx="5084401" cy="418612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520E91-5606-4357-BB3B-60E8FE92AC93}">
      <dsp:nvSpPr>
        <dsp:cNvPr id="0" name=""/>
        <dsp:cNvSpPr/>
      </dsp:nvSpPr>
      <dsp:spPr>
        <a:xfrm>
          <a:off x="53" y="34092"/>
          <a:ext cx="5084401" cy="1353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Logical Alignment</a:t>
          </a:r>
        </a:p>
      </dsp:txBody>
      <dsp:txXfrm>
        <a:off x="53" y="34092"/>
        <a:ext cx="5084401" cy="1353600"/>
      </dsp:txXfrm>
    </dsp:sp>
    <dsp:sp modelId="{413827D7-DEB7-427C-8E7C-66D8A93F73BD}">
      <dsp:nvSpPr>
        <dsp:cNvPr id="0" name=""/>
        <dsp:cNvSpPr/>
      </dsp:nvSpPr>
      <dsp:spPr>
        <a:xfrm>
          <a:off x="53" y="1387693"/>
          <a:ext cx="5084401" cy="25803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Indexes are logically aligned when they use partitioning column.</a:t>
          </a:r>
          <a:endParaRPr lang="en-US" sz="2400" kern="1200" dirty="0"/>
        </a:p>
      </dsp:txBody>
      <dsp:txXfrm>
        <a:off x="53" y="1387693"/>
        <a:ext cx="5084401" cy="2580300"/>
      </dsp:txXfrm>
    </dsp:sp>
    <dsp:sp modelId="{63DF79E6-9770-4748-A103-5CC2CB407A57}">
      <dsp:nvSpPr>
        <dsp:cNvPr id="0" name=""/>
        <dsp:cNvSpPr/>
      </dsp:nvSpPr>
      <dsp:spPr>
        <a:xfrm>
          <a:off x="5796271" y="34092"/>
          <a:ext cx="5084401" cy="13536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torage Alignment</a:t>
          </a:r>
          <a:endParaRPr lang="en-US" sz="2400" kern="1200"/>
        </a:p>
      </dsp:txBody>
      <dsp:txXfrm>
        <a:off x="5796271" y="34092"/>
        <a:ext cx="5084401" cy="1353600"/>
      </dsp:txXfrm>
    </dsp:sp>
    <dsp:sp modelId="{C576C4B4-D5AE-41D7-945B-1B13066CC5E2}">
      <dsp:nvSpPr>
        <dsp:cNvPr id="0" name=""/>
        <dsp:cNvSpPr/>
      </dsp:nvSpPr>
      <dsp:spPr>
        <a:xfrm>
          <a:off x="5796271" y="1387693"/>
          <a:ext cx="5084401" cy="25803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Indexes are storage aligned when created on the same partitioning scheme.</a:t>
          </a:r>
          <a:endParaRPr lang="en-US" sz="2400" kern="1200"/>
        </a:p>
        <a:p>
          <a:pPr marL="228600" lvl="1" indent="-228600" algn="l" defTabSz="1066800">
            <a:lnSpc>
              <a:spcPct val="90000"/>
            </a:lnSpc>
            <a:spcBef>
              <a:spcPct val="0"/>
            </a:spcBef>
            <a:spcAft>
              <a:spcPct val="15000"/>
            </a:spcAft>
            <a:buChar char="•"/>
          </a:pPr>
          <a:r>
            <a:rPr lang="en-US" sz="2400" kern="1200" baseline="0"/>
            <a:t>By default, indexes will be created ON the partition scheme – ‘storage aligned’ indexes.</a:t>
          </a:r>
          <a:endParaRPr lang="en-US" sz="2400" kern="1200"/>
        </a:p>
      </dsp:txBody>
      <dsp:txXfrm>
        <a:off x="5796271" y="1387693"/>
        <a:ext cx="5084401" cy="25803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1037744" y="0"/>
          <a:ext cx="4373549" cy="210749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A SARGable item in a search predicate is able to use an index.</a:t>
          </a:r>
          <a:endParaRPr lang="en-US" sz="3000" kern="1200" dirty="0"/>
        </a:p>
      </dsp:txBody>
      <dsp:txXfrm>
        <a:off x="1037744" y="0"/>
        <a:ext cx="4373549" cy="2107497"/>
      </dsp:txXfrm>
    </dsp:sp>
    <dsp:sp modelId="{1D82B2A2-337A-42B0-996F-DE3C71434FA6}">
      <dsp:nvSpPr>
        <dsp:cNvPr id="0" name=""/>
        <dsp:cNvSpPr/>
      </dsp:nvSpPr>
      <dsp:spPr>
        <a:xfrm>
          <a:off x="990606" y="2461625"/>
          <a:ext cx="4373549" cy="2107497"/>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Non-SARGable expressions can significantly slow down queries.</a:t>
          </a:r>
          <a:endParaRPr lang="en-US" sz="3000" kern="1200" dirty="0"/>
        </a:p>
      </dsp:txBody>
      <dsp:txXfrm>
        <a:off x="990606" y="2461625"/>
        <a:ext cx="4373549" cy="210749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57AEA-4F31-4139-BBF0-04DB9538D05D}">
      <dsp:nvSpPr>
        <dsp:cNvPr id="0" name=""/>
        <dsp:cNvSpPr/>
      </dsp:nvSpPr>
      <dsp:spPr>
        <a:xfrm>
          <a:off x="3400" y="9223"/>
          <a:ext cx="3315221" cy="691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WITCH  </a:t>
          </a:r>
          <a:endParaRPr lang="en-US" sz="2400" kern="1200"/>
        </a:p>
      </dsp:txBody>
      <dsp:txXfrm>
        <a:off x="3400" y="9223"/>
        <a:ext cx="3315221" cy="691200"/>
      </dsp:txXfrm>
    </dsp:sp>
    <dsp:sp modelId="{DA866CE6-D326-4D8A-BAD6-91130FFAAD06}">
      <dsp:nvSpPr>
        <dsp:cNvPr id="0" name=""/>
        <dsp:cNvSpPr/>
      </dsp:nvSpPr>
      <dsp:spPr>
        <a:xfrm>
          <a:off x="3400" y="700423"/>
          <a:ext cx="3315221" cy="184464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s staging table</a:t>
          </a:r>
          <a:endParaRPr lang="en-US" sz="2400" kern="1200"/>
        </a:p>
        <a:p>
          <a:pPr marL="228600" lvl="1" indent="-228600" algn="l" defTabSz="1066800">
            <a:lnSpc>
              <a:spcPct val="90000"/>
            </a:lnSpc>
            <a:spcBef>
              <a:spcPct val="0"/>
            </a:spcBef>
            <a:spcAft>
              <a:spcPct val="15000"/>
            </a:spcAft>
            <a:buChar char="•"/>
          </a:pPr>
          <a:r>
            <a:rPr lang="en-US" sz="2400" kern="1200" baseline="0"/>
            <a:t>MUST have same schema as Partitioned table</a:t>
          </a:r>
          <a:endParaRPr lang="en-US" sz="2400" kern="1200"/>
        </a:p>
      </dsp:txBody>
      <dsp:txXfrm>
        <a:off x="3400" y="700423"/>
        <a:ext cx="3315221" cy="1844640"/>
      </dsp:txXfrm>
    </dsp:sp>
    <dsp:sp modelId="{1471983A-8C8B-43C6-A6F7-4ABD1271CAFE}">
      <dsp:nvSpPr>
        <dsp:cNvPr id="0" name=""/>
        <dsp:cNvSpPr/>
      </dsp:nvSpPr>
      <dsp:spPr>
        <a:xfrm>
          <a:off x="3782752" y="9223"/>
          <a:ext cx="3315221" cy="691200"/>
        </a:xfrm>
        <a:prstGeom prst="rect">
          <a:avLst/>
        </a:prstGeom>
        <a:solidFill>
          <a:schemeClr val="accent2">
            <a:hueOff val="-1333748"/>
            <a:satOff val="27691"/>
            <a:lumOff val="294"/>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MERGE</a:t>
          </a:r>
          <a:endParaRPr lang="en-US" sz="2400" kern="1200"/>
        </a:p>
      </dsp:txBody>
      <dsp:txXfrm>
        <a:off x="3782752" y="9223"/>
        <a:ext cx="3315221" cy="691200"/>
      </dsp:txXfrm>
    </dsp:sp>
    <dsp:sp modelId="{0F9FE860-7545-4DB7-BF18-CE47F5B61FD8}">
      <dsp:nvSpPr>
        <dsp:cNvPr id="0" name=""/>
        <dsp:cNvSpPr/>
      </dsp:nvSpPr>
      <dsp:spPr>
        <a:xfrm>
          <a:off x="3782752" y="700423"/>
          <a:ext cx="3315221" cy="1844640"/>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Used to eliminate an empty partition, by merging it with another partition</a:t>
          </a:r>
          <a:endParaRPr lang="en-US" sz="2400" kern="1200" dirty="0"/>
        </a:p>
      </dsp:txBody>
      <dsp:txXfrm>
        <a:off x="3782752" y="700423"/>
        <a:ext cx="3315221" cy="1844640"/>
      </dsp:txXfrm>
    </dsp:sp>
    <dsp:sp modelId="{63B3C317-A2CF-4A88-A8F3-EC6802DC6707}">
      <dsp:nvSpPr>
        <dsp:cNvPr id="0" name=""/>
        <dsp:cNvSpPr/>
      </dsp:nvSpPr>
      <dsp:spPr>
        <a:xfrm>
          <a:off x="7562104" y="9223"/>
          <a:ext cx="3315221" cy="691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PLIT</a:t>
          </a:r>
          <a:endParaRPr lang="en-US" sz="2400" kern="1200"/>
        </a:p>
      </dsp:txBody>
      <dsp:txXfrm>
        <a:off x="7562104" y="9223"/>
        <a:ext cx="3315221" cy="691200"/>
      </dsp:txXfrm>
    </dsp:sp>
    <dsp:sp modelId="{1E512FB7-39B5-4733-9AAC-365FCA673D9F}">
      <dsp:nvSpPr>
        <dsp:cNvPr id="0" name=""/>
        <dsp:cNvSpPr/>
      </dsp:nvSpPr>
      <dsp:spPr>
        <a:xfrm>
          <a:off x="7562104" y="700423"/>
          <a:ext cx="3315221" cy="184464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ed to create a new empty partition from an existing partition</a:t>
          </a:r>
          <a:endParaRPr lang="en-US" sz="2400" kern="1200"/>
        </a:p>
      </dsp:txBody>
      <dsp:txXfrm>
        <a:off x="7562104" y="700423"/>
        <a:ext cx="3315221" cy="184464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1851"/>
          <a:ext cx="10880725" cy="786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three structures are required to support partitions?</a:t>
          </a:r>
        </a:p>
      </dsp:txBody>
      <dsp:txXfrm>
        <a:off x="38381" y="60232"/>
        <a:ext cx="10803963" cy="709478"/>
      </dsp:txXfrm>
    </dsp:sp>
    <dsp:sp modelId="{4A71D5C7-A7D6-46CE-B888-CF65241F6B98}">
      <dsp:nvSpPr>
        <dsp:cNvPr id="0" name=""/>
        <dsp:cNvSpPr/>
      </dsp:nvSpPr>
      <dsp:spPr>
        <a:xfrm>
          <a:off x="0" y="929051"/>
          <a:ext cx="10880725" cy="7862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some benefits of partitioning?</a:t>
          </a:r>
        </a:p>
      </dsp:txBody>
      <dsp:txXfrm>
        <a:off x="38381" y="967432"/>
        <a:ext cx="10803963" cy="709478"/>
      </dsp:txXfrm>
    </dsp:sp>
    <dsp:sp modelId="{4CE6D622-6C4B-4912-A756-057BDFDF7259}">
      <dsp:nvSpPr>
        <dsp:cNvPr id="0" name=""/>
        <dsp:cNvSpPr/>
      </dsp:nvSpPr>
      <dsp:spPr>
        <a:xfrm>
          <a:off x="0" y="1836251"/>
          <a:ext cx="10880725" cy="7862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used for data movement in partitions or table?</a:t>
          </a:r>
        </a:p>
      </dsp:txBody>
      <dsp:txXfrm>
        <a:off x="38381" y="1874632"/>
        <a:ext cx="10803963" cy="70947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2B1F8-B029-4B99-91A8-CE1E383A2315}">
      <dsp:nvSpPr>
        <dsp:cNvPr id="0" name=""/>
        <dsp:cNvSpPr/>
      </dsp:nvSpPr>
      <dsp:spPr>
        <a:xfrm>
          <a:off x="0" y="34951"/>
          <a:ext cx="10880726" cy="1029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 access and distribution changes over time.</a:t>
          </a:r>
          <a:endParaRPr lang="en-US" sz="2400" kern="1200"/>
        </a:p>
      </dsp:txBody>
      <dsp:txXfrm>
        <a:off x="50261" y="85212"/>
        <a:ext cx="10780204" cy="929078"/>
      </dsp:txXfrm>
    </dsp:sp>
    <dsp:sp modelId="{E6D86303-23A1-4B21-B6BC-134290A7CEFD}">
      <dsp:nvSpPr>
        <dsp:cNvPr id="0" name=""/>
        <dsp:cNvSpPr/>
      </dsp:nvSpPr>
      <dsp:spPr>
        <a:xfrm>
          <a:off x="0" y="1222951"/>
          <a:ext cx="10880726" cy="10296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By reviewing index usage, we can ensure that the indexes are appropriate for the current workload.</a:t>
          </a:r>
          <a:endParaRPr lang="en-US" sz="2400" kern="1200" dirty="0"/>
        </a:p>
      </dsp:txBody>
      <dsp:txXfrm>
        <a:off x="50261" y="1273212"/>
        <a:ext cx="10780204" cy="929078"/>
      </dsp:txXfrm>
    </dsp:sp>
    <dsp:sp modelId="{26E70C0C-F5FD-49C3-8713-CCF302D4DD1F}">
      <dsp:nvSpPr>
        <dsp:cNvPr id="0" name=""/>
        <dsp:cNvSpPr/>
      </dsp:nvSpPr>
      <dsp:spPr>
        <a:xfrm>
          <a:off x="0" y="2410951"/>
          <a:ext cx="10880726" cy="10296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Use</a:t>
          </a:r>
          <a:r>
            <a:rPr lang="en-US" sz="2400" kern="1200" baseline="0"/>
            <a:t> </a:t>
          </a:r>
          <a:r>
            <a:rPr lang="en-US" sz="2400" kern="1200" baseline="0">
              <a:latin typeface="Segoe UI"/>
              <a:ea typeface="+mn-ea"/>
              <a:cs typeface="+mn-cs"/>
            </a:rPr>
            <a:t>sys.dm_db_index_usage_stats </a:t>
          </a:r>
          <a:r>
            <a:rPr lang="en-US" sz="2400" kern="1200" baseline="0"/>
            <a:t>and sys.dm_db_index_operational_stats to monitor index usage.</a:t>
          </a:r>
          <a:endParaRPr lang="en-US" sz="2400" kern="1200"/>
        </a:p>
      </dsp:txBody>
      <dsp:txXfrm>
        <a:off x="50261" y="2461212"/>
        <a:ext cx="10780204" cy="929078"/>
      </dsp:txXfrm>
    </dsp:sp>
    <dsp:sp modelId="{BED7B686-B782-45EF-9B4E-6B0A8CF64E7E}">
      <dsp:nvSpPr>
        <dsp:cNvPr id="0" name=""/>
        <dsp:cNvSpPr/>
      </dsp:nvSpPr>
      <dsp:spPr>
        <a:xfrm>
          <a:off x="0" y="3598951"/>
          <a:ext cx="10880726" cy="10296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base standard report also monitors Index usage and Physical Statistics. </a:t>
          </a:r>
          <a:endParaRPr lang="en-US" sz="2400" kern="1200"/>
        </a:p>
      </dsp:txBody>
      <dsp:txXfrm>
        <a:off x="50261" y="3649212"/>
        <a:ext cx="10780204" cy="92907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E38D23-4F5A-46C2-9C4E-C8819AB3118D}">
      <dsp:nvSpPr>
        <dsp:cNvPr id="0" name=""/>
        <dsp:cNvSpPr/>
      </dsp:nvSpPr>
      <dsp:spPr>
        <a:xfrm>
          <a:off x="53" y="94012"/>
          <a:ext cx="5084401" cy="720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100000"/>
            </a:lnSpc>
            <a:spcBef>
              <a:spcPct val="0"/>
            </a:spcBef>
            <a:spcAft>
              <a:spcPct val="35000"/>
            </a:spcAft>
            <a:buNone/>
          </a:pPr>
          <a:r>
            <a:rPr lang="en-US" sz="2500" kern="1200" dirty="0"/>
            <a:t>Logical fragmentation</a:t>
          </a:r>
        </a:p>
      </dsp:txBody>
      <dsp:txXfrm>
        <a:off x="53" y="94012"/>
        <a:ext cx="5084401" cy="720000"/>
      </dsp:txXfrm>
    </dsp:sp>
    <dsp:sp modelId="{3469F410-2A05-43B8-84DB-D10E42D0EA9C}">
      <dsp:nvSpPr>
        <dsp:cNvPr id="0" name=""/>
        <dsp:cNvSpPr/>
      </dsp:nvSpPr>
      <dsp:spPr>
        <a:xfrm>
          <a:off x="53" y="814012"/>
          <a:ext cx="5084401" cy="391162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Occurs when leaf level pages are not physically corresponding to the logical order of the index:</a:t>
          </a:r>
        </a:p>
        <a:p>
          <a:pPr marL="457200" lvl="2" indent="-228600" algn="l" defTabSz="1111250">
            <a:lnSpc>
              <a:spcPct val="90000"/>
            </a:lnSpc>
            <a:spcBef>
              <a:spcPct val="0"/>
            </a:spcBef>
            <a:spcAft>
              <a:spcPct val="15000"/>
            </a:spcAft>
            <a:buChar char="•"/>
          </a:pPr>
          <a:r>
            <a:rPr lang="en-US" sz="2500" kern="1200"/>
            <a:t>Pages are not in the most efficient order for scanning purposes.</a:t>
          </a:r>
        </a:p>
        <a:p>
          <a:pPr marL="228600" lvl="1" indent="-228600" algn="l" defTabSz="1111250">
            <a:lnSpc>
              <a:spcPct val="90000"/>
            </a:lnSpc>
            <a:spcBef>
              <a:spcPct val="0"/>
            </a:spcBef>
            <a:spcAft>
              <a:spcPct val="15000"/>
            </a:spcAft>
            <a:buChar char="•"/>
          </a:pPr>
          <a:r>
            <a:rPr lang="en-US" sz="2500" kern="1200"/>
            <a:t>Limits the efficiency of read-ahead scans, but not seeks. </a:t>
          </a:r>
        </a:p>
      </dsp:txBody>
      <dsp:txXfrm>
        <a:off x="53" y="814012"/>
        <a:ext cx="5084401" cy="3911625"/>
      </dsp:txXfrm>
    </dsp:sp>
    <dsp:sp modelId="{A7014651-2CCA-4E07-B04E-06E52AFC8E74}">
      <dsp:nvSpPr>
        <dsp:cNvPr id="0" name=""/>
        <dsp:cNvSpPr/>
      </dsp:nvSpPr>
      <dsp:spPr>
        <a:xfrm>
          <a:off x="5796271" y="94012"/>
          <a:ext cx="5084401" cy="720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100000"/>
            </a:lnSpc>
            <a:spcBef>
              <a:spcPct val="0"/>
            </a:spcBef>
            <a:spcAft>
              <a:spcPct val="35000"/>
            </a:spcAft>
            <a:buNone/>
          </a:pPr>
          <a:r>
            <a:rPr lang="en-US" sz="2500" kern="1200" dirty="0"/>
            <a:t>Page density</a:t>
          </a:r>
        </a:p>
      </dsp:txBody>
      <dsp:txXfrm>
        <a:off x="5796271" y="94012"/>
        <a:ext cx="5084401" cy="720000"/>
      </dsp:txXfrm>
    </dsp:sp>
    <dsp:sp modelId="{CD977AA8-4F76-4E54-AE6F-EAAC6ECF6B9A}">
      <dsp:nvSpPr>
        <dsp:cNvPr id="0" name=""/>
        <dsp:cNvSpPr/>
      </dsp:nvSpPr>
      <dsp:spPr>
        <a:xfrm>
          <a:off x="5796271" y="814012"/>
          <a:ext cx="5084401" cy="391162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100000"/>
            </a:lnSpc>
            <a:spcBef>
              <a:spcPct val="0"/>
            </a:spcBef>
            <a:spcAft>
              <a:spcPct val="15000"/>
            </a:spcAft>
            <a:buChar char="•"/>
          </a:pPr>
          <a:r>
            <a:rPr lang="en-US" sz="2500" kern="1200" dirty="0"/>
            <a:t>How full a page is when a rebuild/reorganization occurs.</a:t>
          </a:r>
        </a:p>
        <a:p>
          <a:pPr marL="228600" lvl="1" indent="-228600" algn="l" defTabSz="1111250">
            <a:lnSpc>
              <a:spcPct val="100000"/>
            </a:lnSpc>
            <a:spcBef>
              <a:spcPct val="0"/>
            </a:spcBef>
            <a:spcAft>
              <a:spcPct val="15000"/>
            </a:spcAft>
            <a:buChar char="•"/>
          </a:pPr>
          <a:r>
            <a:rPr lang="en-US" sz="2500" kern="1200" dirty="0"/>
            <a:t>The fuller a page is, the more likely page splits occur when data is modified.</a:t>
          </a:r>
        </a:p>
        <a:p>
          <a:pPr marL="228600" lvl="1" indent="-228600" algn="l" defTabSz="1111250">
            <a:lnSpc>
              <a:spcPct val="100000"/>
            </a:lnSpc>
            <a:spcBef>
              <a:spcPct val="0"/>
            </a:spcBef>
            <a:spcAft>
              <a:spcPct val="15000"/>
            </a:spcAft>
            <a:buChar char="•"/>
          </a:pPr>
          <a:r>
            <a:rPr lang="en-US" sz="2500" kern="1200" dirty="0"/>
            <a:t>The less full a page is, the more wasted space in the buffer pool when reading pages.</a:t>
          </a:r>
        </a:p>
      </dsp:txBody>
      <dsp:txXfrm>
        <a:off x="5796271" y="814012"/>
        <a:ext cx="5084401" cy="3911625"/>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71F34A-3D42-4749-9088-A97ACDC87882}">
      <dsp:nvSpPr>
        <dsp:cNvPr id="0" name=""/>
        <dsp:cNvSpPr/>
      </dsp:nvSpPr>
      <dsp:spPr>
        <a:xfrm>
          <a:off x="0" y="534893"/>
          <a:ext cx="10880725" cy="378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1BEF7F-D210-4B4B-8E27-4916FD9A71AF}">
      <dsp:nvSpPr>
        <dsp:cNvPr id="0" name=""/>
        <dsp:cNvSpPr/>
      </dsp:nvSpPr>
      <dsp:spPr>
        <a:xfrm>
          <a:off x="544036" y="100639"/>
          <a:ext cx="7616507" cy="65565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Mechanism to optimize inserts and updates </a:t>
          </a:r>
          <a:endParaRPr lang="en-US" sz="2000" kern="1200"/>
        </a:p>
      </dsp:txBody>
      <dsp:txXfrm>
        <a:off x="576042" y="132645"/>
        <a:ext cx="7552495" cy="591641"/>
      </dsp:txXfrm>
    </dsp:sp>
    <dsp:sp modelId="{C4D36423-DC7B-46D6-A2CB-F30E3176435D}">
      <dsp:nvSpPr>
        <dsp:cNvPr id="0" name=""/>
        <dsp:cNvSpPr/>
      </dsp:nvSpPr>
      <dsp:spPr>
        <a:xfrm>
          <a:off x="0" y="1428147"/>
          <a:ext cx="10880725" cy="3780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094C48-9D65-4ACB-8EC7-8616878F438D}">
      <dsp:nvSpPr>
        <dsp:cNvPr id="0" name=""/>
        <dsp:cNvSpPr/>
      </dsp:nvSpPr>
      <dsp:spPr>
        <a:xfrm>
          <a:off x="544036" y="993893"/>
          <a:ext cx="7616507" cy="655653"/>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Occurs when page is full to hold a new or updated row</a:t>
          </a:r>
          <a:endParaRPr lang="en-US" sz="2000" kern="1200"/>
        </a:p>
      </dsp:txBody>
      <dsp:txXfrm>
        <a:off x="576042" y="1025899"/>
        <a:ext cx="7552495" cy="591641"/>
      </dsp:txXfrm>
    </dsp:sp>
    <dsp:sp modelId="{A4A9B60A-D4D8-4EC7-95A8-60B90CC12A55}">
      <dsp:nvSpPr>
        <dsp:cNvPr id="0" name=""/>
        <dsp:cNvSpPr/>
      </dsp:nvSpPr>
      <dsp:spPr>
        <a:xfrm>
          <a:off x="0" y="2321401"/>
          <a:ext cx="10880725" cy="3780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EB3887-831A-47EE-876A-E299C0B494FB}">
      <dsp:nvSpPr>
        <dsp:cNvPr id="0" name=""/>
        <dsp:cNvSpPr/>
      </dsp:nvSpPr>
      <dsp:spPr>
        <a:xfrm>
          <a:off x="544036" y="1887147"/>
          <a:ext cx="7616507" cy="655653"/>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Half the rows are moved to a new page</a:t>
          </a:r>
        </a:p>
      </dsp:txBody>
      <dsp:txXfrm>
        <a:off x="576042" y="1919153"/>
        <a:ext cx="7552495" cy="591641"/>
      </dsp:txXfrm>
    </dsp:sp>
    <dsp:sp modelId="{5C105931-40FD-480C-9483-B2153ED20022}">
      <dsp:nvSpPr>
        <dsp:cNvPr id="0" name=""/>
        <dsp:cNvSpPr/>
      </dsp:nvSpPr>
      <dsp:spPr>
        <a:xfrm>
          <a:off x="0" y="3214655"/>
          <a:ext cx="10880725" cy="3780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0C2440-2F90-48FD-8381-940DBCDF2C8E}">
      <dsp:nvSpPr>
        <dsp:cNvPr id="0" name=""/>
        <dsp:cNvSpPr/>
      </dsp:nvSpPr>
      <dsp:spPr>
        <a:xfrm>
          <a:off x="487363" y="2801385"/>
          <a:ext cx="7616507" cy="655653"/>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The new page is added after the last existing page</a:t>
          </a:r>
        </a:p>
      </dsp:txBody>
      <dsp:txXfrm>
        <a:off x="519369" y="2833391"/>
        <a:ext cx="7552495" cy="591641"/>
      </dsp:txXfrm>
    </dsp:sp>
    <dsp:sp modelId="{02CDDF7E-094F-4EFB-9772-B6785B8C782B}">
      <dsp:nvSpPr>
        <dsp:cNvPr id="0" name=""/>
        <dsp:cNvSpPr/>
      </dsp:nvSpPr>
      <dsp:spPr>
        <a:xfrm>
          <a:off x="0" y="4107909"/>
          <a:ext cx="10880725" cy="10395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12420"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Fragmentation, which affects scan performance</a:t>
          </a:r>
          <a:endParaRPr lang="en-US" sz="1800" kern="1200"/>
        </a:p>
        <a:p>
          <a:pPr marL="171450" lvl="1" indent="-171450" algn="l" defTabSz="800100">
            <a:lnSpc>
              <a:spcPct val="90000"/>
            </a:lnSpc>
            <a:spcBef>
              <a:spcPct val="0"/>
            </a:spcBef>
            <a:spcAft>
              <a:spcPct val="15000"/>
            </a:spcAft>
            <a:buChar char="•"/>
          </a:pPr>
          <a:r>
            <a:rPr lang="en-US" sz="1800" kern="1200" baseline="0"/>
            <a:t>Wasted free space, which affects Page Density</a:t>
          </a:r>
          <a:endParaRPr lang="en-US" sz="1800" kern="1200"/>
        </a:p>
      </dsp:txBody>
      <dsp:txXfrm>
        <a:off x="0" y="4107909"/>
        <a:ext cx="10880725" cy="1039500"/>
      </dsp:txXfrm>
    </dsp:sp>
    <dsp:sp modelId="{A30B2381-01A4-46E2-8C3B-067D48F2DA13}">
      <dsp:nvSpPr>
        <dsp:cNvPr id="0" name=""/>
        <dsp:cNvSpPr/>
      </dsp:nvSpPr>
      <dsp:spPr>
        <a:xfrm>
          <a:off x="544036" y="3673655"/>
          <a:ext cx="7616507" cy="655653"/>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90000"/>
            </a:lnSpc>
            <a:spcBef>
              <a:spcPct val="0"/>
            </a:spcBef>
            <a:spcAft>
              <a:spcPct val="35000"/>
            </a:spcAft>
            <a:buNone/>
          </a:pPr>
          <a:r>
            <a:rPr lang="en-US" sz="2000" kern="1200" baseline="0"/>
            <a:t>Cost associated with Page splits</a:t>
          </a:r>
          <a:endParaRPr lang="en-US" sz="2000" kern="1200"/>
        </a:p>
      </dsp:txBody>
      <dsp:txXfrm>
        <a:off x="576042" y="3705661"/>
        <a:ext cx="7552495" cy="59164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7E8D5E-8383-4E44-9DEE-A46E2F6F411D}">
      <dsp:nvSpPr>
        <dsp:cNvPr id="0" name=""/>
        <dsp:cNvSpPr/>
      </dsp:nvSpPr>
      <dsp:spPr>
        <a:xfrm>
          <a:off x="0" y="176069"/>
          <a:ext cx="10880726" cy="6949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SSMS -&gt; Index Physical Statistics report </a:t>
          </a:r>
          <a:endParaRPr lang="en-US" sz="2700" kern="1200"/>
        </a:p>
      </dsp:txBody>
      <dsp:txXfrm>
        <a:off x="33926" y="209995"/>
        <a:ext cx="10812874" cy="627128"/>
      </dsp:txXfrm>
    </dsp:sp>
    <dsp:sp modelId="{3C3A9C73-13F5-4745-B924-AC072078D9C3}">
      <dsp:nvSpPr>
        <dsp:cNvPr id="0" name=""/>
        <dsp:cNvSpPr/>
      </dsp:nvSpPr>
      <dsp:spPr>
        <a:xfrm>
          <a:off x="0" y="871049"/>
          <a:ext cx="10880726"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Will report fragmentation and recommend solution at database level</a:t>
          </a:r>
          <a:endParaRPr lang="en-US" sz="2100" kern="1200"/>
        </a:p>
      </dsp:txBody>
      <dsp:txXfrm>
        <a:off x="0" y="871049"/>
        <a:ext cx="10880726" cy="447120"/>
      </dsp:txXfrm>
    </dsp:sp>
    <dsp:sp modelId="{527B0900-1F74-4410-9055-BDF20697AA77}">
      <dsp:nvSpPr>
        <dsp:cNvPr id="0" name=""/>
        <dsp:cNvSpPr/>
      </dsp:nvSpPr>
      <dsp:spPr>
        <a:xfrm>
          <a:off x="0" y="1318169"/>
          <a:ext cx="10880726" cy="6949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Custom Solution</a:t>
          </a:r>
          <a:endParaRPr lang="en-US" sz="2700" kern="1200"/>
        </a:p>
      </dsp:txBody>
      <dsp:txXfrm>
        <a:off x="33926" y="1352095"/>
        <a:ext cx="10812874" cy="627128"/>
      </dsp:txXfrm>
    </dsp:sp>
    <dsp:sp modelId="{46565560-501A-4FBE-9891-99F6FDFD5FB7}">
      <dsp:nvSpPr>
        <dsp:cNvPr id="0" name=""/>
        <dsp:cNvSpPr/>
      </dsp:nvSpPr>
      <dsp:spPr>
        <a:xfrm>
          <a:off x="0" y="2013149"/>
          <a:ext cx="10880726" cy="782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a:t>Find fragmentation  using Sys.dm_db_index_physical_stats</a:t>
          </a:r>
          <a:endParaRPr lang="en-US" sz="2100" kern="1200"/>
        </a:p>
        <a:p>
          <a:pPr marL="228600" lvl="1" indent="-228600" algn="l" defTabSz="933450">
            <a:lnSpc>
              <a:spcPct val="90000"/>
            </a:lnSpc>
            <a:spcBef>
              <a:spcPct val="0"/>
            </a:spcBef>
            <a:spcAft>
              <a:spcPct val="20000"/>
            </a:spcAft>
            <a:buChar char="•"/>
          </a:pPr>
          <a:r>
            <a:rPr lang="en-US" sz="2100" kern="1200" baseline="0"/>
            <a:t>Correct fragmentation </a:t>
          </a:r>
          <a:endParaRPr lang="en-US" sz="2100" kern="1200"/>
        </a:p>
      </dsp:txBody>
      <dsp:txXfrm>
        <a:off x="0" y="2013149"/>
        <a:ext cx="10880726" cy="782460"/>
      </dsp:txXfrm>
    </dsp:sp>
    <dsp:sp modelId="{FEBA1E8B-15A8-4350-ACDB-E786E9AD7607}">
      <dsp:nvSpPr>
        <dsp:cNvPr id="0" name=""/>
        <dsp:cNvSpPr/>
      </dsp:nvSpPr>
      <dsp:spPr>
        <a:xfrm>
          <a:off x="0" y="2795609"/>
          <a:ext cx="10880726" cy="6949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Can remove Index fragmentation using Rebuild or Reorganize option</a:t>
          </a:r>
          <a:endParaRPr lang="en-US" sz="2700" kern="1200" dirty="0"/>
        </a:p>
      </dsp:txBody>
      <dsp:txXfrm>
        <a:off x="33926" y="2829535"/>
        <a:ext cx="10812874" cy="627128"/>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DF2FDF-2315-4A7F-B321-05793ABBFEDC}">
      <dsp:nvSpPr>
        <dsp:cNvPr id="0" name=""/>
        <dsp:cNvSpPr/>
      </dsp:nvSpPr>
      <dsp:spPr>
        <a:xfrm>
          <a:off x="53" y="9762"/>
          <a:ext cx="5084401" cy="1094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Use When</a:t>
          </a:r>
          <a:endParaRPr lang="en-US" sz="2400" kern="1200" dirty="0"/>
        </a:p>
      </dsp:txBody>
      <dsp:txXfrm>
        <a:off x="53" y="9762"/>
        <a:ext cx="5084401" cy="1094400"/>
      </dsp:txXfrm>
    </dsp:sp>
    <dsp:sp modelId="{E1CD9CB1-F7ED-4DB5-899B-0BB904D6A666}">
      <dsp:nvSpPr>
        <dsp:cNvPr id="0" name=""/>
        <dsp:cNvSpPr/>
      </dsp:nvSpPr>
      <dsp:spPr>
        <a:xfrm>
          <a:off x="53" y="1104163"/>
          <a:ext cx="5084401" cy="166896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Specifying the amount of free space on a data or index page.</a:t>
          </a:r>
          <a:endParaRPr lang="en-US" sz="2400" kern="1200" dirty="0"/>
        </a:p>
        <a:p>
          <a:pPr marL="228600" lvl="1" indent="-228600" algn="l" defTabSz="1066800">
            <a:lnSpc>
              <a:spcPct val="90000"/>
            </a:lnSpc>
            <a:spcBef>
              <a:spcPct val="0"/>
            </a:spcBef>
            <a:spcAft>
              <a:spcPct val="15000"/>
            </a:spcAft>
            <a:buChar char="•"/>
          </a:pPr>
          <a:r>
            <a:rPr lang="en-US" sz="2400" kern="1200" baseline="0"/>
            <a:t>Reducing logical fragmentation.</a:t>
          </a:r>
          <a:endParaRPr lang="en-US" sz="2400" kern="1200" dirty="0"/>
        </a:p>
      </dsp:txBody>
      <dsp:txXfrm>
        <a:off x="53" y="1104163"/>
        <a:ext cx="5084401" cy="1668960"/>
      </dsp:txXfrm>
    </dsp:sp>
    <dsp:sp modelId="{298A840C-4A90-4965-8317-4CE942FBD989}">
      <dsp:nvSpPr>
        <dsp:cNvPr id="0" name=""/>
        <dsp:cNvSpPr/>
      </dsp:nvSpPr>
      <dsp:spPr>
        <a:xfrm>
          <a:off x="5796271" y="9762"/>
          <a:ext cx="5084401" cy="10944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Do not use when</a:t>
          </a:r>
          <a:endParaRPr lang="en-US" sz="2400" kern="1200" dirty="0"/>
        </a:p>
      </dsp:txBody>
      <dsp:txXfrm>
        <a:off x="5796271" y="9762"/>
        <a:ext cx="5084401" cy="1094400"/>
      </dsp:txXfrm>
    </dsp:sp>
    <dsp:sp modelId="{44FA1635-E70E-4D37-83E3-3316FEE79DEE}">
      <dsp:nvSpPr>
        <dsp:cNvPr id="0" name=""/>
        <dsp:cNvSpPr/>
      </dsp:nvSpPr>
      <dsp:spPr>
        <a:xfrm>
          <a:off x="5796271" y="1104163"/>
          <a:ext cx="5084401" cy="166896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Low fragmentation </a:t>
          </a:r>
          <a:endParaRPr lang="en-US" sz="2400" kern="1200"/>
        </a:p>
        <a:p>
          <a:pPr marL="228600" lvl="1" indent="-228600" algn="l" defTabSz="1066800">
            <a:lnSpc>
              <a:spcPct val="90000"/>
            </a:lnSpc>
            <a:spcBef>
              <a:spcPct val="0"/>
            </a:spcBef>
            <a:spcAft>
              <a:spcPct val="15000"/>
            </a:spcAft>
            <a:buChar char="•"/>
          </a:pPr>
          <a:r>
            <a:rPr lang="en-US" sz="2400" kern="1200" baseline="0"/>
            <a:t>High seeks and low scans </a:t>
          </a:r>
          <a:endParaRPr lang="en-US" sz="2400" kern="1200"/>
        </a:p>
        <a:p>
          <a:pPr marL="228600" lvl="1" indent="-228600" algn="l" defTabSz="1066800">
            <a:lnSpc>
              <a:spcPct val="90000"/>
            </a:lnSpc>
            <a:spcBef>
              <a:spcPct val="0"/>
            </a:spcBef>
            <a:spcAft>
              <a:spcPct val="15000"/>
            </a:spcAft>
            <a:buChar char="•"/>
          </a:pPr>
          <a:r>
            <a:rPr lang="en-US" sz="2400" kern="1200" baseline="0"/>
            <a:t>Index is not scanned</a:t>
          </a:r>
          <a:endParaRPr lang="en-US" sz="2400" kern="1200"/>
        </a:p>
      </dsp:txBody>
      <dsp:txXfrm>
        <a:off x="5796271" y="1104163"/>
        <a:ext cx="5084401" cy="1668960"/>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739C7F-C83F-410F-9E68-E25ECBD8D6B9}">
      <dsp:nvSpPr>
        <dsp:cNvPr id="0" name=""/>
        <dsp:cNvSpPr/>
      </dsp:nvSpPr>
      <dsp:spPr>
        <a:xfrm>
          <a:off x="0" y="15242"/>
          <a:ext cx="10545762" cy="1008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Reducing Fragmentation</a:t>
          </a:r>
          <a:endParaRPr lang="en-US" sz="2400" kern="1200"/>
        </a:p>
      </dsp:txBody>
      <dsp:txXfrm>
        <a:off x="0" y="15242"/>
        <a:ext cx="10545762" cy="1008000"/>
      </dsp:txXfrm>
    </dsp:sp>
    <dsp:sp modelId="{3DD469B6-F40B-4C62-BAE0-FFAF84D05CDB}">
      <dsp:nvSpPr>
        <dsp:cNvPr id="0" name=""/>
        <dsp:cNvSpPr/>
      </dsp:nvSpPr>
      <dsp:spPr>
        <a:xfrm>
          <a:off x="0" y="1023242"/>
          <a:ext cx="10545762" cy="196953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ing an ascending key (not always possible).</a:t>
          </a:r>
          <a:endParaRPr lang="en-US" sz="2400" kern="1200"/>
        </a:p>
        <a:p>
          <a:pPr marL="228600" lvl="1" indent="-228600" algn="l" defTabSz="1066800">
            <a:lnSpc>
              <a:spcPct val="90000"/>
            </a:lnSpc>
            <a:spcBef>
              <a:spcPct val="0"/>
            </a:spcBef>
            <a:spcAft>
              <a:spcPct val="15000"/>
            </a:spcAft>
            <a:buChar char="•"/>
          </a:pPr>
          <a:r>
            <a:rPr lang="en-US" sz="2400" kern="1200" baseline="0" dirty="0"/>
            <a:t>Using an appropriate fill factor for the workload.</a:t>
          </a:r>
          <a:endParaRPr lang="en-US" sz="2400" kern="1200" dirty="0"/>
        </a:p>
        <a:p>
          <a:pPr marL="228600" lvl="1" indent="-228600" algn="l" defTabSz="1066800">
            <a:lnSpc>
              <a:spcPct val="90000"/>
            </a:lnSpc>
            <a:spcBef>
              <a:spcPct val="0"/>
            </a:spcBef>
            <a:spcAft>
              <a:spcPct val="15000"/>
            </a:spcAft>
            <a:buChar char="•"/>
          </a:pPr>
          <a:r>
            <a:rPr lang="en-US" sz="2400" kern="1200" baseline="0"/>
            <a:t>Update in sets, rather than one at a time.</a:t>
          </a:r>
          <a:endParaRPr lang="en-US" sz="2400" kern="1200"/>
        </a:p>
        <a:p>
          <a:pPr marL="228600" lvl="1" indent="-228600" algn="l" defTabSz="1066800">
            <a:lnSpc>
              <a:spcPct val="90000"/>
            </a:lnSpc>
            <a:spcBef>
              <a:spcPct val="0"/>
            </a:spcBef>
            <a:spcAft>
              <a:spcPct val="15000"/>
            </a:spcAft>
            <a:buChar char="•"/>
          </a:pPr>
          <a:r>
            <a:rPr lang="en-US" sz="2400" kern="1200" baseline="0"/>
            <a:t>Do not insert with immediate update.</a:t>
          </a:r>
          <a:endParaRPr lang="en-US" sz="2400" kern="1200"/>
        </a:p>
      </dsp:txBody>
      <dsp:txXfrm>
        <a:off x="0" y="1023242"/>
        <a:ext cx="10545762" cy="1969537"/>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2E747-80B4-428E-87B6-E9C0786D8DD2}">
      <dsp:nvSpPr>
        <dsp:cNvPr id="0" name=""/>
        <dsp:cNvSpPr/>
      </dsp:nvSpPr>
      <dsp:spPr>
        <a:xfrm>
          <a:off x="0" y="213891"/>
          <a:ext cx="10880726" cy="566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dirty="0"/>
            <a:t>SQL Server identifies indexes that would help a query’s performance</a:t>
          </a:r>
          <a:endParaRPr lang="en-US" sz="2200" kern="1200" dirty="0"/>
        </a:p>
      </dsp:txBody>
      <dsp:txXfrm>
        <a:off x="27644" y="241535"/>
        <a:ext cx="10825438" cy="510992"/>
      </dsp:txXfrm>
    </dsp:sp>
    <dsp:sp modelId="{167455E2-0B5B-461E-A12B-4FA37292F744}">
      <dsp:nvSpPr>
        <dsp:cNvPr id="0" name=""/>
        <dsp:cNvSpPr/>
      </dsp:nvSpPr>
      <dsp:spPr>
        <a:xfrm>
          <a:off x="0" y="843531"/>
          <a:ext cx="10880726" cy="56628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recommendation is included in the query plan</a:t>
          </a:r>
          <a:endParaRPr lang="en-US" sz="2200" kern="1200"/>
        </a:p>
      </dsp:txBody>
      <dsp:txXfrm>
        <a:off x="27644" y="871175"/>
        <a:ext cx="10825438" cy="510992"/>
      </dsp:txXfrm>
    </dsp:sp>
    <dsp:sp modelId="{B0F7C242-ADFC-411C-ADF7-95479B00B896}">
      <dsp:nvSpPr>
        <dsp:cNvPr id="0" name=""/>
        <dsp:cNvSpPr/>
      </dsp:nvSpPr>
      <dsp:spPr>
        <a:xfrm>
          <a:off x="0" y="1462285"/>
          <a:ext cx="10880726" cy="56628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cost savings are aggregated in DMVs to help identify the most beneficial indexes</a:t>
          </a:r>
          <a:endParaRPr lang="en-US" sz="2200" kern="1200"/>
        </a:p>
      </dsp:txBody>
      <dsp:txXfrm>
        <a:off x="27644" y="1489929"/>
        <a:ext cx="10825438" cy="51099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72A51A-ECBF-4B78-84E5-BADD01830D77}">
      <dsp:nvSpPr>
        <dsp:cNvPr id="0" name=""/>
        <dsp:cNvSpPr/>
      </dsp:nvSpPr>
      <dsp:spPr>
        <a:xfrm>
          <a:off x="0" y="26026"/>
          <a:ext cx="6126162" cy="1584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ollowing sources can help you choosing indexes</a:t>
          </a:r>
          <a:endParaRPr lang="en-US" sz="2400" kern="1200" dirty="0"/>
        </a:p>
      </dsp:txBody>
      <dsp:txXfrm>
        <a:off x="0" y="26026"/>
        <a:ext cx="6126162" cy="1584000"/>
      </dsp:txXfrm>
    </dsp:sp>
    <dsp:sp modelId="{60D474A3-90FA-49E3-B0D7-1F7FC6CEFF2A}">
      <dsp:nvSpPr>
        <dsp:cNvPr id="0" name=""/>
        <dsp:cNvSpPr/>
      </dsp:nvSpPr>
      <dsp:spPr>
        <a:xfrm>
          <a:off x="0" y="1537800"/>
          <a:ext cx="6126162" cy="2415599"/>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Missing Index recommendations</a:t>
          </a:r>
          <a:endParaRPr lang="en-US" sz="2400" kern="1200"/>
        </a:p>
        <a:p>
          <a:pPr marL="228600" lvl="1" indent="-228600" algn="l" defTabSz="1066800">
            <a:lnSpc>
              <a:spcPct val="90000"/>
            </a:lnSpc>
            <a:spcBef>
              <a:spcPct val="0"/>
            </a:spcBef>
            <a:spcAft>
              <a:spcPct val="15000"/>
            </a:spcAft>
            <a:buChar char="•"/>
          </a:pPr>
          <a:r>
            <a:rPr lang="en-US" sz="2400" kern="1200" baseline="0">
              <a:solidFill>
                <a:srgbClr val="107C10"/>
              </a:solidFill>
            </a:rPr>
            <a:t>sys.dm_db_index_usage_stats</a:t>
          </a:r>
          <a:endParaRPr lang="en-US" sz="2400" kern="1200">
            <a:solidFill>
              <a:srgbClr val="107C10"/>
            </a:solidFill>
          </a:endParaRPr>
        </a:p>
        <a:p>
          <a:pPr marL="228600" lvl="1" indent="-228600" algn="l" defTabSz="1066800">
            <a:lnSpc>
              <a:spcPct val="90000"/>
            </a:lnSpc>
            <a:spcBef>
              <a:spcPct val="0"/>
            </a:spcBef>
            <a:spcAft>
              <a:spcPct val="15000"/>
            </a:spcAft>
            <a:buChar char="•"/>
          </a:pPr>
          <a:r>
            <a:rPr lang="en-US" sz="2400" kern="1200" baseline="0"/>
            <a:t>Database Tuning Advisor</a:t>
          </a:r>
          <a:endParaRPr lang="en-US" sz="2400" kern="1200"/>
        </a:p>
      </dsp:txBody>
      <dsp:txXfrm>
        <a:off x="0" y="1537800"/>
        <a:ext cx="6126162" cy="24155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CA8158-9C86-47CD-95C8-F3AC498A1A68}">
      <dsp:nvSpPr>
        <dsp:cNvPr id="0" name=""/>
        <dsp:cNvSpPr/>
      </dsp:nvSpPr>
      <dsp:spPr>
        <a:xfrm>
          <a:off x="0" y="76394"/>
          <a:ext cx="10880725" cy="60489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100000"/>
            </a:lnSpc>
            <a:spcBef>
              <a:spcPct val="0"/>
            </a:spcBef>
            <a:spcAft>
              <a:spcPct val="35000"/>
            </a:spcAft>
            <a:buNone/>
          </a:pPr>
          <a:r>
            <a:rPr lang="en-US" sz="2200" kern="1200" baseline="0"/>
            <a:t>Unordered masses of data</a:t>
          </a:r>
          <a:endParaRPr lang="en-US" sz="2200" kern="1200"/>
        </a:p>
      </dsp:txBody>
      <dsp:txXfrm>
        <a:off x="29528" y="105922"/>
        <a:ext cx="10821669" cy="545834"/>
      </dsp:txXfrm>
    </dsp:sp>
    <dsp:sp modelId="{AFC11CD9-776A-4FF3-8FBF-054D1F3594C3}">
      <dsp:nvSpPr>
        <dsp:cNvPr id="0" name=""/>
        <dsp:cNvSpPr/>
      </dsp:nvSpPr>
      <dsp:spPr>
        <a:xfrm>
          <a:off x="0" y="744644"/>
          <a:ext cx="10880725" cy="604890"/>
        </a:xfrm>
        <a:prstGeom prst="roundRect">
          <a:avLst/>
        </a:prstGeom>
        <a:solidFill>
          <a:schemeClr val="accent2">
            <a:hueOff val="-666874"/>
            <a:satOff val="13846"/>
            <a:lumOff val="14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100000"/>
            </a:lnSpc>
            <a:spcBef>
              <a:spcPct val="0"/>
            </a:spcBef>
            <a:spcAft>
              <a:spcPct val="35000"/>
            </a:spcAft>
            <a:buNone/>
          </a:pPr>
          <a:r>
            <a:rPr lang="en-US" sz="2200" kern="1200" baseline="0"/>
            <a:t>Can be good for quickly importing large sets of data </a:t>
          </a:r>
          <a:endParaRPr lang="en-US" sz="2200" kern="1200"/>
        </a:p>
      </dsp:txBody>
      <dsp:txXfrm>
        <a:off x="29528" y="774172"/>
        <a:ext cx="10821669" cy="545834"/>
      </dsp:txXfrm>
    </dsp:sp>
    <dsp:sp modelId="{D443D81F-FD96-4A54-B50B-434505273071}">
      <dsp:nvSpPr>
        <dsp:cNvPr id="0" name=""/>
        <dsp:cNvSpPr/>
      </dsp:nvSpPr>
      <dsp:spPr>
        <a:xfrm>
          <a:off x="0" y="1412894"/>
          <a:ext cx="10880725" cy="604890"/>
        </a:xfrm>
        <a:prstGeom prst="roundRect">
          <a:avLst/>
        </a:prstGeom>
        <a:solidFill>
          <a:schemeClr val="accent2">
            <a:hueOff val="-1333748"/>
            <a:satOff val="27691"/>
            <a:lumOff val="29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100000"/>
            </a:lnSpc>
            <a:spcBef>
              <a:spcPct val="0"/>
            </a:spcBef>
            <a:spcAft>
              <a:spcPct val="35000"/>
            </a:spcAft>
            <a:buNone/>
          </a:pPr>
          <a:r>
            <a:rPr lang="en-US" sz="2200" kern="1200" baseline="0" dirty="0"/>
            <a:t>Not a good idea for reporting-based data structures</a:t>
          </a:r>
          <a:endParaRPr lang="en-US" sz="2200" kern="1200" dirty="0"/>
        </a:p>
      </dsp:txBody>
      <dsp:txXfrm>
        <a:off x="29528" y="1442422"/>
        <a:ext cx="10821669" cy="545834"/>
      </dsp:txXfrm>
    </dsp:sp>
    <dsp:sp modelId="{0B26181A-EBBD-4D7E-A966-22638F342E0A}">
      <dsp:nvSpPr>
        <dsp:cNvPr id="0" name=""/>
        <dsp:cNvSpPr/>
      </dsp:nvSpPr>
      <dsp:spPr>
        <a:xfrm>
          <a:off x="0" y="2081145"/>
          <a:ext cx="10880725" cy="604890"/>
        </a:xfrm>
        <a:prstGeom prst="roundRect">
          <a:avLst/>
        </a:prstGeom>
        <a:solidFill>
          <a:schemeClr val="accent2">
            <a:hueOff val="-2000623"/>
            <a:satOff val="41537"/>
            <a:lumOff val="44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100000"/>
            </a:lnSpc>
            <a:spcBef>
              <a:spcPct val="0"/>
            </a:spcBef>
            <a:spcAft>
              <a:spcPct val="35000"/>
            </a:spcAft>
            <a:buNone/>
          </a:pPr>
          <a:r>
            <a:rPr lang="en-US" sz="2200" kern="1200" baseline="0"/>
            <a:t>Use the ALTER TABLE…REBUILD command to “rebuild” a heap table</a:t>
          </a:r>
          <a:endParaRPr lang="en-US" sz="2200" kern="1200"/>
        </a:p>
      </dsp:txBody>
      <dsp:txXfrm>
        <a:off x="29528" y="2110673"/>
        <a:ext cx="10821669" cy="545834"/>
      </dsp:txXfrm>
    </dsp:sp>
    <dsp:sp modelId="{55AD72CE-0354-45D9-B479-C6B965C88A33}">
      <dsp:nvSpPr>
        <dsp:cNvPr id="0" name=""/>
        <dsp:cNvSpPr/>
      </dsp:nvSpPr>
      <dsp:spPr>
        <a:xfrm>
          <a:off x="0" y="2749395"/>
          <a:ext cx="10880725" cy="604890"/>
        </a:xfrm>
        <a:prstGeom prst="roundRect">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100000"/>
            </a:lnSpc>
            <a:spcBef>
              <a:spcPct val="0"/>
            </a:spcBef>
            <a:spcAft>
              <a:spcPct val="35000"/>
            </a:spcAft>
            <a:buNone/>
          </a:pPr>
          <a:r>
            <a:rPr lang="en-US" sz="2200" kern="1200" baseline="0"/>
            <a:t>Do not use a heap </a:t>
          </a:r>
          <a:endParaRPr lang="en-US" sz="2200" kern="1200"/>
        </a:p>
      </dsp:txBody>
      <dsp:txXfrm>
        <a:off x="29528" y="2778923"/>
        <a:ext cx="10821669" cy="545834"/>
      </dsp:txXfrm>
    </dsp:sp>
    <dsp:sp modelId="{550FEDC0-5B2B-4D3C-81D4-D8773730FC34}">
      <dsp:nvSpPr>
        <dsp:cNvPr id="0" name=""/>
        <dsp:cNvSpPr/>
      </dsp:nvSpPr>
      <dsp:spPr>
        <a:xfrm>
          <a:off x="0" y="3354285"/>
          <a:ext cx="10880725" cy="1388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7940" rIns="156464" bIns="27940" numCol="1" spcCol="1270" anchor="t" anchorCtr="0">
          <a:noAutofit/>
        </a:bodyPr>
        <a:lstStyle/>
        <a:p>
          <a:pPr marL="171450" lvl="1" indent="-171450" algn="l" defTabSz="755650">
            <a:lnSpc>
              <a:spcPct val="100000"/>
            </a:lnSpc>
            <a:spcBef>
              <a:spcPct val="0"/>
            </a:spcBef>
            <a:spcAft>
              <a:spcPct val="20000"/>
            </a:spcAft>
            <a:buChar char="•"/>
          </a:pPr>
          <a:r>
            <a:rPr lang="en-US" sz="1700" kern="1200" baseline="0"/>
            <a:t>When the data is frequently returned in a sorted order.</a:t>
          </a:r>
          <a:endParaRPr lang="en-US" sz="1700" kern="1200"/>
        </a:p>
        <a:p>
          <a:pPr marL="171450" lvl="1" indent="-171450" algn="l" defTabSz="755650">
            <a:lnSpc>
              <a:spcPct val="100000"/>
            </a:lnSpc>
            <a:spcBef>
              <a:spcPct val="0"/>
            </a:spcBef>
            <a:spcAft>
              <a:spcPct val="20000"/>
            </a:spcAft>
            <a:buChar char="•"/>
          </a:pPr>
          <a:r>
            <a:rPr lang="en-US" sz="1700" kern="1200" baseline="0"/>
            <a:t>When the data is frequently grouped together.</a:t>
          </a:r>
          <a:endParaRPr lang="en-US" sz="1700" kern="1200"/>
        </a:p>
        <a:p>
          <a:pPr marL="171450" lvl="1" indent="-171450" algn="l" defTabSz="755650">
            <a:lnSpc>
              <a:spcPct val="100000"/>
            </a:lnSpc>
            <a:spcBef>
              <a:spcPct val="0"/>
            </a:spcBef>
            <a:spcAft>
              <a:spcPct val="20000"/>
            </a:spcAft>
            <a:buChar char="•"/>
          </a:pPr>
          <a:r>
            <a:rPr lang="en-US" sz="1700" kern="1200" baseline="0"/>
            <a:t>When ranges of data are frequently queried from the table.</a:t>
          </a:r>
          <a:endParaRPr lang="en-US" sz="1700" kern="1200"/>
        </a:p>
        <a:p>
          <a:pPr marL="171450" lvl="1" indent="-171450" algn="l" defTabSz="755650">
            <a:lnSpc>
              <a:spcPct val="100000"/>
            </a:lnSpc>
            <a:spcBef>
              <a:spcPct val="0"/>
            </a:spcBef>
            <a:spcAft>
              <a:spcPct val="20000"/>
            </a:spcAft>
            <a:buChar char="•"/>
          </a:pPr>
          <a:r>
            <a:rPr lang="en-US" sz="1700" kern="1200" baseline="0" dirty="0"/>
            <a:t>When there are no nonclustered indexes and the table is large.</a:t>
          </a:r>
          <a:endParaRPr lang="en-US" sz="1700" kern="1200" dirty="0"/>
        </a:p>
      </dsp:txBody>
      <dsp:txXfrm>
        <a:off x="0" y="3354285"/>
        <a:ext cx="10880725" cy="1388970"/>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8535"/>
          <a:ext cx="10880725" cy="9172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hich DMV/DMF are used to monitor index usage?</a:t>
          </a:r>
        </a:p>
      </dsp:txBody>
      <dsp:txXfrm>
        <a:off x="44778" y="73313"/>
        <a:ext cx="10791169" cy="827724"/>
      </dsp:txXfrm>
    </dsp:sp>
    <dsp:sp modelId="{4A71D5C7-A7D6-46CE-B888-CF65241F6B98}">
      <dsp:nvSpPr>
        <dsp:cNvPr id="0" name=""/>
        <dsp:cNvSpPr/>
      </dsp:nvSpPr>
      <dsp:spPr>
        <a:xfrm>
          <a:off x="0" y="1086935"/>
          <a:ext cx="10880725" cy="917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Does it make sense to add all SQL Server missing recommendations?</a:t>
          </a:r>
        </a:p>
      </dsp:txBody>
      <dsp:txXfrm>
        <a:off x="44778" y="1131713"/>
        <a:ext cx="10791169" cy="827724"/>
      </dsp:txXfrm>
    </dsp:sp>
    <dsp:sp modelId="{196D8D5C-AF3C-4B3F-BC76-432EBE3C6399}">
      <dsp:nvSpPr>
        <dsp:cNvPr id="0" name=""/>
        <dsp:cNvSpPr/>
      </dsp:nvSpPr>
      <dsp:spPr>
        <a:xfrm>
          <a:off x="0" y="2145335"/>
          <a:ext cx="10880725" cy="91728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hen Managed Lock Priority should be used?</a:t>
          </a:r>
        </a:p>
      </dsp:txBody>
      <dsp:txXfrm>
        <a:off x="44778" y="2190113"/>
        <a:ext cx="10791169" cy="82772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B0E0BB-7229-477F-815E-2DE0B5736A5F}">
      <dsp:nvSpPr>
        <dsp:cNvPr id="0" name=""/>
        <dsp:cNvSpPr/>
      </dsp:nvSpPr>
      <dsp:spPr>
        <a:xfrm>
          <a:off x="0" y="355574"/>
          <a:ext cx="10880726" cy="2709000"/>
        </a:xfrm>
        <a:prstGeom prst="rect">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rtl="0">
            <a:lnSpc>
              <a:spcPct val="90000"/>
            </a:lnSpc>
            <a:spcBef>
              <a:spcPct val="0"/>
            </a:spcBef>
            <a:spcAft>
              <a:spcPct val="15000"/>
            </a:spcAft>
            <a:buChar char="•"/>
          </a:pPr>
          <a:r>
            <a:rPr lang="en-US" sz="2000" kern="1200"/>
            <a:t>Use to store fact tables and large dimension tables for data warehousing workloads</a:t>
          </a:r>
          <a:r>
            <a:rPr lang="en-US" sz="2000" kern="1200">
              <a:latin typeface="Segoe UI Semibold"/>
            </a:rPr>
            <a:t> </a:t>
          </a:r>
          <a:endParaRPr lang="en-US" sz="2000" kern="1200" dirty="0"/>
        </a:p>
        <a:p>
          <a:pPr marL="228600" lvl="1" indent="-228600" algn="l" defTabSz="889000">
            <a:lnSpc>
              <a:spcPct val="100000"/>
            </a:lnSpc>
            <a:spcBef>
              <a:spcPct val="0"/>
            </a:spcBef>
            <a:spcAft>
              <a:spcPct val="15000"/>
            </a:spcAft>
            <a:buChar char="•"/>
          </a:pPr>
          <a:r>
            <a:rPr lang="en-US" sz="2000" kern="1200" dirty="0"/>
            <a:t>IOT workloads that insert large volumes with minimal updates/deletes</a:t>
          </a:r>
        </a:p>
        <a:p>
          <a:pPr marL="228600" lvl="1" indent="-228600" algn="l" defTabSz="889000" rtl="0">
            <a:lnSpc>
              <a:spcPct val="90000"/>
            </a:lnSpc>
            <a:spcBef>
              <a:spcPct val="0"/>
            </a:spcBef>
            <a:spcAft>
              <a:spcPct val="15000"/>
            </a:spcAft>
            <a:buChar char="•"/>
          </a:pPr>
          <a:r>
            <a:rPr lang="en-US" sz="2000" kern="1200" dirty="0"/>
            <a:t>Average of 10x Compressions</a:t>
          </a:r>
          <a:r>
            <a:rPr lang="en-US" sz="2000" kern="1200" dirty="0">
              <a:latin typeface="Segoe UI Semibold"/>
            </a:rPr>
            <a:t> </a:t>
          </a:r>
        </a:p>
        <a:p>
          <a:pPr marL="228600" lvl="1" indent="-228600" algn="l" defTabSz="889000" rtl="0">
            <a:lnSpc>
              <a:spcPct val="90000"/>
            </a:lnSpc>
            <a:spcBef>
              <a:spcPct val="0"/>
            </a:spcBef>
            <a:spcAft>
              <a:spcPct val="15000"/>
            </a:spcAft>
            <a:buChar char="•"/>
          </a:pPr>
          <a:r>
            <a:rPr lang="en-US" sz="2000" kern="1200"/>
            <a:t>Covers Entire Table</a:t>
          </a:r>
          <a:r>
            <a:rPr lang="en-US" sz="2000" kern="1200">
              <a:latin typeface="Segoe UI Semibold"/>
            </a:rPr>
            <a:t> </a:t>
          </a:r>
          <a:endParaRPr lang="en-US" sz="2000" kern="1200" dirty="0"/>
        </a:p>
        <a:p>
          <a:pPr marL="228600" lvl="1" indent="-228600" algn="l" defTabSz="889000">
            <a:lnSpc>
              <a:spcPct val="100000"/>
            </a:lnSpc>
            <a:spcBef>
              <a:spcPct val="0"/>
            </a:spcBef>
            <a:spcAft>
              <a:spcPct val="15000"/>
            </a:spcAft>
            <a:buChar char="•"/>
          </a:pPr>
          <a:r>
            <a:rPr lang="en-US" sz="2000" kern="1200" dirty="0"/>
            <a:t>May have one or more Nonclustered B-Tree Indexes</a:t>
          </a:r>
        </a:p>
      </dsp:txBody>
      <dsp:txXfrm>
        <a:off x="0" y="355574"/>
        <a:ext cx="10880726" cy="2709000"/>
      </dsp:txXfrm>
    </dsp:sp>
    <dsp:sp modelId="{11799C01-FC46-456A-8E53-D6B46E7A20B6}">
      <dsp:nvSpPr>
        <dsp:cNvPr id="0" name=""/>
        <dsp:cNvSpPr/>
      </dsp:nvSpPr>
      <dsp:spPr>
        <a:xfrm>
          <a:off x="544036" y="60374"/>
          <a:ext cx="7616508" cy="59040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100000"/>
            </a:lnSpc>
            <a:spcBef>
              <a:spcPct val="0"/>
            </a:spcBef>
            <a:spcAft>
              <a:spcPct val="35000"/>
            </a:spcAft>
            <a:buNone/>
          </a:pPr>
          <a:r>
            <a:rPr lang="en-US" sz="2000" kern="1200" dirty="0"/>
            <a:t>Clustered Index</a:t>
          </a:r>
        </a:p>
      </dsp:txBody>
      <dsp:txXfrm>
        <a:off x="572857" y="89195"/>
        <a:ext cx="7558866" cy="532758"/>
      </dsp:txXfrm>
    </dsp:sp>
    <dsp:sp modelId="{1F1DE8F2-9B14-4826-88E3-206369A7A5D9}">
      <dsp:nvSpPr>
        <dsp:cNvPr id="0" name=""/>
        <dsp:cNvSpPr/>
      </dsp:nvSpPr>
      <dsp:spPr>
        <a:xfrm>
          <a:off x="0" y="3467775"/>
          <a:ext cx="10880726" cy="1291500"/>
        </a:xfrm>
        <a:prstGeom prst="rect">
          <a:avLst/>
        </a:prstGeom>
        <a:solidFill>
          <a:schemeClr val="lt1">
            <a:alpha val="90000"/>
            <a:hueOff val="0"/>
            <a:satOff val="0"/>
            <a:lumOff val="0"/>
            <a:alphaOff val="0"/>
          </a:schemeClr>
        </a:solidFill>
        <a:ln w="6350" cap="flat" cmpd="sng" algn="ctr">
          <a:solidFill>
            <a:schemeClr val="accent2">
              <a:hueOff val="-2667497"/>
              <a:satOff val="55382"/>
              <a:lumOff val="588"/>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844465" tIns="416560" rIns="844465" bIns="142240" numCol="1" spcCol="1270" anchor="t" anchorCtr="0">
          <a:noAutofit/>
        </a:bodyPr>
        <a:lstStyle/>
        <a:p>
          <a:pPr marL="228600" lvl="1" indent="-228600" algn="l" defTabSz="889000">
            <a:lnSpc>
              <a:spcPct val="100000"/>
            </a:lnSpc>
            <a:spcBef>
              <a:spcPct val="0"/>
            </a:spcBef>
            <a:spcAft>
              <a:spcPct val="15000"/>
            </a:spcAft>
            <a:buChar char="•"/>
          </a:pPr>
          <a:r>
            <a:rPr lang="en-US" sz="2000" kern="1200" dirty="0"/>
            <a:t>Use to perform analysis in real time on an OLTP workload.</a:t>
          </a:r>
        </a:p>
        <a:p>
          <a:pPr marL="228600" lvl="1" indent="-228600" algn="l" defTabSz="889000">
            <a:lnSpc>
              <a:spcPct val="100000"/>
            </a:lnSpc>
            <a:spcBef>
              <a:spcPct val="0"/>
            </a:spcBef>
            <a:spcAft>
              <a:spcPct val="15000"/>
            </a:spcAft>
            <a:buChar char="•"/>
          </a:pPr>
          <a:r>
            <a:rPr lang="en-US" sz="2000" kern="1200" dirty="0"/>
            <a:t>Can be created for subset of columns</a:t>
          </a:r>
        </a:p>
      </dsp:txBody>
      <dsp:txXfrm>
        <a:off x="0" y="3467775"/>
        <a:ext cx="10880726" cy="1291500"/>
      </dsp:txXfrm>
    </dsp:sp>
    <dsp:sp modelId="{90B55945-C84D-45E9-AB23-5694BCC26D5C}">
      <dsp:nvSpPr>
        <dsp:cNvPr id="0" name=""/>
        <dsp:cNvSpPr/>
      </dsp:nvSpPr>
      <dsp:spPr>
        <a:xfrm>
          <a:off x="544036" y="3172575"/>
          <a:ext cx="7616508" cy="590400"/>
        </a:xfrm>
        <a:prstGeom prst="round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89000">
            <a:lnSpc>
              <a:spcPct val="100000"/>
            </a:lnSpc>
            <a:spcBef>
              <a:spcPct val="0"/>
            </a:spcBef>
            <a:spcAft>
              <a:spcPct val="35000"/>
            </a:spcAft>
            <a:buNone/>
          </a:pPr>
          <a:r>
            <a:rPr lang="en-US" sz="2000" kern="1200" dirty="0"/>
            <a:t>Non-Clustered Index</a:t>
          </a:r>
        </a:p>
      </dsp:txBody>
      <dsp:txXfrm>
        <a:off x="572857" y="3201396"/>
        <a:ext cx="7558866" cy="532758"/>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D6FDA3-5755-4DE2-8B90-3C47EE141844}">
      <dsp:nvSpPr>
        <dsp:cNvPr id="0" name=""/>
        <dsp:cNvSpPr/>
      </dsp:nvSpPr>
      <dsp:spPr>
        <a:xfrm>
          <a:off x="0" y="39662"/>
          <a:ext cx="10880726"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2</a:t>
          </a:r>
          <a:endParaRPr lang="en-US" sz="2400" kern="1200"/>
        </a:p>
      </dsp:txBody>
      <dsp:txXfrm>
        <a:off x="30157" y="69819"/>
        <a:ext cx="10820412" cy="557445"/>
      </dsp:txXfrm>
    </dsp:sp>
    <dsp:sp modelId="{C165FB1E-E29C-4F3E-AF34-47A1F505CA01}">
      <dsp:nvSpPr>
        <dsp:cNvPr id="0" name=""/>
        <dsp:cNvSpPr/>
      </dsp:nvSpPr>
      <dsp:spPr>
        <a:xfrm>
          <a:off x="0" y="657422"/>
          <a:ext cx="10880726"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Only Non-Clustered, Non-Updatable Columnstore Indexes.</a:t>
          </a:r>
          <a:endParaRPr lang="en-US" sz="1900" kern="1200" dirty="0"/>
        </a:p>
        <a:p>
          <a:pPr marL="171450" lvl="1" indent="-171450" algn="l" defTabSz="844550">
            <a:lnSpc>
              <a:spcPct val="90000"/>
            </a:lnSpc>
            <a:spcBef>
              <a:spcPct val="0"/>
            </a:spcBef>
            <a:spcAft>
              <a:spcPct val="20000"/>
            </a:spcAft>
            <a:buChar char="•"/>
          </a:pPr>
          <a:r>
            <a:rPr lang="en-US" sz="1900" kern="1200" baseline="0"/>
            <a:t>Only available in Enterprise Edition.</a:t>
          </a:r>
          <a:endParaRPr lang="en-US" sz="1900" kern="1200"/>
        </a:p>
      </dsp:txBody>
      <dsp:txXfrm>
        <a:off x="0" y="657422"/>
        <a:ext cx="10880726" cy="707940"/>
      </dsp:txXfrm>
    </dsp:sp>
    <dsp:sp modelId="{08989DC2-25A6-4E23-929B-1E36EABBF708}">
      <dsp:nvSpPr>
        <dsp:cNvPr id="0" name=""/>
        <dsp:cNvSpPr/>
      </dsp:nvSpPr>
      <dsp:spPr>
        <a:xfrm>
          <a:off x="0" y="1365363"/>
          <a:ext cx="10880726" cy="617759"/>
        </a:xfrm>
        <a:prstGeom prst="roundRect">
          <a:avLst/>
        </a:prstGeom>
        <a:solidFill>
          <a:schemeClr val="accent3">
            <a:hueOff val="672623"/>
            <a:satOff val="0"/>
            <a:lumOff val="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4</a:t>
          </a:r>
          <a:endParaRPr lang="en-US" sz="2400" kern="1200"/>
        </a:p>
      </dsp:txBody>
      <dsp:txXfrm>
        <a:off x="30157" y="1395520"/>
        <a:ext cx="10820412" cy="557445"/>
      </dsp:txXfrm>
    </dsp:sp>
    <dsp:sp modelId="{8E6E80D6-6366-4C92-92F3-64C222E15966}">
      <dsp:nvSpPr>
        <dsp:cNvPr id="0" name=""/>
        <dsp:cNvSpPr/>
      </dsp:nvSpPr>
      <dsp:spPr>
        <a:xfrm>
          <a:off x="0" y="1983123"/>
          <a:ext cx="10880726"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Introduced Updatable, Clustered Columnstore Indexes</a:t>
          </a:r>
          <a:endParaRPr lang="en-US" sz="1900" kern="1200" dirty="0"/>
        </a:p>
        <a:p>
          <a:pPr marL="171450" lvl="1" indent="-171450" algn="l" defTabSz="844550">
            <a:lnSpc>
              <a:spcPct val="90000"/>
            </a:lnSpc>
            <a:spcBef>
              <a:spcPct val="0"/>
            </a:spcBef>
            <a:spcAft>
              <a:spcPct val="20000"/>
            </a:spcAft>
            <a:buChar char="•"/>
          </a:pPr>
          <a:r>
            <a:rPr lang="en-US" sz="1900" kern="1200" baseline="0"/>
            <a:t>Only available in Enterprise Edition.</a:t>
          </a:r>
          <a:endParaRPr lang="en-US" sz="1900" kern="1200"/>
        </a:p>
      </dsp:txBody>
      <dsp:txXfrm>
        <a:off x="0" y="1983123"/>
        <a:ext cx="10880726" cy="707940"/>
      </dsp:txXfrm>
    </dsp:sp>
    <dsp:sp modelId="{3460D7B7-5749-4F63-9630-7BA718D59350}">
      <dsp:nvSpPr>
        <dsp:cNvPr id="0" name=""/>
        <dsp:cNvSpPr/>
      </dsp:nvSpPr>
      <dsp:spPr>
        <a:xfrm>
          <a:off x="0" y="2691063"/>
          <a:ext cx="10880726" cy="617759"/>
        </a:xfrm>
        <a:prstGeom prst="roundRect">
          <a:avLst/>
        </a:prstGeom>
        <a:solidFill>
          <a:schemeClr val="accent3">
            <a:hueOff val="1345247"/>
            <a:satOff val="0"/>
            <a:lumOff val="6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6</a:t>
          </a:r>
          <a:endParaRPr lang="en-US" sz="2400" kern="1200"/>
        </a:p>
      </dsp:txBody>
      <dsp:txXfrm>
        <a:off x="30157" y="2721220"/>
        <a:ext cx="10820412" cy="557445"/>
      </dsp:txXfrm>
    </dsp:sp>
    <dsp:sp modelId="{9FD71129-32E2-4679-8217-4997ED0A8B01}">
      <dsp:nvSpPr>
        <dsp:cNvPr id="0" name=""/>
        <dsp:cNvSpPr/>
      </dsp:nvSpPr>
      <dsp:spPr>
        <a:xfrm>
          <a:off x="0" y="3308823"/>
          <a:ext cx="10880726" cy="7079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Introduced Updatable, Non-Clustered Columnstore Indexes</a:t>
          </a:r>
          <a:endParaRPr lang="en-US" sz="1900" kern="1200" dirty="0"/>
        </a:p>
        <a:p>
          <a:pPr marL="171450" lvl="1" indent="-171450" algn="l" defTabSz="844550">
            <a:lnSpc>
              <a:spcPct val="90000"/>
            </a:lnSpc>
            <a:spcBef>
              <a:spcPct val="0"/>
            </a:spcBef>
            <a:spcAft>
              <a:spcPct val="20000"/>
            </a:spcAft>
            <a:buChar char="•"/>
          </a:pPr>
          <a:r>
            <a:rPr lang="en-US" sz="1900" kern="1200" baseline="0"/>
            <a:t>Available on Standard Edition. (Service Pack 1)</a:t>
          </a:r>
          <a:endParaRPr lang="en-US" sz="1900" kern="1200"/>
        </a:p>
      </dsp:txBody>
      <dsp:txXfrm>
        <a:off x="0" y="3308823"/>
        <a:ext cx="10880726" cy="707940"/>
      </dsp:txXfrm>
    </dsp:sp>
    <dsp:sp modelId="{9BB7BBE9-6421-4A14-94FF-A1C5D4F22222}">
      <dsp:nvSpPr>
        <dsp:cNvPr id="0" name=""/>
        <dsp:cNvSpPr/>
      </dsp:nvSpPr>
      <dsp:spPr>
        <a:xfrm>
          <a:off x="0" y="4016763"/>
          <a:ext cx="10880726" cy="617759"/>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Server 2019</a:t>
          </a:r>
          <a:endParaRPr lang="en-US" sz="2400" kern="1200"/>
        </a:p>
      </dsp:txBody>
      <dsp:txXfrm>
        <a:off x="30157" y="4046920"/>
        <a:ext cx="10820412" cy="557445"/>
      </dsp:txXfrm>
    </dsp:sp>
    <dsp:sp modelId="{A7D2D948-6252-415F-8042-1663AC7E4DA7}">
      <dsp:nvSpPr>
        <dsp:cNvPr id="0" name=""/>
        <dsp:cNvSpPr/>
      </dsp:nvSpPr>
      <dsp:spPr>
        <a:xfrm>
          <a:off x="0" y="4634523"/>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Online rebuilds for Clustered Columnstore Indexes.</a:t>
          </a:r>
          <a:endParaRPr lang="en-US" sz="1900" kern="1200" dirty="0"/>
        </a:p>
      </dsp:txBody>
      <dsp:txXfrm>
        <a:off x="0" y="4634523"/>
        <a:ext cx="10880726" cy="39744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9187F7-93B3-4438-B92F-8F99E3C0C00D}">
      <dsp:nvSpPr>
        <dsp:cNvPr id="0" name=""/>
        <dsp:cNvSpPr/>
      </dsp:nvSpPr>
      <dsp:spPr>
        <a:xfrm>
          <a:off x="0" y="30048"/>
          <a:ext cx="10317162" cy="1296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GB" sz="3200" kern="1200" baseline="0" dirty="0"/>
            <a:t>Page compressed b-tree like a row store</a:t>
          </a:r>
          <a:endParaRPr lang="en-US" sz="3200" kern="1200" dirty="0"/>
        </a:p>
      </dsp:txBody>
      <dsp:txXfrm>
        <a:off x="0" y="30048"/>
        <a:ext cx="10317162" cy="1296000"/>
      </dsp:txXfrm>
    </dsp:sp>
    <dsp:sp modelId="{79F9ED0E-0A96-41D0-9B75-D58F9B63BF67}">
      <dsp:nvSpPr>
        <dsp:cNvPr id="0" name=""/>
        <dsp:cNvSpPr/>
      </dsp:nvSpPr>
      <dsp:spPr>
        <a:xfrm>
          <a:off x="0" y="1326048"/>
          <a:ext cx="10317162" cy="19764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GB" sz="2400" kern="1200" baseline="0" dirty="0">
              <a:latin typeface="+mn-lt"/>
            </a:rPr>
            <a:t>B-tree on unique integer row </a:t>
          </a:r>
          <a:r>
            <a:rPr lang="en-GB" sz="2400" u="sng" kern="1200" baseline="0" dirty="0">
              <a:latin typeface="+mn-lt"/>
            </a:rPr>
            <a:t>ID</a:t>
          </a:r>
          <a:endParaRPr lang="en-US" sz="2400" kern="1200" dirty="0">
            <a:latin typeface="+mn-lt"/>
          </a:endParaRPr>
        </a:p>
        <a:p>
          <a:pPr marL="228600" lvl="1" indent="-228600" algn="l" defTabSz="1066800">
            <a:lnSpc>
              <a:spcPct val="90000"/>
            </a:lnSpc>
            <a:spcBef>
              <a:spcPct val="0"/>
            </a:spcBef>
            <a:spcAft>
              <a:spcPct val="15000"/>
            </a:spcAft>
            <a:buChar char="•"/>
          </a:pPr>
          <a:r>
            <a:rPr lang="en-GB" sz="2400" kern="1200" baseline="0" dirty="0">
              <a:latin typeface="+mn-lt"/>
            </a:rPr>
            <a:t>Matches user columns defined in the CCI</a:t>
          </a:r>
          <a:endParaRPr lang="en-US" sz="2400" kern="1200" dirty="0">
            <a:latin typeface="+mn-lt"/>
          </a:endParaRPr>
        </a:p>
        <a:p>
          <a:pPr marL="228600" lvl="1" indent="-228600" algn="l" defTabSz="1066800">
            <a:lnSpc>
              <a:spcPct val="90000"/>
            </a:lnSpc>
            <a:spcBef>
              <a:spcPct val="0"/>
            </a:spcBef>
            <a:spcAft>
              <a:spcPct val="15000"/>
            </a:spcAft>
            <a:buChar char="•"/>
          </a:pPr>
          <a:r>
            <a:rPr lang="en-GB" sz="2400" kern="1200" baseline="0" dirty="0">
              <a:latin typeface="+mn-lt"/>
            </a:rPr>
            <a:t>Aligned to underlying CCI partition</a:t>
          </a:r>
          <a:endParaRPr lang="en-US" sz="2400" kern="1200" dirty="0">
            <a:latin typeface="+mn-lt"/>
          </a:endParaRPr>
        </a:p>
        <a:p>
          <a:pPr marL="228600" lvl="1" indent="-228600" algn="l" defTabSz="1066800">
            <a:lnSpc>
              <a:spcPct val="90000"/>
            </a:lnSpc>
            <a:spcBef>
              <a:spcPct val="0"/>
            </a:spcBef>
            <a:spcAft>
              <a:spcPct val="15000"/>
            </a:spcAft>
            <a:buChar char="•"/>
          </a:pPr>
          <a:r>
            <a:rPr lang="en-US" sz="2400" b="0" i="0" kern="1200">
              <a:effectLst/>
              <a:latin typeface="+mn-lt"/>
            </a:rPr>
            <a:t>Small bulk loads of less than 102,400 rows, go directly to the deltastore</a:t>
          </a:r>
          <a:r>
            <a:rPr lang="en-US" sz="2200" b="0" i="0" kern="1200">
              <a:effectLst/>
              <a:latin typeface="Segoe UI" panose="020B0502040204020203" pitchFamily="34" charset="0"/>
            </a:rPr>
            <a:t>.</a:t>
          </a:r>
          <a:endParaRPr lang="en-US" sz="2200" kern="1200" dirty="0"/>
        </a:p>
      </dsp:txBody>
      <dsp:txXfrm>
        <a:off x="0" y="1326048"/>
        <a:ext cx="10317162" cy="1976400"/>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9ABD53-D5A5-469E-946D-2DF6ABF2FFE4}">
      <dsp:nvSpPr>
        <dsp:cNvPr id="0" name=""/>
        <dsp:cNvSpPr/>
      </dsp:nvSpPr>
      <dsp:spPr>
        <a:xfrm>
          <a:off x="3224" y="61407"/>
          <a:ext cx="3143510"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GB" sz="2900" b="1" kern="1200" baseline="0"/>
            <a:t>Inserts </a:t>
          </a:r>
          <a:endParaRPr lang="en-US" sz="2900" kern="1200"/>
        </a:p>
      </dsp:txBody>
      <dsp:txXfrm>
        <a:off x="3224" y="61407"/>
        <a:ext cx="3143510" cy="835200"/>
      </dsp:txXfrm>
    </dsp:sp>
    <dsp:sp modelId="{4FA8E37E-75B3-43B7-928B-C246BBB7C060}">
      <dsp:nvSpPr>
        <dsp:cNvPr id="0" name=""/>
        <dsp:cNvSpPr/>
      </dsp:nvSpPr>
      <dsp:spPr>
        <a:xfrm>
          <a:off x="3224" y="896607"/>
          <a:ext cx="3143510" cy="405985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GB" sz="2900" kern="1200" baseline="0"/>
            <a:t>Below threshold? Write to the delta store</a:t>
          </a:r>
          <a:endParaRPr lang="en-US" sz="2900" kern="1200"/>
        </a:p>
        <a:p>
          <a:pPr marL="285750" lvl="1" indent="-285750" algn="l" defTabSz="1289050">
            <a:lnSpc>
              <a:spcPct val="90000"/>
            </a:lnSpc>
            <a:spcBef>
              <a:spcPct val="0"/>
            </a:spcBef>
            <a:spcAft>
              <a:spcPct val="15000"/>
            </a:spcAft>
            <a:buChar char="•"/>
          </a:pPr>
          <a:r>
            <a:rPr lang="en-GB" sz="2900" kern="1200" baseline="0"/>
            <a:t>Above threshold? Write as column store</a:t>
          </a:r>
          <a:endParaRPr lang="en-US" sz="2900" kern="1200"/>
        </a:p>
      </dsp:txBody>
      <dsp:txXfrm>
        <a:off x="3224" y="896607"/>
        <a:ext cx="3143510" cy="4059855"/>
      </dsp:txXfrm>
    </dsp:sp>
    <dsp:sp modelId="{31C04FC9-C4A6-40C8-8DAA-5CAEBD0A150E}">
      <dsp:nvSpPr>
        <dsp:cNvPr id="0" name=""/>
        <dsp:cNvSpPr/>
      </dsp:nvSpPr>
      <dsp:spPr>
        <a:xfrm>
          <a:off x="3586825" y="61407"/>
          <a:ext cx="3143510" cy="835200"/>
        </a:xfrm>
        <a:prstGeom prst="rect">
          <a:avLst/>
        </a:prstGeom>
        <a:solidFill>
          <a:schemeClr val="accent2">
            <a:hueOff val="-1333748"/>
            <a:satOff val="27691"/>
            <a:lumOff val="294"/>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GB" sz="2900" b="1" kern="1200" baseline="0"/>
            <a:t>Deletes </a:t>
          </a:r>
          <a:endParaRPr lang="en-US" sz="2900" kern="1200"/>
        </a:p>
      </dsp:txBody>
      <dsp:txXfrm>
        <a:off x="3586825" y="61407"/>
        <a:ext cx="3143510" cy="835200"/>
      </dsp:txXfrm>
    </dsp:sp>
    <dsp:sp modelId="{31FE9366-274B-4225-8F79-94CA9D7B36ED}">
      <dsp:nvSpPr>
        <dsp:cNvPr id="0" name=""/>
        <dsp:cNvSpPr/>
      </dsp:nvSpPr>
      <dsp:spPr>
        <a:xfrm>
          <a:off x="3586825" y="896607"/>
          <a:ext cx="3143510" cy="4059855"/>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GB" sz="2900" kern="1200" baseline="0" dirty="0"/>
            <a:t>Logical against rows in column store</a:t>
          </a:r>
          <a:endParaRPr lang="en-US" sz="2900" kern="1200" dirty="0"/>
        </a:p>
        <a:p>
          <a:pPr marL="285750" lvl="1" indent="-285750" algn="l" defTabSz="1289050">
            <a:lnSpc>
              <a:spcPct val="90000"/>
            </a:lnSpc>
            <a:spcBef>
              <a:spcPct val="0"/>
            </a:spcBef>
            <a:spcAft>
              <a:spcPct val="15000"/>
            </a:spcAft>
            <a:buChar char="•"/>
          </a:pPr>
          <a:r>
            <a:rPr lang="en-GB" sz="2900" kern="1200" baseline="0"/>
            <a:t>Physically against rows in the delta store</a:t>
          </a:r>
          <a:endParaRPr lang="en-US" sz="2900" kern="1200"/>
        </a:p>
      </dsp:txBody>
      <dsp:txXfrm>
        <a:off x="3586825" y="896607"/>
        <a:ext cx="3143510" cy="4059855"/>
      </dsp:txXfrm>
    </dsp:sp>
    <dsp:sp modelId="{7B53B16F-603E-4B06-A14D-459B302873AF}">
      <dsp:nvSpPr>
        <dsp:cNvPr id="0" name=""/>
        <dsp:cNvSpPr/>
      </dsp:nvSpPr>
      <dsp:spPr>
        <a:xfrm>
          <a:off x="7170427" y="61407"/>
          <a:ext cx="3143510" cy="835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GB" sz="2900" b="1" kern="1200" baseline="0"/>
            <a:t>Updates </a:t>
          </a:r>
          <a:endParaRPr lang="en-US" sz="2900" kern="1200"/>
        </a:p>
      </dsp:txBody>
      <dsp:txXfrm>
        <a:off x="7170427" y="61407"/>
        <a:ext cx="3143510" cy="835200"/>
      </dsp:txXfrm>
    </dsp:sp>
    <dsp:sp modelId="{F316BB9E-9076-4887-A96D-45E4336E2C07}">
      <dsp:nvSpPr>
        <dsp:cNvPr id="0" name=""/>
        <dsp:cNvSpPr/>
      </dsp:nvSpPr>
      <dsp:spPr>
        <a:xfrm>
          <a:off x="7170427" y="896607"/>
          <a:ext cx="3143510" cy="405985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GB" sz="2900" kern="1200" baseline="0"/>
            <a:t>Converted to a logical delete and an insert</a:t>
          </a:r>
          <a:endParaRPr lang="en-US" sz="2900" kern="1200"/>
        </a:p>
      </dsp:txBody>
      <dsp:txXfrm>
        <a:off x="7170427" y="896607"/>
        <a:ext cx="3143510" cy="4059855"/>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27F988-DEE5-4A99-9E5C-3B3CA1BBC356}">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Skips large chunks of data to speed up scans</a:t>
          </a:r>
          <a:endParaRPr lang="en-US" sz="2300" kern="1200"/>
        </a:p>
      </dsp:txBody>
      <dsp:txXfrm>
        <a:off x="0" y="199677"/>
        <a:ext cx="3400226" cy="2040136"/>
      </dsp:txXfrm>
    </dsp:sp>
    <dsp:sp modelId="{8AAF0ED5-4F75-4760-9059-772B89857C60}">
      <dsp:nvSpPr>
        <dsp:cNvPr id="0" name=""/>
        <dsp:cNvSpPr/>
      </dsp:nvSpPr>
      <dsp:spPr>
        <a:xfrm>
          <a:off x="3740249" y="199677"/>
          <a:ext cx="3400226" cy="2040136"/>
        </a:xfrm>
        <a:prstGeom prst="rect">
          <a:avLst/>
        </a:prstGeom>
        <a:gradFill rotWithShape="0">
          <a:gsLst>
            <a:gs pos="0">
              <a:schemeClr val="accent2">
                <a:hueOff val="-666874"/>
                <a:satOff val="13846"/>
                <a:lumOff val="147"/>
                <a:alphaOff val="0"/>
                <a:satMod val="103000"/>
                <a:lumMod val="102000"/>
                <a:tint val="94000"/>
              </a:schemeClr>
            </a:gs>
            <a:gs pos="50000">
              <a:schemeClr val="accent2">
                <a:hueOff val="-666874"/>
                <a:satOff val="13846"/>
                <a:lumOff val="147"/>
                <a:alphaOff val="0"/>
                <a:satMod val="110000"/>
                <a:lumMod val="100000"/>
                <a:shade val="100000"/>
              </a:schemeClr>
            </a:gs>
            <a:gs pos="100000">
              <a:schemeClr val="accent2">
                <a:hueOff val="-666874"/>
                <a:satOff val="13846"/>
                <a:lumOff val="14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Each partition in a column store index is broken into segments</a:t>
          </a:r>
          <a:endParaRPr lang="en-US" sz="2300" kern="1200"/>
        </a:p>
      </dsp:txBody>
      <dsp:txXfrm>
        <a:off x="3740249" y="199677"/>
        <a:ext cx="3400226" cy="2040136"/>
      </dsp:txXfrm>
    </dsp:sp>
    <dsp:sp modelId="{FB72EDAF-9678-4462-B908-0B6504BDE394}">
      <dsp:nvSpPr>
        <dsp:cNvPr id="0" name=""/>
        <dsp:cNvSpPr/>
      </dsp:nvSpPr>
      <dsp:spPr>
        <a:xfrm>
          <a:off x="7480499" y="199677"/>
          <a:ext cx="3400226" cy="2040136"/>
        </a:xfrm>
        <a:prstGeom prst="rect">
          <a:avLst/>
        </a:prstGeom>
        <a:gradFill rotWithShape="0">
          <a:gsLst>
            <a:gs pos="0">
              <a:schemeClr val="accent2">
                <a:hueOff val="-1333748"/>
                <a:satOff val="27691"/>
                <a:lumOff val="294"/>
                <a:alphaOff val="0"/>
                <a:satMod val="103000"/>
                <a:lumMod val="102000"/>
                <a:tint val="94000"/>
              </a:schemeClr>
            </a:gs>
            <a:gs pos="50000">
              <a:schemeClr val="accent2">
                <a:hueOff val="-1333748"/>
                <a:satOff val="27691"/>
                <a:lumOff val="294"/>
                <a:alphaOff val="0"/>
                <a:satMod val="110000"/>
                <a:lumMod val="100000"/>
                <a:shade val="100000"/>
              </a:schemeClr>
            </a:gs>
            <a:gs pos="100000">
              <a:schemeClr val="accent2">
                <a:hueOff val="-1333748"/>
                <a:satOff val="27691"/>
                <a:lumOff val="29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Each segment has metadata that stores the minimum and maximum value of each column for the segment</a:t>
          </a:r>
          <a:endParaRPr lang="en-US" sz="2300" kern="1200"/>
        </a:p>
      </dsp:txBody>
      <dsp:txXfrm>
        <a:off x="7480499" y="199677"/>
        <a:ext cx="3400226" cy="2040136"/>
      </dsp:txXfrm>
    </dsp:sp>
    <dsp:sp modelId="{6B0A9993-8425-4995-921C-36F8C8875194}">
      <dsp:nvSpPr>
        <dsp:cNvPr id="0" name=""/>
        <dsp:cNvSpPr/>
      </dsp:nvSpPr>
      <dsp:spPr>
        <a:xfrm>
          <a:off x="1870124" y="2579836"/>
          <a:ext cx="3400226" cy="2040136"/>
        </a:xfrm>
        <a:prstGeom prst="rect">
          <a:avLst/>
        </a:prstGeom>
        <a:gradFill rotWithShape="0">
          <a:gsLst>
            <a:gs pos="0">
              <a:schemeClr val="accent2">
                <a:hueOff val="-2000623"/>
                <a:satOff val="41537"/>
                <a:lumOff val="441"/>
                <a:alphaOff val="0"/>
                <a:satMod val="103000"/>
                <a:lumMod val="102000"/>
                <a:tint val="94000"/>
              </a:schemeClr>
            </a:gs>
            <a:gs pos="50000">
              <a:schemeClr val="accent2">
                <a:hueOff val="-2000623"/>
                <a:satOff val="41537"/>
                <a:lumOff val="441"/>
                <a:alphaOff val="0"/>
                <a:satMod val="110000"/>
                <a:lumMod val="100000"/>
                <a:shade val="100000"/>
              </a:schemeClr>
            </a:gs>
            <a:gs pos="100000">
              <a:schemeClr val="accent2">
                <a:hueOff val="-2000623"/>
                <a:satOff val="41537"/>
                <a:lumOff val="44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The storage engine checks filter conditions against the metadata</a:t>
          </a:r>
          <a:endParaRPr lang="en-US" sz="2300" kern="1200"/>
        </a:p>
      </dsp:txBody>
      <dsp:txXfrm>
        <a:off x="1870124" y="2579836"/>
        <a:ext cx="3400226" cy="2040136"/>
      </dsp:txXfrm>
    </dsp:sp>
    <dsp:sp modelId="{05E13E4C-A993-4BA7-84B0-4C04398DEACD}">
      <dsp:nvSpPr>
        <dsp:cNvPr id="0" name=""/>
        <dsp:cNvSpPr/>
      </dsp:nvSpPr>
      <dsp:spPr>
        <a:xfrm>
          <a:off x="5610374" y="2579836"/>
          <a:ext cx="3400226" cy="2040136"/>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t>If it detects no rows that qualify, it skips the entire segment without reading it from disk</a:t>
          </a:r>
          <a:endParaRPr lang="en-US" sz="2300" kern="1200"/>
        </a:p>
      </dsp:txBody>
      <dsp:txXfrm>
        <a:off x="5610374" y="2579836"/>
        <a:ext cx="3400226" cy="2040136"/>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51716-7A8B-4F85-AF68-AF9AA507861A}">
      <dsp:nvSpPr>
        <dsp:cNvPr id="0" name=""/>
        <dsp:cNvSpPr/>
      </dsp:nvSpPr>
      <dsp:spPr>
        <a:xfrm>
          <a:off x="0" y="362"/>
          <a:ext cx="2612271" cy="852250"/>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a:t>Segment Elimination</a:t>
          </a:r>
        </a:p>
      </dsp:txBody>
      <dsp:txXfrm>
        <a:off x="426125" y="362"/>
        <a:ext cx="1760021" cy="852250"/>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551716-7A8B-4F85-AF68-AF9AA507861A}">
      <dsp:nvSpPr>
        <dsp:cNvPr id="0" name=""/>
        <dsp:cNvSpPr/>
      </dsp:nvSpPr>
      <dsp:spPr>
        <a:xfrm>
          <a:off x="0" y="362"/>
          <a:ext cx="2612271" cy="852250"/>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a:t>Segment Elimination</a:t>
          </a:r>
        </a:p>
      </dsp:txBody>
      <dsp:txXfrm>
        <a:off x="426125" y="362"/>
        <a:ext cx="1760021" cy="852250"/>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481716-649F-422F-BFB3-33D3C6C86AD8}">
      <dsp:nvSpPr>
        <dsp:cNvPr id="0" name=""/>
        <dsp:cNvSpPr/>
      </dsp:nvSpPr>
      <dsp:spPr>
        <a:xfrm>
          <a:off x="562806" y="0"/>
          <a:ext cx="2773947" cy="851779"/>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a:t>RowGroup Elimination</a:t>
          </a:r>
        </a:p>
      </dsp:txBody>
      <dsp:txXfrm>
        <a:off x="988696" y="0"/>
        <a:ext cx="1922168" cy="8517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D3DFA-3FA5-4AAC-9049-393145ACFE06}">
      <dsp:nvSpPr>
        <dsp:cNvPr id="0" name=""/>
        <dsp:cNvSpPr/>
      </dsp:nvSpPr>
      <dsp:spPr>
        <a:xfrm>
          <a:off x="0" y="588"/>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89BA8E-8C1F-4DC3-9496-56C4BF41A21B}">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670E33-B6FE-417B-AD49-1677CFE5F27A}">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933450">
            <a:lnSpc>
              <a:spcPct val="100000"/>
            </a:lnSpc>
            <a:spcBef>
              <a:spcPct val="0"/>
            </a:spcBef>
            <a:spcAft>
              <a:spcPct val="35000"/>
            </a:spcAft>
            <a:buNone/>
          </a:pPr>
          <a:r>
            <a:rPr lang="en-US" sz="2100" kern="1200" baseline="0" dirty="0"/>
            <a:t>An ordered data structure that is implemented as a Balanced (B) Tree.</a:t>
          </a:r>
          <a:endParaRPr lang="en-US" sz="2100" kern="1200" dirty="0"/>
        </a:p>
      </dsp:txBody>
      <dsp:txXfrm>
        <a:off x="1590096" y="588"/>
        <a:ext cx="9290629" cy="1376706"/>
      </dsp:txXfrm>
    </dsp:sp>
    <dsp:sp modelId="{812C09F5-1E00-4F05-9F75-7B18F51B805F}">
      <dsp:nvSpPr>
        <dsp:cNvPr id="0" name=""/>
        <dsp:cNvSpPr/>
      </dsp:nvSpPr>
      <dsp:spPr>
        <a:xfrm>
          <a:off x="0" y="1721471"/>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34B39B-B6B7-44E0-AFF6-E190ABAF226B}">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76F333-EA8D-49F9-A11E-5FE023BA65DD}">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933450">
            <a:lnSpc>
              <a:spcPct val="100000"/>
            </a:lnSpc>
            <a:spcBef>
              <a:spcPct val="0"/>
            </a:spcBef>
            <a:spcAft>
              <a:spcPct val="35000"/>
            </a:spcAft>
            <a:buNone/>
          </a:pPr>
          <a:r>
            <a:rPr lang="en-US" sz="2100" kern="1200" baseline="0" dirty="0"/>
            <a:t>When a table is clustered, the leaf level of the index contains ALL data in the table. This means that the clustered index IS the table. This is also why there is only one per table.</a:t>
          </a:r>
          <a:endParaRPr lang="en-US" sz="2100" kern="1200" dirty="0"/>
        </a:p>
      </dsp:txBody>
      <dsp:txXfrm>
        <a:off x="1590096" y="1721471"/>
        <a:ext cx="9290629" cy="1376706"/>
      </dsp:txXfrm>
    </dsp:sp>
    <dsp:sp modelId="{EB7A11B7-40C9-4C2D-8501-6AE16A4B4787}">
      <dsp:nvSpPr>
        <dsp:cNvPr id="0" name=""/>
        <dsp:cNvSpPr/>
      </dsp:nvSpPr>
      <dsp:spPr>
        <a:xfrm>
          <a:off x="0" y="3442354"/>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5D742C-8E7A-4351-9153-F2BE9EF856CA}">
      <dsp:nvSpPr>
        <dsp:cNvPr id="0" name=""/>
        <dsp:cNvSpPr/>
      </dsp:nvSpPr>
      <dsp:spPr>
        <a:xfrm>
          <a:off x="416453" y="3752113"/>
          <a:ext cx="757188" cy="757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C1712B-1734-4443-88F1-E5E5CB441BAD}">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933450">
            <a:lnSpc>
              <a:spcPct val="100000"/>
            </a:lnSpc>
            <a:spcBef>
              <a:spcPct val="0"/>
            </a:spcBef>
            <a:spcAft>
              <a:spcPct val="35000"/>
            </a:spcAft>
            <a:buNone/>
          </a:pPr>
          <a:r>
            <a:rPr lang="en-US" sz="2100" kern="1200" baseline="0" dirty="0"/>
            <a:t>The leaf level of the clustered index contains data pages.</a:t>
          </a:r>
          <a:endParaRPr lang="en-US" sz="2100" kern="1200" dirty="0"/>
        </a:p>
      </dsp:txBody>
      <dsp:txXfrm>
        <a:off x="1590096" y="3442354"/>
        <a:ext cx="9290629" cy="137670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6D45A7-852E-4C0B-A34E-0B1EF1D8A232}">
      <dsp:nvSpPr>
        <dsp:cNvPr id="0" name=""/>
        <dsp:cNvSpPr/>
      </dsp:nvSpPr>
      <dsp:spPr>
        <a:xfrm>
          <a:off x="0" y="22469"/>
          <a:ext cx="10594975" cy="8985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elect * - lose the ability to do column elimination</a:t>
          </a:r>
          <a:endParaRPr lang="en-US" sz="2400" kern="1200" dirty="0"/>
        </a:p>
      </dsp:txBody>
      <dsp:txXfrm>
        <a:off x="43864" y="66333"/>
        <a:ext cx="10507247" cy="810832"/>
      </dsp:txXfrm>
    </dsp:sp>
    <dsp:sp modelId="{AD3383DE-0B54-4FAE-9915-F9222DD5B01B}">
      <dsp:nvSpPr>
        <dsp:cNvPr id="0" name=""/>
        <dsp:cNvSpPr/>
      </dsp:nvSpPr>
      <dsp:spPr>
        <a:xfrm>
          <a:off x="0" y="1059269"/>
          <a:ext cx="10594975" cy="89856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Point-lookup – easier to find a particular row in a rowstore table</a:t>
          </a:r>
          <a:endParaRPr lang="en-US" sz="2400" kern="1200" dirty="0"/>
        </a:p>
      </dsp:txBody>
      <dsp:txXfrm>
        <a:off x="43864" y="1103133"/>
        <a:ext cx="10507247" cy="810832"/>
      </dsp:txXfrm>
    </dsp:sp>
    <dsp:sp modelId="{FE2BB801-2F67-422D-9958-A1D5147DBBD8}">
      <dsp:nvSpPr>
        <dsp:cNvPr id="0" name=""/>
        <dsp:cNvSpPr/>
      </dsp:nvSpPr>
      <dsp:spPr>
        <a:xfrm>
          <a:off x="0" y="2096070"/>
          <a:ext cx="10594975" cy="89856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electing a range – rowstore can more easily grab that range of rows</a:t>
          </a:r>
          <a:endParaRPr lang="en-US" sz="2400" kern="1200" dirty="0"/>
        </a:p>
      </dsp:txBody>
      <dsp:txXfrm>
        <a:off x="43864" y="2139934"/>
        <a:ext cx="10507247" cy="810832"/>
      </dsp:txXfrm>
    </dsp:sp>
    <dsp:sp modelId="{16828447-DE25-4F22-8BC1-2EE0F8D345CD}">
      <dsp:nvSpPr>
        <dsp:cNvPr id="0" name=""/>
        <dsp:cNvSpPr/>
      </dsp:nvSpPr>
      <dsp:spPr>
        <a:xfrm>
          <a:off x="0" y="3132869"/>
          <a:ext cx="10594975" cy="8985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 lot of DML – more overhead in CCI.</a:t>
          </a:r>
          <a:endParaRPr lang="en-US" sz="2400" kern="1200"/>
        </a:p>
      </dsp:txBody>
      <dsp:txXfrm>
        <a:off x="43864" y="3176733"/>
        <a:ext cx="10507247" cy="810832"/>
      </dsp:txXfrm>
    </dsp:sp>
    <dsp:sp modelId="{CB5C7603-8134-4F8A-92CF-E0963CB374B9}">
      <dsp:nvSpPr>
        <dsp:cNvPr id="0" name=""/>
        <dsp:cNvSpPr/>
      </dsp:nvSpPr>
      <dsp:spPr>
        <a:xfrm>
          <a:off x="0" y="4031430"/>
          <a:ext cx="10594975" cy="124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639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a:t>UPDATE = DELETE old row, INSERT new row</a:t>
          </a:r>
          <a:endParaRPr lang="en-US" sz="2400" kern="1200"/>
        </a:p>
        <a:p>
          <a:pPr marL="228600" lvl="1" indent="-228600" algn="l" defTabSz="1066800">
            <a:lnSpc>
              <a:spcPct val="90000"/>
            </a:lnSpc>
            <a:spcBef>
              <a:spcPct val="0"/>
            </a:spcBef>
            <a:spcAft>
              <a:spcPct val="20000"/>
            </a:spcAft>
            <a:buChar char="•"/>
          </a:pPr>
          <a:r>
            <a:rPr lang="en-US" sz="2400" kern="1200" baseline="0" dirty="0"/>
            <a:t>DELETE – rows are only logically deleted until an ALTER INDEX REBUILD* is issued</a:t>
          </a:r>
          <a:endParaRPr lang="en-US" sz="2400" kern="1200" dirty="0"/>
        </a:p>
      </dsp:txBody>
      <dsp:txXfrm>
        <a:off x="0" y="4031430"/>
        <a:ext cx="10594975" cy="1242000"/>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4AEB9D-2797-4985-B1DC-B7BC865AEF70}">
      <dsp:nvSpPr>
        <dsp:cNvPr id="0" name=""/>
        <dsp:cNvSpPr/>
      </dsp:nvSpPr>
      <dsp:spPr>
        <a:xfrm>
          <a:off x="0" y="199677"/>
          <a:ext cx="3400226" cy="204013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Process around 1000 rows at a time</a:t>
          </a:r>
          <a:endParaRPr lang="en-US" sz="2300" kern="1200"/>
        </a:p>
      </dsp:txBody>
      <dsp:txXfrm>
        <a:off x="0" y="199677"/>
        <a:ext cx="3400226" cy="2040136"/>
      </dsp:txXfrm>
    </dsp:sp>
    <dsp:sp modelId="{6A70846C-F0B8-42EA-B638-3BE790113915}">
      <dsp:nvSpPr>
        <dsp:cNvPr id="0" name=""/>
        <dsp:cNvSpPr/>
      </dsp:nvSpPr>
      <dsp:spPr>
        <a:xfrm>
          <a:off x="3740249" y="199677"/>
          <a:ext cx="3400226" cy="204013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s opposed to 1 row at a time with row-based processing</a:t>
          </a:r>
          <a:endParaRPr lang="en-US" sz="2300" kern="1200" dirty="0"/>
        </a:p>
      </dsp:txBody>
      <dsp:txXfrm>
        <a:off x="3740249" y="199677"/>
        <a:ext cx="3400226" cy="2040136"/>
      </dsp:txXfrm>
    </dsp:sp>
    <dsp:sp modelId="{AAD0CDBF-6358-4899-9D9F-92895FBC30C6}">
      <dsp:nvSpPr>
        <dsp:cNvPr id="0" name=""/>
        <dsp:cNvSpPr/>
      </dsp:nvSpPr>
      <dsp:spPr>
        <a:xfrm>
          <a:off x="7480499" y="199677"/>
          <a:ext cx="3400226" cy="2040136"/>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Not all query plan operators can perform batch processing</a:t>
          </a:r>
          <a:endParaRPr lang="en-US" sz="2300" kern="1200"/>
        </a:p>
        <a:p>
          <a:pPr marL="171450" lvl="1" indent="-171450" algn="l" defTabSz="800100">
            <a:lnSpc>
              <a:spcPct val="90000"/>
            </a:lnSpc>
            <a:spcBef>
              <a:spcPct val="0"/>
            </a:spcBef>
            <a:spcAft>
              <a:spcPct val="15000"/>
            </a:spcAft>
            <a:buChar char="•"/>
          </a:pPr>
          <a:r>
            <a:rPr lang="en-US" sz="1800" kern="1200" baseline="0"/>
            <a:t>nested loops</a:t>
          </a:r>
          <a:endParaRPr lang="en-US" sz="1800" kern="1200"/>
        </a:p>
        <a:p>
          <a:pPr marL="171450" lvl="1" indent="-171450" algn="l" defTabSz="800100">
            <a:lnSpc>
              <a:spcPct val="90000"/>
            </a:lnSpc>
            <a:spcBef>
              <a:spcPct val="0"/>
            </a:spcBef>
            <a:spcAft>
              <a:spcPct val="15000"/>
            </a:spcAft>
            <a:buChar char="•"/>
          </a:pPr>
          <a:r>
            <a:rPr lang="en-US" sz="1800" kern="1200" baseline="0"/>
            <a:t>merge join</a:t>
          </a:r>
          <a:endParaRPr lang="en-US" sz="1800" kern="1200"/>
        </a:p>
      </dsp:txBody>
      <dsp:txXfrm>
        <a:off x="7480499" y="199677"/>
        <a:ext cx="3400226" cy="2040136"/>
      </dsp:txXfrm>
    </dsp:sp>
    <dsp:sp modelId="{78E1BC93-1E48-4F2C-93B4-03E5B84958B4}">
      <dsp:nvSpPr>
        <dsp:cNvPr id="0" name=""/>
        <dsp:cNvSpPr/>
      </dsp:nvSpPr>
      <dsp:spPr>
        <a:xfrm>
          <a:off x="1870124" y="2579836"/>
          <a:ext cx="3400226" cy="2040136"/>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Plan operators are expanded in SQL Server 2016+</a:t>
          </a:r>
          <a:endParaRPr lang="en-US" sz="2300" kern="1200"/>
        </a:p>
      </dsp:txBody>
      <dsp:txXfrm>
        <a:off x="1870124" y="2579836"/>
        <a:ext cx="3400226" cy="2040136"/>
      </dsp:txXfrm>
    </dsp:sp>
    <dsp:sp modelId="{95C0C9A5-CFD4-4794-81F3-5052E30E15F8}">
      <dsp:nvSpPr>
        <dsp:cNvPr id="0" name=""/>
        <dsp:cNvSpPr/>
      </dsp:nvSpPr>
      <dsp:spPr>
        <a:xfrm>
          <a:off x="5610374" y="2579836"/>
          <a:ext cx="3400226" cy="2040136"/>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Greatly reduced CPU time (7 to 40X)</a:t>
          </a:r>
          <a:endParaRPr lang="en-US" sz="2300" kern="1200"/>
        </a:p>
      </dsp:txBody>
      <dsp:txXfrm>
        <a:off x="5610374" y="2579836"/>
        <a:ext cx="3400226" cy="2040136"/>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920"/>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Name a primary reason for implementing a column store index?</a:t>
          </a:r>
        </a:p>
      </dsp:txBody>
      <dsp:txXfrm>
        <a:off x="42036" y="43956"/>
        <a:ext cx="10796653" cy="777048"/>
      </dsp:txXfrm>
    </dsp:sp>
    <dsp:sp modelId="{4A71D5C7-A7D6-46CE-B888-CF65241F6B98}">
      <dsp:nvSpPr>
        <dsp:cNvPr id="0" name=""/>
        <dsp:cNvSpPr/>
      </dsp:nvSpPr>
      <dsp:spPr>
        <a:xfrm>
          <a:off x="0" y="995520"/>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urpose of segments?</a:t>
          </a:r>
        </a:p>
      </dsp:txBody>
      <dsp:txXfrm>
        <a:off x="42036" y="1037556"/>
        <a:ext cx="10796653" cy="777048"/>
      </dsp:txXfrm>
    </dsp:sp>
    <dsp:sp modelId="{4CE6D622-6C4B-4912-A756-057BDFDF7259}">
      <dsp:nvSpPr>
        <dsp:cNvPr id="0" name=""/>
        <dsp:cNvSpPr/>
      </dsp:nvSpPr>
      <dsp:spPr>
        <a:xfrm>
          <a:off x="0" y="1989120"/>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urpose of row groups?</a:t>
          </a:r>
        </a:p>
      </dsp:txBody>
      <dsp:txXfrm>
        <a:off x="42036" y="2031156"/>
        <a:ext cx="10796653" cy="77704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9275B-E183-45F3-9FC2-5133B6D14A1C}">
      <dsp:nvSpPr>
        <dsp:cNvPr id="0" name=""/>
        <dsp:cNvSpPr/>
      </dsp:nvSpPr>
      <dsp:spPr>
        <a:xfrm>
          <a:off x="0" y="2130"/>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CDF78B-F671-4474-AFDC-AB0586B09D38}">
      <dsp:nvSpPr>
        <dsp:cNvPr id="0" name=""/>
        <dsp:cNvSpPr/>
      </dsp:nvSpPr>
      <dsp:spPr>
        <a:xfrm>
          <a:off x="326656" y="245098"/>
          <a:ext cx="593921" cy="59392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t="6471" b="6471"/>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8043C-98B9-4EE2-9B1A-538D698A37A2}">
      <dsp:nvSpPr>
        <dsp:cNvPr id="0" name=""/>
        <dsp:cNvSpPr/>
      </dsp:nvSpPr>
      <dsp:spPr>
        <a:xfrm>
          <a:off x="1247235" y="2130"/>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Same B-tree data structure as a clustered index.</a:t>
          </a:r>
          <a:endParaRPr lang="en-US" sz="2200" kern="1200"/>
        </a:p>
      </dsp:txBody>
      <dsp:txXfrm>
        <a:off x="1247235" y="2130"/>
        <a:ext cx="10408605" cy="1079857"/>
      </dsp:txXfrm>
    </dsp:sp>
    <dsp:sp modelId="{3138D751-E1E2-428F-B704-5533049F5E14}">
      <dsp:nvSpPr>
        <dsp:cNvPr id="0" name=""/>
        <dsp:cNvSpPr/>
      </dsp:nvSpPr>
      <dsp:spPr>
        <a:xfrm>
          <a:off x="0" y="1351952"/>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A836A4-C06F-43F0-B97D-65DFA3082CE2}">
      <dsp:nvSpPr>
        <dsp:cNvPr id="0" name=""/>
        <dsp:cNvSpPr/>
      </dsp:nvSpPr>
      <dsp:spPr>
        <a:xfrm>
          <a:off x="326656" y="1594920"/>
          <a:ext cx="593921" cy="59392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t="6322" b="632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5BEB2A-D1BD-4DBD-AF29-D20E6223D8E0}">
      <dsp:nvSpPr>
        <dsp:cNvPr id="0" name=""/>
        <dsp:cNvSpPr/>
      </dsp:nvSpPr>
      <dsp:spPr>
        <a:xfrm>
          <a:off x="1247235" y="1351952"/>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It is a separate structure built on top of a Heap or Clustered Index.</a:t>
          </a:r>
          <a:endParaRPr lang="en-US" sz="2200" kern="1200"/>
        </a:p>
      </dsp:txBody>
      <dsp:txXfrm>
        <a:off x="1247235" y="1351952"/>
        <a:ext cx="10408605" cy="1079857"/>
      </dsp:txXfrm>
    </dsp:sp>
    <dsp:sp modelId="{B1B321F8-0F48-4EC3-A8BC-032D8A094BC3}">
      <dsp:nvSpPr>
        <dsp:cNvPr id="0" name=""/>
        <dsp:cNvSpPr/>
      </dsp:nvSpPr>
      <dsp:spPr>
        <a:xfrm>
          <a:off x="0" y="2701774"/>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65E1E2-6EE2-4B3F-85D6-B8EB0738B31B}">
      <dsp:nvSpPr>
        <dsp:cNvPr id="0" name=""/>
        <dsp:cNvSpPr/>
      </dsp:nvSpPr>
      <dsp:spPr>
        <a:xfrm>
          <a:off x="326656" y="2944742"/>
          <a:ext cx="593921" cy="59392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7D69F0-D5CF-4D00-AD8D-BCC137F6ECCE}">
      <dsp:nvSpPr>
        <dsp:cNvPr id="0" name=""/>
        <dsp:cNvSpPr/>
      </dsp:nvSpPr>
      <dsp:spPr>
        <a:xfrm>
          <a:off x="1247235" y="2701774"/>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Only contains a subset of the columns in the base table</a:t>
          </a:r>
          <a:endParaRPr lang="en-US" sz="2200" kern="1200"/>
        </a:p>
      </dsp:txBody>
      <dsp:txXfrm>
        <a:off x="1247235" y="2701774"/>
        <a:ext cx="10408605" cy="1079857"/>
      </dsp:txXfrm>
    </dsp:sp>
    <dsp:sp modelId="{2BAA5DA1-13BB-4B71-9F00-F59F845689B6}">
      <dsp:nvSpPr>
        <dsp:cNvPr id="0" name=""/>
        <dsp:cNvSpPr/>
      </dsp:nvSpPr>
      <dsp:spPr>
        <a:xfrm>
          <a:off x="0" y="4051596"/>
          <a:ext cx="11655841" cy="107985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E8B214-EB6F-4894-B825-6FB2A6A6597D}">
      <dsp:nvSpPr>
        <dsp:cNvPr id="0" name=""/>
        <dsp:cNvSpPr/>
      </dsp:nvSpPr>
      <dsp:spPr>
        <a:xfrm>
          <a:off x="326656" y="4294564"/>
          <a:ext cx="593921" cy="59392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l="16146" r="1614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897854-AF76-48E4-BFAF-1A5DC77ACA3D}">
      <dsp:nvSpPr>
        <dsp:cNvPr id="0" name=""/>
        <dsp:cNvSpPr/>
      </dsp:nvSpPr>
      <dsp:spPr>
        <a:xfrm>
          <a:off x="1247235" y="4051596"/>
          <a:ext cx="10408605" cy="1079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285" tIns="114285" rIns="114285" bIns="114285" numCol="1" spcCol="1270" anchor="ctr" anchorCtr="0">
          <a:noAutofit/>
        </a:bodyPr>
        <a:lstStyle/>
        <a:p>
          <a:pPr marL="0" lvl="0" indent="0" algn="l" defTabSz="977900">
            <a:lnSpc>
              <a:spcPct val="100000"/>
            </a:lnSpc>
            <a:spcBef>
              <a:spcPct val="0"/>
            </a:spcBef>
            <a:spcAft>
              <a:spcPct val="35000"/>
            </a:spcAft>
            <a:buNone/>
          </a:pPr>
          <a:r>
            <a:rPr lang="en-US" sz="2200" kern="1200" baseline="0"/>
            <a:t>The leaf level contains only the columns defined in the index as well as the clustered key/heap ID that points to the base table structure.</a:t>
          </a:r>
          <a:endParaRPr lang="en-US" sz="2200" kern="1200"/>
        </a:p>
      </dsp:txBody>
      <dsp:txXfrm>
        <a:off x="1247235" y="4051596"/>
        <a:ext cx="10408605" cy="10798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79630F-50BE-409E-86C9-441827C6F625}">
      <dsp:nvSpPr>
        <dsp:cNvPr id="0" name=""/>
        <dsp:cNvSpPr/>
      </dsp:nvSpPr>
      <dsp:spPr>
        <a:xfrm>
          <a:off x="53" y="367232"/>
          <a:ext cx="5084401" cy="5184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Clustered Indexes</a:t>
          </a:r>
        </a:p>
      </dsp:txBody>
      <dsp:txXfrm>
        <a:off x="53" y="367232"/>
        <a:ext cx="5084401" cy="518400"/>
      </dsp:txXfrm>
    </dsp:sp>
    <dsp:sp modelId="{F2F5B685-C057-477F-88B0-0EC77369843A}">
      <dsp:nvSpPr>
        <dsp:cNvPr id="0" name=""/>
        <dsp:cNvSpPr/>
      </dsp:nvSpPr>
      <dsp:spPr>
        <a:xfrm>
          <a:off x="53" y="885632"/>
          <a:ext cx="5084401" cy="3566784"/>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kern="1200"/>
            <a:t>Defines the order in which data is physically stored in a table.</a:t>
          </a:r>
          <a:endParaRPr lang="en-US" sz="1800" b="0" kern="1200"/>
        </a:p>
        <a:p>
          <a:pPr marL="171450" lvl="1" indent="-171450" algn="l" defTabSz="800100">
            <a:lnSpc>
              <a:spcPct val="90000"/>
            </a:lnSpc>
            <a:spcBef>
              <a:spcPct val="0"/>
            </a:spcBef>
            <a:spcAft>
              <a:spcPct val="15000"/>
            </a:spcAft>
            <a:buChar char="•"/>
          </a:pPr>
          <a:r>
            <a:rPr lang="en-US" sz="1800" b="0" i="0" kern="1200"/>
            <a:t>Table data can be sorted in only one way.</a:t>
          </a:r>
          <a:endParaRPr lang="en-US" sz="1800" b="0" kern="1200"/>
        </a:p>
        <a:p>
          <a:pPr marL="171450" lvl="1" indent="-171450" algn="l" defTabSz="800100">
            <a:lnSpc>
              <a:spcPct val="90000"/>
            </a:lnSpc>
            <a:spcBef>
              <a:spcPct val="0"/>
            </a:spcBef>
            <a:spcAft>
              <a:spcPct val="15000"/>
            </a:spcAft>
            <a:buChar char="•"/>
          </a:pPr>
          <a:r>
            <a:rPr lang="en-US" sz="1800" kern="1200"/>
            <a:t>Leaf level has data rows stored with index.</a:t>
          </a:r>
        </a:p>
        <a:p>
          <a:pPr marL="171450" lvl="1" indent="-171450" algn="l" defTabSz="800100">
            <a:lnSpc>
              <a:spcPct val="90000"/>
            </a:lnSpc>
            <a:spcBef>
              <a:spcPct val="0"/>
            </a:spcBef>
            <a:spcAft>
              <a:spcPct val="15000"/>
            </a:spcAft>
            <a:buChar char="•"/>
          </a:pPr>
          <a:r>
            <a:rPr lang="en-US" sz="1800" b="0" i="0" kern="1200"/>
            <a:t>When a table has a clustered index, the object is called  clustered table.</a:t>
          </a:r>
          <a:endParaRPr lang="en-US" sz="1800" b="0" kern="1200"/>
        </a:p>
        <a:p>
          <a:pPr marL="171450" lvl="1" indent="-171450" algn="l" defTabSz="800100">
            <a:lnSpc>
              <a:spcPct val="90000"/>
            </a:lnSpc>
            <a:spcBef>
              <a:spcPct val="0"/>
            </a:spcBef>
            <a:spcAft>
              <a:spcPct val="15000"/>
            </a:spcAft>
            <a:buChar char="•"/>
          </a:pPr>
          <a:r>
            <a:rPr lang="en-US" sz="1800" b="0" kern="1200" dirty="0"/>
            <a:t>Cluster key is added to nonclustered index (as the pointer), keep it as narrow as possible.</a:t>
          </a:r>
        </a:p>
        <a:p>
          <a:pPr marL="171450" lvl="1" indent="-171450" algn="l" defTabSz="800100">
            <a:lnSpc>
              <a:spcPct val="90000"/>
            </a:lnSpc>
            <a:spcBef>
              <a:spcPct val="0"/>
            </a:spcBef>
            <a:spcAft>
              <a:spcPct val="15000"/>
            </a:spcAft>
            <a:buChar char="•"/>
          </a:pPr>
          <a:endParaRPr lang="en-US" sz="1800" kern="1200"/>
        </a:p>
        <a:p>
          <a:pPr marL="171450" lvl="1" indent="-171450" algn="l" defTabSz="800100">
            <a:lnSpc>
              <a:spcPct val="90000"/>
            </a:lnSpc>
            <a:spcBef>
              <a:spcPct val="0"/>
            </a:spcBef>
            <a:spcAft>
              <a:spcPct val="15000"/>
            </a:spcAft>
            <a:buChar char="•"/>
          </a:pPr>
          <a:endParaRPr lang="en-US" sz="1800" kern="1200"/>
        </a:p>
      </dsp:txBody>
      <dsp:txXfrm>
        <a:off x="53" y="885632"/>
        <a:ext cx="5084401" cy="3566784"/>
      </dsp:txXfrm>
    </dsp:sp>
    <dsp:sp modelId="{4D155514-D448-46D1-BE52-48EDAE035B28}">
      <dsp:nvSpPr>
        <dsp:cNvPr id="0" name=""/>
        <dsp:cNvSpPr/>
      </dsp:nvSpPr>
      <dsp:spPr>
        <a:xfrm>
          <a:off x="5796270" y="367232"/>
          <a:ext cx="5084401" cy="518400"/>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w="6350" cap="flat" cmpd="sng" algn="ctr">
          <a:solidFill>
            <a:schemeClr val="accent2">
              <a:hueOff val="-2667497"/>
              <a:satOff val="55382"/>
              <a:lumOff val="58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Non-clustered Indexes</a:t>
          </a:r>
        </a:p>
      </dsp:txBody>
      <dsp:txXfrm>
        <a:off x="5796270" y="367232"/>
        <a:ext cx="5084401" cy="518400"/>
      </dsp:txXfrm>
    </dsp:sp>
    <dsp:sp modelId="{C931E9E9-FBEF-41AA-A7A6-BCFE74984E33}">
      <dsp:nvSpPr>
        <dsp:cNvPr id="0" name=""/>
        <dsp:cNvSpPr/>
      </dsp:nvSpPr>
      <dsp:spPr>
        <a:xfrm>
          <a:off x="5796270" y="885632"/>
          <a:ext cx="5084401" cy="3566784"/>
        </a:xfrm>
        <a:prstGeom prst="rect">
          <a:avLst/>
        </a:prstGeom>
        <a:solidFill>
          <a:schemeClr val="accent2">
            <a:tint val="40000"/>
            <a:alpha val="90000"/>
            <a:hueOff val="-3488517"/>
            <a:satOff val="9327"/>
            <a:lumOff val="1154"/>
            <a:alphaOff val="0"/>
          </a:schemeClr>
        </a:solidFill>
        <a:ln w="6350" cap="flat" cmpd="sng" algn="ctr">
          <a:solidFill>
            <a:schemeClr val="accent2">
              <a:tint val="40000"/>
              <a:alpha val="90000"/>
              <a:hueOff val="-3488517"/>
              <a:satOff val="9327"/>
              <a:lumOff val="115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parate structure from base table.</a:t>
          </a:r>
        </a:p>
        <a:p>
          <a:pPr marL="171450" lvl="1" indent="-171450" algn="l" defTabSz="800100">
            <a:lnSpc>
              <a:spcPct val="90000"/>
            </a:lnSpc>
            <a:spcBef>
              <a:spcPct val="0"/>
            </a:spcBef>
            <a:spcAft>
              <a:spcPct val="15000"/>
            </a:spcAft>
            <a:buChar char="•"/>
          </a:pPr>
          <a:r>
            <a:rPr lang="en-US" sz="1800" kern="1200" dirty="0"/>
            <a:t>Contains a pointer </a:t>
          </a:r>
          <a:r>
            <a:rPr lang="en-US" sz="1800" u="none" kern="1200" dirty="0"/>
            <a:t>back to base table called:</a:t>
          </a:r>
          <a:endParaRPr lang="en-US" sz="1800" kern="1200" dirty="0"/>
        </a:p>
        <a:p>
          <a:pPr marL="342900" lvl="2" indent="-171450" algn="l" defTabSz="800100">
            <a:lnSpc>
              <a:spcPct val="90000"/>
            </a:lnSpc>
            <a:spcBef>
              <a:spcPct val="0"/>
            </a:spcBef>
            <a:spcAft>
              <a:spcPct val="15000"/>
            </a:spcAft>
            <a:buChar char="•"/>
          </a:pPr>
          <a:r>
            <a:rPr lang="en-US" sz="1800" b="0" i="0" u="none" kern="1200" baseline="0">
              <a:effectLst/>
              <a:latin typeface="+mn-lt"/>
              <a:ea typeface="+mn-ea"/>
              <a:cs typeface="+mn-cs"/>
            </a:rPr>
            <a:t>Row ID (RID when base table is HEAP)</a:t>
          </a:r>
          <a:endParaRPr lang="en-US" sz="1800" kern="1200"/>
        </a:p>
        <a:p>
          <a:pPr marL="342900" lvl="2" indent="-171450" algn="l" defTabSz="800100">
            <a:lnSpc>
              <a:spcPct val="90000"/>
            </a:lnSpc>
            <a:spcBef>
              <a:spcPct val="0"/>
            </a:spcBef>
            <a:spcAft>
              <a:spcPct val="15000"/>
            </a:spcAft>
            <a:buChar char="•"/>
          </a:pPr>
          <a:r>
            <a:rPr lang="en-US" sz="1800" b="0" i="0" u="none" kern="1200" baseline="0">
              <a:effectLst/>
              <a:latin typeface="+mn-lt"/>
              <a:ea typeface="+mn-ea"/>
              <a:cs typeface="+mn-cs"/>
            </a:rPr>
            <a:t>Key      (KEY when base table is Clustered) </a:t>
          </a:r>
          <a:endParaRPr lang="en-US" sz="1800" kern="1200" dirty="0"/>
        </a:p>
        <a:p>
          <a:pPr marL="171450" lvl="1" indent="-171450" algn="l" defTabSz="800100">
            <a:lnSpc>
              <a:spcPct val="90000"/>
            </a:lnSpc>
            <a:spcBef>
              <a:spcPct val="0"/>
            </a:spcBef>
            <a:spcAft>
              <a:spcPct val="15000"/>
            </a:spcAft>
            <a:buChar char="•"/>
          </a:pPr>
          <a:r>
            <a:rPr lang="en-US" sz="1800" kern="1200"/>
            <a:t>“Skinny” data structure as it contains a  subset of base table only.</a:t>
          </a:r>
        </a:p>
        <a:p>
          <a:pPr marL="171450" lvl="1" indent="-171450" algn="l" defTabSz="800100">
            <a:lnSpc>
              <a:spcPct val="90000"/>
            </a:lnSpc>
            <a:spcBef>
              <a:spcPct val="0"/>
            </a:spcBef>
            <a:spcAft>
              <a:spcPct val="15000"/>
            </a:spcAft>
            <a:buChar char="•"/>
          </a:pPr>
          <a:r>
            <a:rPr lang="en-US" sz="1800" kern="1200"/>
            <a:t>To by-pass index key limits (1,700 bytes) ,non-key columns can be added to leaf level. </a:t>
          </a:r>
        </a:p>
        <a:p>
          <a:pPr marL="171450" lvl="1" indent="-171450" algn="l" defTabSz="800100">
            <a:lnSpc>
              <a:spcPct val="90000"/>
            </a:lnSpc>
            <a:spcBef>
              <a:spcPct val="0"/>
            </a:spcBef>
            <a:spcAft>
              <a:spcPct val="15000"/>
            </a:spcAft>
            <a:buChar char="•"/>
          </a:pPr>
          <a:r>
            <a:rPr lang="en-US" sz="1800" kern="1200"/>
            <a:t>As Leaf level contains fewer columns than base table, the non-clustered index uses fewer pages than the corresponding base table.</a:t>
          </a:r>
          <a:endParaRPr lang="en-US" sz="1800" u="none" kern="1200"/>
        </a:p>
      </dsp:txBody>
      <dsp:txXfrm>
        <a:off x="5796270" y="885632"/>
        <a:ext cx="5084401" cy="35667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CA8411-A856-4535-A9DB-19352547C6DA}">
      <dsp:nvSpPr>
        <dsp:cNvPr id="0" name=""/>
        <dsp:cNvSpPr/>
      </dsp:nvSpPr>
      <dsp:spPr>
        <a:xfrm>
          <a:off x="0" y="108007"/>
          <a:ext cx="5284787" cy="142155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okup effectively join the nonclustered index back to the clustered index or heap. </a:t>
          </a:r>
          <a:endParaRPr lang="en-US" sz="2400" kern="1200" dirty="0"/>
        </a:p>
      </dsp:txBody>
      <dsp:txXfrm>
        <a:off x="69394" y="177401"/>
        <a:ext cx="5145999" cy="1282762"/>
      </dsp:txXfrm>
    </dsp:sp>
    <dsp:sp modelId="{8BBA09E5-FE57-4951-B99F-2BDF89EC6551}">
      <dsp:nvSpPr>
        <dsp:cNvPr id="0" name=""/>
        <dsp:cNvSpPr/>
      </dsp:nvSpPr>
      <dsp:spPr>
        <a:xfrm>
          <a:off x="0" y="1529557"/>
          <a:ext cx="5284787" cy="176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If table has clustered index, it is called </a:t>
          </a:r>
          <a:r>
            <a:rPr lang="en-US" sz="2100" b="1" kern="1200" baseline="0" dirty="0"/>
            <a:t>bookmark lookup</a:t>
          </a:r>
          <a:r>
            <a:rPr lang="en-US" sz="2100" kern="1200" baseline="0" dirty="0"/>
            <a:t> (or key lookup)</a:t>
          </a:r>
          <a:endParaRPr lang="en-US" sz="2100" kern="1200" dirty="0"/>
        </a:p>
        <a:p>
          <a:pPr marL="228600" lvl="1" indent="-228600" algn="l" defTabSz="933450">
            <a:lnSpc>
              <a:spcPct val="90000"/>
            </a:lnSpc>
            <a:spcBef>
              <a:spcPct val="0"/>
            </a:spcBef>
            <a:spcAft>
              <a:spcPct val="20000"/>
            </a:spcAft>
            <a:buChar char="•"/>
          </a:pPr>
          <a:r>
            <a:rPr lang="en-US" sz="2100" kern="1200" baseline="0" dirty="0"/>
            <a:t>If the table is a heap with a non-clustered index, it is called </a:t>
          </a:r>
          <a:r>
            <a:rPr lang="en-US" sz="2100" b="1" kern="1200" baseline="0" dirty="0"/>
            <a:t>RID lookup</a:t>
          </a:r>
          <a:endParaRPr lang="en-US" sz="2100" kern="1200" dirty="0"/>
        </a:p>
      </dsp:txBody>
      <dsp:txXfrm>
        <a:off x="0" y="1529557"/>
        <a:ext cx="5284787" cy="1760535"/>
      </dsp:txXfrm>
    </dsp:sp>
    <dsp:sp modelId="{1E056329-3A95-46B0-90C8-2B1FD0228165}">
      <dsp:nvSpPr>
        <dsp:cNvPr id="0" name=""/>
        <dsp:cNvSpPr/>
      </dsp:nvSpPr>
      <dsp:spPr>
        <a:xfrm>
          <a:off x="0" y="3290092"/>
          <a:ext cx="5284787" cy="142155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is is an expensive operation.</a:t>
          </a:r>
          <a:endParaRPr lang="en-US" sz="2400" kern="1200"/>
        </a:p>
      </dsp:txBody>
      <dsp:txXfrm>
        <a:off x="69394" y="3359486"/>
        <a:ext cx="5145999" cy="12827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FD2977-BF4C-4E16-BBF5-F0184B562505}">
      <dsp:nvSpPr>
        <dsp:cNvPr id="0" name=""/>
        <dsp:cNvSpPr/>
      </dsp:nvSpPr>
      <dsp:spPr>
        <a:xfrm>
          <a:off x="0" y="199677"/>
          <a:ext cx="3400226" cy="2040135"/>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ct val="35000"/>
            </a:spcAft>
            <a:buNone/>
          </a:pPr>
          <a:r>
            <a:rPr lang="en-US" sz="2200" kern="1200"/>
            <a:t>Included as additional non-key columns of data in the leaf level.</a:t>
          </a:r>
        </a:p>
      </dsp:txBody>
      <dsp:txXfrm>
        <a:off x="0" y="199677"/>
        <a:ext cx="3400226" cy="2040135"/>
      </dsp:txXfrm>
    </dsp:sp>
    <dsp:sp modelId="{2A45E248-F090-4E2E-94A0-251B90A66818}">
      <dsp:nvSpPr>
        <dsp:cNvPr id="0" name=""/>
        <dsp:cNvSpPr/>
      </dsp:nvSpPr>
      <dsp:spPr>
        <a:xfrm>
          <a:off x="3740249" y="199677"/>
          <a:ext cx="3400226" cy="2040135"/>
        </a:xfrm>
        <a:prstGeom prst="rect">
          <a:avLst/>
        </a:prstGeom>
        <a:solidFill>
          <a:schemeClr val="accent2">
            <a:hueOff val="-533499"/>
            <a:satOff val="11076"/>
            <a:lumOff val="11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ct val="35000"/>
            </a:spcAft>
            <a:buNone/>
          </a:pPr>
          <a:r>
            <a:rPr lang="en-US" sz="2200" kern="1200" dirty="0"/>
            <a:t>Allows for covering more queries.</a:t>
          </a:r>
        </a:p>
      </dsp:txBody>
      <dsp:txXfrm>
        <a:off x="3740249" y="199677"/>
        <a:ext cx="3400226" cy="2040135"/>
      </dsp:txXfrm>
    </dsp:sp>
    <dsp:sp modelId="{694C41C6-6602-47B8-BAF1-1BDAA0389773}">
      <dsp:nvSpPr>
        <dsp:cNvPr id="0" name=""/>
        <dsp:cNvSpPr/>
      </dsp:nvSpPr>
      <dsp:spPr>
        <a:xfrm>
          <a:off x="7480498" y="199677"/>
          <a:ext cx="3400226" cy="2040135"/>
        </a:xfrm>
        <a:prstGeom prst="rect">
          <a:avLst/>
        </a:prstGeom>
        <a:solidFill>
          <a:schemeClr val="accent2">
            <a:hueOff val="-1066999"/>
            <a:satOff val="22153"/>
            <a:lumOff val="23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ct val="35000"/>
            </a:spcAft>
            <a:buNone/>
          </a:pPr>
          <a:r>
            <a:rPr lang="en-US" sz="2200" kern="1200"/>
            <a:t>As query optimizer  can locate column values in index (leaf level) hence performance gain is achieved.</a:t>
          </a:r>
        </a:p>
      </dsp:txBody>
      <dsp:txXfrm>
        <a:off x="7480498" y="199677"/>
        <a:ext cx="3400226" cy="2040135"/>
      </dsp:txXfrm>
    </dsp:sp>
    <dsp:sp modelId="{23913432-9EF3-43E2-849F-64C3266A4480}">
      <dsp:nvSpPr>
        <dsp:cNvPr id="0" name=""/>
        <dsp:cNvSpPr/>
      </dsp:nvSpPr>
      <dsp:spPr>
        <a:xfrm>
          <a:off x="0" y="2579836"/>
          <a:ext cx="3400226" cy="2040135"/>
        </a:xfrm>
        <a:prstGeom prst="rect">
          <a:avLst/>
        </a:prstGeom>
        <a:solidFill>
          <a:schemeClr val="accent2">
            <a:hueOff val="-1600498"/>
            <a:satOff val="33229"/>
            <a:lumOff val="35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ct val="35000"/>
            </a:spcAft>
            <a:buNone/>
          </a:pPr>
          <a:r>
            <a:rPr lang="en-US" sz="2200" kern="1200"/>
            <a:t>Not restricted to a Maximum of 32 key columns and index key size of 1,700 bytes.</a:t>
          </a:r>
        </a:p>
      </dsp:txBody>
      <dsp:txXfrm>
        <a:off x="0" y="2579836"/>
        <a:ext cx="3400226" cy="2040135"/>
      </dsp:txXfrm>
    </dsp:sp>
    <dsp:sp modelId="{46D3E9C9-4DE5-4EAA-9F57-42456B82E28D}">
      <dsp:nvSpPr>
        <dsp:cNvPr id="0" name=""/>
        <dsp:cNvSpPr/>
      </dsp:nvSpPr>
      <dsp:spPr>
        <a:xfrm>
          <a:off x="3740249" y="2579836"/>
          <a:ext cx="3400226" cy="2040135"/>
        </a:xfrm>
        <a:prstGeom prst="rect">
          <a:avLst/>
        </a:prstGeom>
        <a:solidFill>
          <a:schemeClr val="accent2">
            <a:hueOff val="-2133998"/>
            <a:satOff val="44306"/>
            <a:lumOff val="47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ct val="35000"/>
            </a:spcAft>
            <a:buNone/>
          </a:pPr>
          <a:r>
            <a:rPr lang="en-US" sz="2200" kern="1200"/>
            <a:t>(n)varchar(max) can be used, but not (n)text or image data types.</a:t>
          </a:r>
        </a:p>
      </dsp:txBody>
      <dsp:txXfrm>
        <a:off x="3740249" y="2579836"/>
        <a:ext cx="3400226" cy="2040135"/>
      </dsp:txXfrm>
    </dsp:sp>
    <dsp:sp modelId="{9989B58E-E256-4F65-B960-DCDD6359E16B}">
      <dsp:nvSpPr>
        <dsp:cNvPr id="0" name=""/>
        <dsp:cNvSpPr/>
      </dsp:nvSpPr>
      <dsp:spPr>
        <a:xfrm>
          <a:off x="7480498" y="2579836"/>
          <a:ext cx="3400226" cy="2040135"/>
        </a:xfrm>
        <a:prstGeom prst="rect">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ct val="35000"/>
            </a:spcAft>
            <a:buNone/>
          </a:pPr>
          <a:r>
            <a:rPr lang="en-US" sz="2200" kern="1200"/>
            <a:t>Index search is not permitted on non-key columns.</a:t>
          </a:r>
        </a:p>
      </dsp:txBody>
      <dsp:txXfrm>
        <a:off x="7480498" y="2579836"/>
        <a:ext cx="3400226" cy="204013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7505"/>
          <a:ext cx="10880725"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hree access methods reviewed in this lesson?</a:t>
          </a:r>
        </a:p>
      </dsp:txBody>
      <dsp:txXfrm>
        <a:off x="42036" y="59541"/>
        <a:ext cx="10796653" cy="777048"/>
      </dsp:txXfrm>
    </dsp:sp>
    <dsp:sp modelId="{4A71D5C7-A7D6-46CE-B888-CF65241F6B98}">
      <dsp:nvSpPr>
        <dsp:cNvPr id="0" name=""/>
        <dsp:cNvSpPr/>
      </dsp:nvSpPr>
      <dsp:spPr>
        <a:xfrm>
          <a:off x="0" y="1011105"/>
          <a:ext cx="10880725"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three different types of allocations? </a:t>
          </a:r>
        </a:p>
      </dsp:txBody>
      <dsp:txXfrm>
        <a:off x="42036" y="1053141"/>
        <a:ext cx="10796653" cy="777048"/>
      </dsp:txXfrm>
    </dsp:sp>
    <dsp:sp modelId="{4CE6D622-6C4B-4912-A756-057BDFDF7259}">
      <dsp:nvSpPr>
        <dsp:cNvPr id="0" name=""/>
        <dsp:cNvSpPr/>
      </dsp:nvSpPr>
      <dsp:spPr>
        <a:xfrm>
          <a:off x="0" y="2004706"/>
          <a:ext cx="10880725" cy="861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primary goal of indexing?</a:t>
          </a:r>
        </a:p>
      </dsp:txBody>
      <dsp:txXfrm>
        <a:off x="42036" y="2046742"/>
        <a:ext cx="10796653" cy="77704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0.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5.04.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4/5/2023</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indexes/create-indexes-with-included-columns?view=sql-server-ver15" TargetMode="External"/><Relationship Id="rId7" Type="http://schemas.openxmlformats.org/officeDocument/2006/relationships/hyperlink" Target="https://docs.microsoft.com/en-us/sql/relational-databases/indexes/clustered-and-nonclustered-indexes-described?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docs.microsoft.com/en-us/sql/relational-databases/indexes/indexes?view=sql-server-ver15" TargetMode="External"/><Relationship Id="rId5" Type="http://schemas.openxmlformats.org/officeDocument/2006/relationships/hyperlink" Target="https://docs.microsoft.com/en-us/sql/relational-databases/indexes/create-unique-indexes?view=sql-server-ver15" TargetMode="External"/><Relationship Id="rId4" Type="http://schemas.openxmlformats.org/officeDocument/2006/relationships/hyperlink" Target="https://docs.microsoft.com/en-us/sql/sql-server/maximum-capacity-specifications-for-sql-server?view=sql-server-ver15"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indexes/create-indexes-with-included-columns?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rchive/blogs/josebda/sql-server-2008-indexing-best-practic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msdn.microsoft.com/en-us/library/ms177411(v=SQL.105).aspx"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docs.microsoft.com/en-us/sql/relational-databases/partitions/partitioned-tables-and-indexes?view=sql-server-ver15"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sql/relational-databases/partitions/partitioned-tables-and-indexes?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sql/relational-databases/partitions/create-partitioned-tables-and-indexes?view=sql-server-ver15"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1160(v=sql.105)" TargetMode="External"/><Relationship Id="rId2" Type="http://schemas.openxmlformats.org/officeDocument/2006/relationships/slide" Target="../slides/slide44.xml"/><Relationship Id="rId1" Type="http://schemas.openxmlformats.org/officeDocument/2006/relationships/notesMaster" Target="../notesMasters/notesMaster1.xml"/><Relationship Id="rId5" Type="http://schemas.openxmlformats.org/officeDocument/2006/relationships/hyperlink" Target="https://docs.microsoft.com/en-us/sql/t-sql/statements/alter-partition-function-transact-sql?view=sql-server-ver15" TargetMode="External"/><Relationship Id="rId4" Type="http://schemas.openxmlformats.org/officeDocument/2006/relationships/hyperlink" Target="https://docs.microsoft.com/en-us/sql/t-sql/statements/alter-table-transact-sql?view=sql-server-ver15"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index-usage-stats-transact-sql?redirectedfrom=MSDN&amp;view=sql-server-ver15"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xtp-index-stats-transact-sql?view=sql-server-ver15"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db-index-usage-stats-transact-sql?redirectedfrom=MSDN&amp;view=sql-server-ver15" TargetMode="Externa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xtp-index-stats-transact-sql?view=sql-server-ver15" TargetMode="External"/><Relationship Id="rId2" Type="http://schemas.openxmlformats.org/officeDocument/2006/relationships/slide" Target="../slides/slide55.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db-index-operational-stats-transact-sql?view=sql-server-ver15" TargetMode="Externa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index-physical-stats-transact-sql?view=sql-server-ver15"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social.technet.microsoft.com/wiki/contents/articles/40339.sql-server-what-is-fragmentation.aspx"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social.technet.microsoft.com/wiki/contents/articles/40339.sql-server-what-is-fragmentation.aspx"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sql/relational-databases/reading-pages?view=sql-server-ver15"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sql/relational-databases/indexes/reorganize-and-rebuild-indexes?view=sql-server-ver15"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ata-warehouse?view=sql-server-ver15" TargetMode="External"/><Relationship Id="rId2" Type="http://schemas.openxmlformats.org/officeDocument/2006/relationships/slide" Target="../slides/slide77.xml"/><Relationship Id="rId1" Type="http://schemas.openxmlformats.org/officeDocument/2006/relationships/notesMaster" Target="../notesMasters/notesMaster1.xml"/><Relationship Id="rId4" Type="http://schemas.openxmlformats.org/officeDocument/2006/relationships/hyperlink" Target="https://docs.microsoft.com/en-us/sql/relational-databases/indexes/get-started-with-columnstore-for-real-time-operational-analytics?view=sql-server-ver15"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sql/relational-databases/indexes/columnstore-indexes-data-warehouse?view=sql-server-ver15" TargetMode="External"/><Relationship Id="rId2" Type="http://schemas.openxmlformats.org/officeDocument/2006/relationships/slide" Target="../slides/slide78.xml"/><Relationship Id="rId1" Type="http://schemas.openxmlformats.org/officeDocument/2006/relationships/notesMaster" Target="../notesMasters/notesMaster1.xml"/><Relationship Id="rId4" Type="http://schemas.openxmlformats.org/officeDocument/2006/relationships/hyperlink" Target="https://docs.microsoft.com/en-us/sql/relational-databases/indexes/get-started-with-columnstore-for-real-time-operational-analytics?view=sql-server-ver15" TargetMode="Externa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2469323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ustered Index </a:t>
            </a:r>
          </a:p>
          <a:p>
            <a:pPr marL="171450" indent="-171450">
              <a:buFont typeface="Arial" panose="020B0604020202020204" pitchFamily="34" charset="0"/>
              <a:buChar char="•"/>
            </a:pPr>
            <a:r>
              <a:rPr lang="en-US" dirty="0"/>
              <a:t>Implemented as an Inverted Balanced (B) Tree, or B-Tree.</a:t>
            </a:r>
          </a:p>
          <a:p>
            <a:pPr lvl="2"/>
            <a:r>
              <a:rPr lang="en-US" dirty="0"/>
              <a:t>The top of the B-Tree contains the ROOT Level.</a:t>
            </a:r>
            <a:br>
              <a:rPr lang="en-US" dirty="0"/>
            </a:br>
            <a:r>
              <a:rPr lang="en-US" dirty="0"/>
              <a:t>Contains range of key values and indication of location for those key ranges.</a:t>
            </a:r>
          </a:p>
          <a:p>
            <a:pPr lvl="2"/>
            <a:r>
              <a:rPr lang="en-US" dirty="0"/>
              <a:t>Intermediate Level(s) are located below Root Level</a:t>
            </a:r>
          </a:p>
          <a:p>
            <a:pPr lvl="3"/>
            <a:r>
              <a:rPr lang="en-US" sz="2400" dirty="0"/>
              <a:t>Contain finer grain key distribution.</a:t>
            </a:r>
          </a:p>
          <a:p>
            <a:pPr lvl="4"/>
            <a:r>
              <a:rPr lang="en-US" dirty="0"/>
              <a:t>Number of Intermediate levels is proportional to Cluster Key width, and the number of rows.</a:t>
            </a:r>
          </a:p>
          <a:p>
            <a:pPr lvl="4"/>
            <a:r>
              <a:rPr lang="en-US" dirty="0"/>
              <a:t>A small Clustered Table may not have Root or Intermediate level(s).</a:t>
            </a:r>
          </a:p>
          <a:p>
            <a:pPr lvl="2"/>
            <a:r>
              <a:rPr lang="en-US" dirty="0"/>
              <a:t>Leaf Level contains the actual data page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3253104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2</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5/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M05L01Demo01</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5L01Demo01\Examine_Index_MetaData.sql</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5L01Demo01\Building_a_B-Tree.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NonClustered</a:t>
            </a:r>
            <a:r>
              <a:rPr lang="en-US" b="1" dirty="0"/>
              <a:t> Index</a:t>
            </a:r>
          </a:p>
          <a:p>
            <a:pPr marL="171450" indent="-171450">
              <a:buFont typeface="Arial" panose="020B0604020202020204" pitchFamily="34" charset="0"/>
              <a:buChar char="•"/>
            </a:pPr>
            <a:r>
              <a:rPr lang="en-US" dirty="0"/>
              <a:t>Same B-tree data structure as in a clustered index, except for Leaf Level.</a:t>
            </a:r>
            <a:br>
              <a:rPr lang="en-US" dirty="0"/>
            </a:br>
            <a:endParaRPr lang="en-US" dirty="0"/>
          </a:p>
          <a:p>
            <a:pPr marL="171450" indent="-171450">
              <a:buFont typeface="Arial" panose="020B0604020202020204" pitchFamily="34" charset="0"/>
              <a:buChar char="•"/>
            </a:pPr>
            <a:r>
              <a:rPr lang="en-US" dirty="0"/>
              <a:t>Non-Clustered Index Data is kept in synch with base table, but its data is stored separately.</a:t>
            </a:r>
            <a:br>
              <a:rPr lang="en-US" dirty="0"/>
            </a:br>
            <a:endParaRPr lang="en-US" dirty="0"/>
          </a:p>
          <a:p>
            <a:pPr marL="171450" indent="-171450">
              <a:buFont typeface="Arial" panose="020B0604020202020204" pitchFamily="34" charset="0"/>
              <a:buChar char="•"/>
            </a:pPr>
            <a:r>
              <a:rPr lang="en-US" dirty="0"/>
              <a:t>Contains a subset of the columns in the base table.</a:t>
            </a:r>
          </a:p>
          <a:p>
            <a:pPr lvl="2"/>
            <a:r>
              <a:rPr lang="en-US" dirty="0"/>
              <a:t>Think of it as a skinny table that is really fast for searching and sorting.</a:t>
            </a:r>
          </a:p>
          <a:p>
            <a:pPr lvl="2"/>
            <a:r>
              <a:rPr lang="en-US" dirty="0"/>
              <a:t>Most likely far fewer pages in a NC index as compared to a Clustered table.</a:t>
            </a:r>
            <a:br>
              <a:rPr lang="en-US" dirty="0"/>
            </a:br>
            <a:endParaRPr lang="en-US" dirty="0"/>
          </a:p>
          <a:p>
            <a:pPr marL="171450" indent="-171450">
              <a:buFont typeface="Arial" panose="020B0604020202020204" pitchFamily="34" charset="0"/>
              <a:buChar char="•"/>
            </a:pPr>
            <a:r>
              <a:rPr lang="en-US" dirty="0"/>
              <a:t>Leaf level contents:</a:t>
            </a:r>
          </a:p>
          <a:p>
            <a:pPr lvl="2"/>
            <a:r>
              <a:rPr lang="en-US" dirty="0"/>
              <a:t>Columns defined in the index key.</a:t>
            </a:r>
          </a:p>
          <a:p>
            <a:pPr lvl="2"/>
            <a:r>
              <a:rPr lang="en-US" dirty="0"/>
              <a:t>A ‘pointer’ to link back to the base table (to retrieve additional data).</a:t>
            </a:r>
          </a:p>
          <a:p>
            <a:pPr lvl="3"/>
            <a:r>
              <a:rPr lang="en-US" dirty="0"/>
              <a:t>clustered key for Clustered Objects</a:t>
            </a:r>
            <a:br>
              <a:rPr lang="en-US" dirty="0"/>
            </a:br>
            <a:r>
              <a:rPr lang="en-US" dirty="0"/>
              <a:t>or </a:t>
            </a:r>
          </a:p>
          <a:p>
            <a:pPr lvl="3"/>
            <a:r>
              <a:rPr lang="en-US" dirty="0"/>
              <a:t>ROW ID for heap objects</a:t>
            </a:r>
          </a:p>
          <a:p>
            <a:pPr lvl="2"/>
            <a:r>
              <a:rPr lang="en-US" dirty="0"/>
              <a:t>Any Included Columns</a:t>
            </a:r>
            <a:br>
              <a:rPr lang="en-US" dirty="0"/>
            </a:br>
            <a:endParaRPr lang="en-US" dirty="0"/>
          </a:p>
          <a:p>
            <a:pPr lvl="2"/>
            <a:r>
              <a:rPr lang="en-US" dirty="0"/>
              <a:t>As Leaf level contains fewer columns  in comparison to base table, Non-Clustered indexes have fewer pages than the corresponding base table.</a:t>
            </a:r>
          </a:p>
          <a:p>
            <a:endParaRPr lang="en-US" dirty="0"/>
          </a:p>
          <a:p>
            <a:r>
              <a:rPr lang="en-US" dirty="0"/>
              <a:t>References </a:t>
            </a:r>
            <a:r>
              <a:rPr lang="en-US" dirty="0">
                <a:hlinkClick r:id="rId3"/>
              </a:rPr>
              <a:t>https://docs.microsoft.com/en-us/sql/relational-databases/sql-server-index-design-guide?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909717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Clustered</a:t>
            </a:r>
          </a:p>
          <a:p>
            <a:pPr lvl="1"/>
            <a:r>
              <a:rPr lang="en-US" sz="882" b="0" i="0" kern="1200" baseline="0" dirty="0">
                <a:solidFill>
                  <a:schemeClr val="tx1"/>
                </a:solidFill>
                <a:effectLst/>
                <a:latin typeface="+mn-lt"/>
                <a:ea typeface="+mn-ea"/>
                <a:cs typeface="+mn-cs"/>
              </a:rPr>
              <a:t>Clustered indexes sort and store the data rows in the table or view based on their key values. These are the columns included in the index definition. </a:t>
            </a:r>
            <a:r>
              <a:rPr lang="en-US" sz="882" b="1" i="0" kern="1200" baseline="0" dirty="0">
                <a:solidFill>
                  <a:schemeClr val="tx1"/>
                </a:solidFill>
                <a:effectLst/>
                <a:latin typeface="+mn-lt"/>
                <a:ea typeface="+mn-ea"/>
                <a:cs typeface="+mn-cs"/>
              </a:rPr>
              <a:t>There can be only one clustered index per table, because the data rows themselves can be stored in only one order</a:t>
            </a:r>
            <a:r>
              <a:rPr lang="en-US" sz="882" b="0" i="0" kern="1200" baseline="0" dirty="0">
                <a:solidFill>
                  <a:schemeClr val="tx1"/>
                </a:solidFill>
                <a:effectLst/>
                <a:latin typeface="+mn-lt"/>
                <a:ea typeface="+mn-ea"/>
                <a:cs typeface="+mn-cs"/>
              </a:rPr>
              <a:t>.  </a:t>
            </a:r>
          </a:p>
          <a:p>
            <a:pPr lvl="1"/>
            <a:r>
              <a:rPr lang="en-US" sz="882" b="1" i="0" kern="1200" baseline="0" dirty="0">
                <a:solidFill>
                  <a:schemeClr val="tx1"/>
                </a:solidFill>
                <a:effectLst/>
                <a:latin typeface="+mn-lt"/>
                <a:ea typeface="+mn-ea"/>
                <a:cs typeface="+mn-cs"/>
              </a:rPr>
              <a:t>The only time the data rows in a table are stored in sorted order is when the table contains a clustered index. </a:t>
            </a:r>
            <a:r>
              <a:rPr lang="en-US" sz="882" b="0" i="0" kern="1200" baseline="0" dirty="0">
                <a:solidFill>
                  <a:schemeClr val="tx1"/>
                </a:solidFill>
                <a:effectLst/>
                <a:latin typeface="+mn-lt"/>
                <a:ea typeface="+mn-ea"/>
                <a:cs typeface="+mn-cs"/>
              </a:rPr>
              <a:t>When a table has a clustered index, the table is called a clustered table. If a table has no clustered index, its data rows are stored in an unordered structure called a heap.</a:t>
            </a:r>
          </a:p>
          <a:p>
            <a:r>
              <a:rPr lang="en-US" sz="882" b="1" i="0" kern="1200" baseline="0" dirty="0">
                <a:solidFill>
                  <a:schemeClr val="tx1"/>
                </a:solidFill>
                <a:effectLst/>
                <a:latin typeface="+mn-lt"/>
                <a:ea typeface="+mn-ea"/>
                <a:cs typeface="+mn-cs"/>
              </a:rPr>
              <a:t>Nonclustered</a:t>
            </a:r>
          </a:p>
          <a:p>
            <a:pPr lvl="1"/>
            <a:r>
              <a:rPr lang="en-US" sz="882" b="1" i="0" kern="1200" baseline="0" dirty="0">
                <a:solidFill>
                  <a:schemeClr val="tx1"/>
                </a:solidFill>
                <a:effectLst/>
                <a:latin typeface="+mn-lt"/>
                <a:ea typeface="+mn-ea"/>
                <a:cs typeface="+mn-cs"/>
              </a:rPr>
              <a:t>Nonclustered indexes have a structure separate from the data rows</a:t>
            </a:r>
            <a:r>
              <a:rPr lang="en-US" sz="882" b="0" i="0" kern="1200" baseline="0" dirty="0">
                <a:solidFill>
                  <a:schemeClr val="tx1"/>
                </a:solidFill>
                <a:effectLst/>
                <a:latin typeface="+mn-lt"/>
                <a:ea typeface="+mn-ea"/>
                <a:cs typeface="+mn-cs"/>
              </a:rPr>
              <a:t>. A nonclustered index contains the nonclustered index key values and </a:t>
            </a:r>
            <a:r>
              <a:rPr lang="en-US" sz="882" b="1" i="0" kern="1200" baseline="0" dirty="0">
                <a:solidFill>
                  <a:schemeClr val="tx1"/>
                </a:solidFill>
                <a:effectLst/>
                <a:latin typeface="+mn-lt"/>
                <a:ea typeface="+mn-ea"/>
                <a:cs typeface="+mn-cs"/>
              </a:rPr>
              <a:t>each key value entry has a pointer to the data row that contains the key value.</a:t>
            </a:r>
          </a:p>
          <a:p>
            <a:pPr lvl="1"/>
            <a:r>
              <a:rPr lang="en-US" sz="882" b="0" i="0" u="sng" kern="1200" baseline="0" dirty="0">
                <a:solidFill>
                  <a:schemeClr val="tx1"/>
                </a:solidFill>
                <a:effectLst/>
                <a:latin typeface="+mn-lt"/>
                <a:ea typeface="+mn-ea"/>
                <a:cs typeface="+mn-cs"/>
              </a:rPr>
              <a:t>The pointer from an index row in a nonclustered index to a data row is called a row locator</a:t>
            </a:r>
            <a:r>
              <a:rPr lang="en-US" sz="882" b="0" i="0" kern="1200" baseline="0" dirty="0">
                <a:solidFill>
                  <a:schemeClr val="tx1"/>
                </a:solidFill>
                <a:effectLst/>
                <a:latin typeface="+mn-lt"/>
                <a:ea typeface="+mn-ea"/>
                <a:cs typeface="+mn-cs"/>
              </a:rPr>
              <a:t>. The structure of the row locator depends on whether the data pages are stored in a heap or a clustered table. For a heap, a row locator is a pointer to the row. For a clustered table, the row locator is the clustered index key.</a:t>
            </a:r>
          </a:p>
          <a:p>
            <a:pPr lvl="1"/>
            <a:r>
              <a:rPr lang="en-US" sz="882" b="1" i="0" u="sng" kern="1200" baseline="0" dirty="0">
                <a:solidFill>
                  <a:schemeClr val="tx1"/>
                </a:solidFill>
                <a:effectLst/>
                <a:latin typeface="+mn-lt"/>
                <a:ea typeface="+mn-ea"/>
                <a:cs typeface="+mn-cs"/>
              </a:rPr>
              <a:t>You can add non-key columns to the leaf level of the nonclustered index to by-pass existing index key limits, and execute fully covered, indexed, queries</a:t>
            </a:r>
            <a:r>
              <a:rPr lang="en-US" sz="882" b="0" i="0" kern="1200" baseline="0" dirty="0">
                <a:solidFill>
                  <a:schemeClr val="tx1"/>
                </a:solidFill>
                <a:effectLst/>
                <a:latin typeface="+mn-lt"/>
                <a:ea typeface="+mn-ea"/>
                <a:cs typeface="+mn-cs"/>
              </a:rPr>
              <a:t>. For more information, see </a:t>
            </a:r>
            <a:r>
              <a:rPr lang="en-US" sz="882" b="0" i="0" u="sng" kern="1200" baseline="0" dirty="0">
                <a:solidFill>
                  <a:schemeClr val="tx1"/>
                </a:solidFill>
                <a:effectLst/>
                <a:latin typeface="+mn-lt"/>
                <a:ea typeface="+mn-ea"/>
                <a:cs typeface="+mn-cs"/>
                <a:hlinkClick r:id="rId3"/>
              </a:rPr>
              <a:t>Create Indexes with Included Columns</a:t>
            </a:r>
            <a:r>
              <a:rPr lang="en-US" sz="882" b="0" i="0" kern="1200" baseline="0" dirty="0">
                <a:solidFill>
                  <a:schemeClr val="tx1"/>
                </a:solidFill>
                <a:effectLst/>
                <a:latin typeface="+mn-lt"/>
                <a:ea typeface="+mn-ea"/>
                <a:cs typeface="+mn-cs"/>
              </a:rPr>
              <a:t>. For details about index key limits see </a:t>
            </a:r>
            <a:r>
              <a:rPr lang="en-US" sz="882" b="0" i="0" u="sng" kern="1200" baseline="0" dirty="0">
                <a:solidFill>
                  <a:schemeClr val="tx1"/>
                </a:solidFill>
                <a:effectLst/>
                <a:latin typeface="+mn-lt"/>
                <a:ea typeface="+mn-ea"/>
                <a:cs typeface="+mn-cs"/>
                <a:hlinkClick r:id="rId4"/>
              </a:rPr>
              <a:t>Maximum Capacity Specifications for SQL Server</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Both clustered and nonclustered indexes can be unique. This means no two rows can have the same value for the index key. Otherwise, the index is not unique and multiple rows can share the same key value. For more information, see </a:t>
            </a:r>
            <a:r>
              <a:rPr lang="en-US" sz="882" b="0" i="0" u="sng" kern="1200" baseline="0" dirty="0">
                <a:solidFill>
                  <a:schemeClr val="tx1"/>
                </a:solidFill>
                <a:effectLst/>
                <a:latin typeface="+mn-lt"/>
                <a:ea typeface="+mn-ea"/>
                <a:cs typeface="+mn-cs"/>
                <a:hlinkClick r:id="rId5"/>
              </a:rPr>
              <a:t>Create Unique Indexes</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Indexes are automatically maintained for a table or view whenever the table data is modified.</a:t>
            </a:r>
          </a:p>
          <a:p>
            <a:r>
              <a:rPr lang="en-US" sz="882" b="0" i="0" kern="1200" baseline="0" dirty="0">
                <a:solidFill>
                  <a:schemeClr val="tx1"/>
                </a:solidFill>
                <a:effectLst/>
                <a:latin typeface="+mn-lt"/>
                <a:ea typeface="+mn-ea"/>
                <a:cs typeface="+mn-cs"/>
              </a:rPr>
              <a:t>See </a:t>
            </a:r>
            <a:r>
              <a:rPr lang="en-US" sz="882" b="0" i="0" u="sng" kern="1200" baseline="0" dirty="0">
                <a:solidFill>
                  <a:schemeClr val="tx1"/>
                </a:solidFill>
                <a:effectLst/>
                <a:latin typeface="+mn-lt"/>
                <a:ea typeface="+mn-ea"/>
                <a:cs typeface="+mn-cs"/>
                <a:hlinkClick r:id="rId6"/>
              </a:rPr>
              <a:t>Indexes</a:t>
            </a:r>
            <a:r>
              <a:rPr lang="en-US" sz="882" b="0" i="0" kern="1200" baseline="0" dirty="0">
                <a:solidFill>
                  <a:schemeClr val="tx1"/>
                </a:solidFill>
                <a:effectLst/>
                <a:latin typeface="+mn-lt"/>
                <a:ea typeface="+mn-ea"/>
                <a:cs typeface="+mn-cs"/>
              </a:rPr>
              <a:t> for additional types of special purpose indexes.</a:t>
            </a:r>
            <a:endParaRPr lang="en-US" dirty="0"/>
          </a:p>
          <a:p>
            <a:endParaRPr lang="en-US" dirty="0"/>
          </a:p>
          <a:p>
            <a:r>
              <a:rPr lang="en-US" dirty="0"/>
              <a:t>References : </a:t>
            </a:r>
            <a:r>
              <a:rPr lang="en-US" dirty="0">
                <a:hlinkClick r:id="rId7"/>
              </a:rPr>
              <a:t>https://docs.microsoft.com/en-us/sql/relational-databases/indexes/clustered-and-nonclustered-indexes-described?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2226214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2366425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4149310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469493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Key Points</a:t>
            </a:r>
            <a:r>
              <a:rPr lang="en-US" sz="882" b="0" i="0" kern="1200" baseline="0" dirty="0">
                <a:solidFill>
                  <a:schemeClr val="tx1"/>
                </a:solidFill>
                <a:effectLst/>
                <a:latin typeface="+mn-lt"/>
                <a:ea typeface="+mn-ea"/>
                <a:cs typeface="+mn-cs"/>
              </a:rPr>
              <a:t>:</a:t>
            </a:r>
          </a:p>
          <a:p>
            <a:endParaRPr lang="en-US" sz="882" b="0" i="0" kern="1200" baseline="0" dirty="0">
              <a:solidFill>
                <a:schemeClr val="tx1"/>
              </a:solidFill>
              <a:effectLst/>
              <a:latin typeface="+mn-lt"/>
              <a:ea typeface="+mn-ea"/>
              <a:cs typeface="+mn-cs"/>
            </a:endParaRPr>
          </a:p>
          <a:p>
            <a:pPr marL="171450" lvl="0" indent="-171450">
              <a:buFont typeface="Arial" panose="020B0604020202020204" pitchFamily="34" charset="0"/>
              <a:buChar char="•"/>
            </a:pPr>
            <a:r>
              <a:rPr lang="en-US" sz="882" b="0" i="0" kern="1200" baseline="0" dirty="0">
                <a:solidFill>
                  <a:schemeClr val="tx1"/>
                </a:solidFill>
                <a:effectLst/>
                <a:latin typeface="+mn-lt"/>
                <a:ea typeface="+mn-ea"/>
                <a:cs typeface="+mn-cs"/>
              </a:rPr>
              <a:t>By including non-key columns, you can create nonclustered indexes that cover more queries. </a:t>
            </a:r>
          </a:p>
          <a:p>
            <a:pPr marL="171450" lvl="0" indent="-171450">
              <a:buFont typeface="Arial" panose="020B0604020202020204" pitchFamily="34" charset="0"/>
              <a:buChar char="•"/>
            </a:pPr>
            <a:r>
              <a:rPr lang="en-US" sz="882" b="0" i="0" kern="1200" baseline="0" dirty="0">
                <a:solidFill>
                  <a:schemeClr val="tx1"/>
                </a:solidFill>
                <a:effectLst/>
                <a:latin typeface="+mn-lt"/>
                <a:ea typeface="+mn-ea"/>
                <a:cs typeface="+mn-cs"/>
              </a:rPr>
              <a:t>This is because the non-key columns have the following benefi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They can be data types not allowed as index key column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They are not considered by the Database Engine when calculating the number of index key columns or index key size.</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An index with non-key columns can significantly improve query performance when all columns in the query are included in the index either as key or non-key columns. </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Performance gains are achieved because the query optimizer can locate all the column values within the index; table or clustered index data is not accessed resulting in fewer disk I/O operations.</a:t>
            </a:r>
          </a:p>
          <a:p>
            <a:pPr marL="381762" lvl="1" indent="-171450">
              <a:buFont typeface="Arial" panose="020B0604020202020204" pitchFamily="34" charset="0"/>
              <a:buChar char="•"/>
            </a:pPr>
            <a:endParaRPr lang="en-US" sz="882" b="0" i="0" kern="1200" baseline="0" dirty="0">
              <a:solidFill>
                <a:schemeClr val="tx1"/>
              </a:solidFill>
              <a:effectLst/>
              <a:latin typeface="+mn-lt"/>
              <a:ea typeface="+mn-ea"/>
              <a:cs typeface="+mn-cs"/>
            </a:endParaRPr>
          </a:p>
          <a:p>
            <a:r>
              <a:rPr lang="en-US" dirty="0"/>
              <a:t>=============</a:t>
            </a:r>
          </a:p>
          <a:p>
            <a:r>
              <a:rPr lang="en-US" b="1" dirty="0"/>
              <a:t>More Information</a:t>
            </a:r>
          </a:p>
          <a:p>
            <a:r>
              <a:rPr lang="en-US" dirty="0"/>
              <a:t>=============</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include non-key columns in a nonclustered index to avoid exceeding the current index size limitations of a maximum of 32 key columns and a maximum index key size of 1,700 bytes (16 key columns and 900 bytes prior to SQL Server 2016 (13.x)). The Database Engine does not consider non-key columns when calculating the number of index key columns or index key size.</a:t>
            </a:r>
          </a:p>
          <a:p>
            <a:r>
              <a:rPr lang="en-US" dirty="0"/>
              <a:t>References : </a:t>
            </a:r>
            <a:r>
              <a:rPr lang="en-US" dirty="0">
                <a:hlinkClick r:id="rId3"/>
              </a:rPr>
              <a:t>https://docs.microsoft.com/en-us/sql/relational-databases/indexes/create-indexes-with-included-columns?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836313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5/2023</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M05L01Demo02</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5L01Demo02\AccessMethods.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5026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1</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4/5/2023</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nswer 1:  The three access methods are:</a:t>
            </a:r>
          </a:p>
          <a:p>
            <a:pPr marL="500634" lvl="2" indent="-171450">
              <a:buFont typeface="Arial" panose="020B0604020202020204" pitchFamily="34" charset="0"/>
              <a:buChar char="•"/>
            </a:pPr>
            <a:r>
              <a:rPr lang="en-US" dirty="0"/>
              <a:t>S</a:t>
            </a:r>
            <a:r>
              <a:rPr lang="en-US" baseline="0" dirty="0"/>
              <a:t>cans, which read all the data.  </a:t>
            </a:r>
          </a:p>
          <a:p>
            <a:pPr marL="500634" lvl="2" indent="-171450">
              <a:buFont typeface="Arial" panose="020B0604020202020204" pitchFamily="34" charset="0"/>
              <a:buChar char="•"/>
            </a:pPr>
            <a:r>
              <a:rPr lang="en-US" baseline="0" dirty="0"/>
              <a:t>Seeks, which read parts of the data by traversing the B-tree to find exactly where to start and stop.  </a:t>
            </a:r>
          </a:p>
          <a:p>
            <a:pPr marL="500634" lvl="2" indent="-171450">
              <a:buFont typeface="Arial" panose="020B0604020202020204" pitchFamily="34" charset="0"/>
              <a:buChar char="•"/>
            </a:pPr>
            <a:r>
              <a:rPr lang="en-US" baseline="0" dirty="0"/>
              <a:t>Lookups, which get the columns needed in the select clause when a nonclustered index cannot cover.</a:t>
            </a:r>
          </a:p>
          <a:p>
            <a:endParaRPr lang="en-US" baseline="0" dirty="0"/>
          </a:p>
          <a:p>
            <a:pPr marL="0" indent="0">
              <a:buFont typeface="Arial" panose="020B0604020202020204" pitchFamily="34" charset="0"/>
              <a:buNone/>
            </a:pPr>
            <a:r>
              <a:rPr lang="en-US" baseline="0" dirty="0"/>
              <a:t>Answer 2:  </a:t>
            </a:r>
            <a:r>
              <a:rPr lang="en-US" dirty="0"/>
              <a:t>I</a:t>
            </a:r>
            <a:r>
              <a:rPr lang="en-US" baseline="0" dirty="0"/>
              <a:t>n row data, which holds </a:t>
            </a:r>
            <a:r>
              <a:rPr lang="en-US" baseline="0" dirty="0" err="1"/>
              <a:t>ints</a:t>
            </a:r>
            <a:r>
              <a:rPr lang="en-US" baseline="0" dirty="0"/>
              <a:t>, datetimes, and other basic data types. </a:t>
            </a:r>
          </a:p>
          <a:p>
            <a:pPr marL="381762" lvl="1" indent="-171450">
              <a:buFont typeface="Arial" panose="020B0604020202020204" pitchFamily="34" charset="0"/>
              <a:buChar char="•"/>
            </a:pPr>
            <a:r>
              <a:rPr lang="en-US" baseline="0" dirty="0"/>
              <a:t>Strings can be stored in-row data when they fit in the page.</a:t>
            </a:r>
          </a:p>
          <a:p>
            <a:pPr marL="381762" lvl="1" indent="-171450">
              <a:buFont typeface="Arial" panose="020B0604020202020204" pitchFamily="34" charset="0"/>
              <a:buChar char="•"/>
            </a:pPr>
            <a:r>
              <a:rPr lang="en-US" baseline="0" dirty="0"/>
              <a:t>Row overflow data holds strings that are too large to fit in-row data.</a:t>
            </a:r>
          </a:p>
          <a:p>
            <a:pPr marL="381762" lvl="1" indent="-171450">
              <a:buFont typeface="Arial" panose="020B0604020202020204" pitchFamily="34" charset="0"/>
              <a:buChar char="•"/>
            </a:pPr>
            <a:r>
              <a:rPr lang="en-US" baseline="0" dirty="0"/>
              <a:t>LOB data </a:t>
            </a:r>
            <a:r>
              <a:rPr lang="en-US" sz="882" b="0" i="0" kern="1200" baseline="0" dirty="0">
                <a:solidFill>
                  <a:schemeClr val="tx1"/>
                </a:solidFill>
                <a:effectLst/>
                <a:latin typeface="+mn-lt"/>
                <a:ea typeface="+mn-ea"/>
                <a:cs typeface="+mn-cs"/>
              </a:rPr>
              <a:t>, such as xml, varbinary(max), and varchar(max).</a:t>
            </a:r>
            <a:endParaRPr lang="en-US" baseline="0" dirty="0"/>
          </a:p>
          <a:p>
            <a:endParaRPr lang="en-US" baseline="0" dirty="0"/>
          </a:p>
          <a:p>
            <a:r>
              <a:rPr lang="en-US" baseline="0" dirty="0"/>
              <a:t>Answer 3: The</a:t>
            </a:r>
            <a:r>
              <a:rPr lang="en-US" dirty="0"/>
              <a:t> primary goal of indexing is to reduce</a:t>
            </a:r>
            <a:r>
              <a:rPr lang="en-US" baseline="0" dirty="0"/>
              <a:t> logical read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1526970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2353752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indent="-171450">
              <a:buFont typeface="Arial" panose="020B0604020202020204" pitchFamily="34" charset="0"/>
              <a:buChar char="•"/>
            </a:pPr>
            <a:r>
              <a:rPr lang="en-US" dirty="0"/>
              <a:t>The primary goal of any indexing strategy is to make queries faster.</a:t>
            </a:r>
          </a:p>
          <a:p>
            <a:pPr marL="171450" indent="-171450">
              <a:buFont typeface="Arial" panose="020B0604020202020204" pitchFamily="34" charset="0"/>
              <a:buChar char="•"/>
            </a:pPr>
            <a:r>
              <a:rPr lang="en-US" dirty="0"/>
              <a:t>Indexes should be present on columns that support the following operations:</a:t>
            </a:r>
          </a:p>
          <a:p>
            <a:pPr lvl="1"/>
            <a:r>
              <a:rPr lang="en-US" dirty="0"/>
              <a:t>Joins</a:t>
            </a:r>
          </a:p>
          <a:p>
            <a:pPr lvl="1"/>
            <a:r>
              <a:rPr lang="en-US" dirty="0"/>
              <a:t>Filtering in the WHERE clause</a:t>
            </a:r>
          </a:p>
          <a:p>
            <a:pPr lvl="1"/>
            <a:r>
              <a:rPr lang="en-US" dirty="0"/>
              <a:t>The ORDER BY clause</a:t>
            </a:r>
          </a:p>
          <a:p>
            <a:endParaRPr lang="en-US" dirty="0"/>
          </a:p>
          <a:p>
            <a:r>
              <a:rPr lang="en-US" dirty="0"/>
              <a:t>=============</a:t>
            </a:r>
          </a:p>
          <a:p>
            <a:r>
              <a:rPr lang="en-US" b="1" dirty="0"/>
              <a:t>More Information</a:t>
            </a:r>
          </a:p>
          <a:p>
            <a:r>
              <a:rPr lang="en-US" dirty="0"/>
              <a:t>=============</a:t>
            </a:r>
          </a:p>
          <a:p>
            <a:endParaRPr lang="en-US" dirty="0"/>
          </a:p>
          <a:p>
            <a:r>
              <a:rPr lang="en-US" dirty="0"/>
              <a:t>This lesson on indexing strategy is, ultimately, about ways in which indexes can be optimized to ensure that logical reads are minimized, and that those reads are sequential rather than random. The techniques discussed are varied, so it is important to keep these goals in mind.</a:t>
            </a:r>
          </a:p>
          <a:p>
            <a:endParaRPr lang="en-US" dirty="0"/>
          </a:p>
          <a:p>
            <a:r>
              <a:rPr lang="en-US" b="1" dirty="0"/>
              <a:t>Best practices for clustered indexes </a:t>
            </a:r>
            <a:r>
              <a:rPr lang="en-US" dirty="0"/>
              <a:t>all support the primary or secondary goals of indexing.  </a:t>
            </a:r>
          </a:p>
          <a:p>
            <a:endParaRPr lang="en-US" dirty="0"/>
          </a:p>
          <a:p>
            <a:r>
              <a:rPr lang="en-US" dirty="0"/>
              <a:t>The </a:t>
            </a:r>
            <a:r>
              <a:rPr lang="en-US" b="1" dirty="0"/>
              <a:t>most critical aspect of clustered index</a:t>
            </a:r>
            <a:r>
              <a:rPr lang="en-US" b="1" baseline="0" dirty="0"/>
              <a:t> design </a:t>
            </a:r>
            <a:r>
              <a:rPr lang="en-US" baseline="0" dirty="0"/>
              <a:t>is to </a:t>
            </a:r>
            <a:r>
              <a:rPr lang="en-US" u="sng" baseline="0" dirty="0"/>
              <a:t>select a column that is the most frequently searched for specific values</a:t>
            </a:r>
            <a:r>
              <a:rPr lang="en-US" u="none" baseline="0" dirty="0"/>
              <a:t>. </a:t>
            </a:r>
            <a:r>
              <a:rPr lang="en-US" baseline="0" dirty="0"/>
              <a:t>By doing so, you help ensure that the most common column used to access the table is how the data is sorted, which avoids key lookups and helps ensure that scans will not be needed.  </a:t>
            </a:r>
          </a:p>
          <a:p>
            <a:r>
              <a:rPr lang="en-US" b="1" baseline="0" dirty="0"/>
              <a:t>Remember that joins are a common way to search for specific values.  </a:t>
            </a:r>
          </a:p>
          <a:p>
            <a:endParaRPr lang="en-US" baseline="0" dirty="0"/>
          </a:p>
          <a:p>
            <a:r>
              <a:rPr lang="en-US" b="1" baseline="0" dirty="0"/>
              <a:t>Use narrow keys to ensure that </a:t>
            </a:r>
            <a:r>
              <a:rPr lang="en-US" b="1" dirty="0"/>
              <a:t>B</a:t>
            </a:r>
            <a:r>
              <a:rPr lang="en-US" b="1" baseline="0" dirty="0"/>
              <a:t>-trees have as few intermediate levels as possible</a:t>
            </a:r>
            <a:r>
              <a:rPr lang="en-US" baseline="0" dirty="0"/>
              <a:t>. </a:t>
            </a:r>
            <a:r>
              <a:rPr lang="en-US" u="sng" baseline="0" dirty="0"/>
              <a:t>This speeds up seeks by reducing the levels of the B-tree that need to be traversed</a:t>
            </a:r>
            <a:r>
              <a:rPr lang="en-US" baseline="0" dirty="0"/>
              <a:t>. This also helps nonclustered index seeks, </a:t>
            </a:r>
            <a:r>
              <a:rPr lang="en-US" dirty="0"/>
              <a:t>because </a:t>
            </a:r>
            <a:r>
              <a:rPr lang="en-US" baseline="0" dirty="0"/>
              <a:t>the clustering key is embedded in the nonclustered index. Another benefit of a narrow clustering key is that the leaf level of nonclustered indexes will store less data per row, which results in fewer pages needed, thereby reducing logical reads when the nonclustered indexes are scanned.</a:t>
            </a:r>
          </a:p>
          <a:p>
            <a:endParaRPr lang="en-US" baseline="0" dirty="0"/>
          </a:p>
          <a:p>
            <a:r>
              <a:rPr lang="en-US" b="1" baseline="0" dirty="0"/>
              <a:t>Clustered indexes have to be unique, whether you define them as such or not. </a:t>
            </a:r>
            <a:r>
              <a:rPr lang="en-US" u="sng" baseline="0" dirty="0"/>
              <a:t>If duplicate values are inserted, Microsoft SQL Server inserts a hidden extra column called a uniquifier</a:t>
            </a:r>
            <a:r>
              <a:rPr lang="en-US" u="none" baseline="0" dirty="0"/>
              <a:t> </a:t>
            </a:r>
            <a:r>
              <a:rPr lang="en-US" baseline="0" dirty="0"/>
              <a:t>– a 4 byte int – in those duplicated rows. </a:t>
            </a:r>
          </a:p>
          <a:p>
            <a:r>
              <a:rPr lang="en-US" baseline="0" dirty="0"/>
              <a:t>This causes the clustering key to be wider, with all the impact just listed above. </a:t>
            </a:r>
            <a:r>
              <a:rPr lang="en-US" b="1" baseline="0" dirty="0"/>
              <a:t>If you have a lot of duplication, consider adding a second column to the clustering key</a:t>
            </a:r>
            <a:r>
              <a:rPr lang="en-US" baseline="0" dirty="0"/>
              <a:t>. </a:t>
            </a:r>
            <a:r>
              <a:rPr lang="en-US" u="sng" baseline="0" dirty="0"/>
              <a:t>You</a:t>
            </a:r>
            <a:r>
              <a:rPr lang="en-US" u="sng" dirty="0"/>
              <a:t> wi</a:t>
            </a:r>
            <a:r>
              <a:rPr lang="en-US" u="sng" baseline="0" dirty="0"/>
              <a:t>ll still have a wider key, but because that column will be embedded in all of the nonclustered indexes, you may be able to cover more queries</a:t>
            </a:r>
            <a:r>
              <a:rPr lang="en-US" u="none" baseline="0" dirty="0"/>
              <a:t>. </a:t>
            </a:r>
            <a:r>
              <a:rPr lang="en-US" baseline="0" dirty="0"/>
              <a:t>If the duplication is minimal, though, adding another column to the key would not be worth it.</a:t>
            </a:r>
          </a:p>
          <a:p>
            <a:endParaRPr lang="en-US" baseline="0" dirty="0"/>
          </a:p>
          <a:p>
            <a:r>
              <a:rPr lang="en-US" b="1" baseline="0" dirty="0"/>
              <a:t>If you cluster on a value that gets updated, SQL Server will have to spend time moving the entire row to new locations</a:t>
            </a:r>
            <a:r>
              <a:rPr lang="en-US" baseline="0" dirty="0"/>
              <a:t>. If the table has 75 columns, that</a:t>
            </a:r>
            <a:r>
              <a:rPr lang="en-US" dirty="0"/>
              <a:t> i</a:t>
            </a:r>
            <a:r>
              <a:rPr lang="en-US" baseline="0" dirty="0"/>
              <a:t>s a lot of movement, which takes time. Also, the movement causes page splits. Page splits cause fragmentation, which affects scans because data cannot be read sequentially.  </a:t>
            </a:r>
          </a:p>
          <a:p>
            <a:r>
              <a:rPr lang="en-US" baseline="0" dirty="0"/>
              <a:t>Clustering on values that are not naturally ascending or descending also increase page splits.  </a:t>
            </a:r>
          </a:p>
          <a:p>
            <a:endParaRPr lang="en-US" baseline="0" dirty="0"/>
          </a:p>
          <a:p>
            <a:r>
              <a:rPr lang="en-US" baseline="0" dirty="0"/>
              <a:t>References </a:t>
            </a:r>
          </a:p>
          <a:p>
            <a:r>
              <a:rPr lang="en-US" dirty="0">
                <a:hlinkClick r:id="rId3"/>
              </a:rPr>
              <a:t>https://docs.microsoft.com/en-us/archive/blogs/josebda/sql-server-2008-indexing-best-practices</a:t>
            </a:r>
            <a:endParaRPr lang="en-US" dirty="0"/>
          </a:p>
          <a:p>
            <a:endParaRPr lang="en-US" baseline="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1097353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rimary keys are involved in joins to foreign keys, which typically means that you are frequently accessing the data via primary key valu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Frequently, clustering on the primary key supports the clustered index best practic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Even if primary key meets all the other best practices, </a:t>
            </a:r>
            <a:r>
              <a:rPr lang="en-US" b="1" dirty="0"/>
              <a:t>if the data is not searched by the primary key</a:t>
            </a:r>
            <a:r>
              <a:rPr lang="en-US" dirty="0"/>
              <a:t>, </a:t>
            </a:r>
            <a:r>
              <a:rPr lang="en-US" b="1" dirty="0"/>
              <a:t>then it is the wrong clustering key.</a:t>
            </a:r>
          </a:p>
          <a:p>
            <a:r>
              <a:rPr lang="en-US" dirty="0"/>
              <a:t>=============</a:t>
            </a:r>
          </a:p>
          <a:p>
            <a:r>
              <a:rPr lang="en-US" b="1" dirty="0"/>
              <a:t>More Information</a:t>
            </a:r>
          </a:p>
          <a:p>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b="1" dirty="0"/>
              <a:t>Many people associate clustering</a:t>
            </a:r>
            <a:r>
              <a:rPr lang="en-US" b="1" baseline="0" dirty="0"/>
              <a:t> keys with primary keys and may not be aware that the two are independent concepts.</a:t>
            </a:r>
          </a:p>
          <a:p>
            <a:pPr marL="381762" lvl="1" indent="-171450">
              <a:buFont typeface="Arial" panose="020B0604020202020204" pitchFamily="34" charset="0"/>
              <a:buChar char="•"/>
            </a:pPr>
            <a:r>
              <a:rPr lang="en-US" baseline="0" dirty="0"/>
              <a:t>A primary key simply ensures that each row is unique. It has nothing to do with the way that the data in a table is sorted.  </a:t>
            </a:r>
          </a:p>
          <a:p>
            <a:pPr marL="381762" lvl="1" indent="-171450">
              <a:buFont typeface="Arial" panose="020B0604020202020204" pitchFamily="34" charset="0"/>
              <a:buChar char="•"/>
            </a:pPr>
            <a:r>
              <a:rPr lang="en-US" baseline="0" dirty="0"/>
              <a:t>Because they are independent, it is not a requirement that the same key(s) be used for both.  </a:t>
            </a:r>
          </a:p>
          <a:p>
            <a:pPr marL="381762" lvl="1" indent="-171450">
              <a:buFont typeface="Arial" panose="020B0604020202020204" pitchFamily="34" charset="0"/>
              <a:buChar char="•"/>
            </a:pPr>
            <a:r>
              <a:rPr lang="en-US" baseline="0" dirty="0"/>
              <a:t>So, </a:t>
            </a:r>
            <a:r>
              <a:rPr lang="en-US" b="1" baseline="0" dirty="0"/>
              <a:t>why is it such a common practice</a:t>
            </a:r>
            <a:r>
              <a:rPr lang="en-US" baseline="0" dirty="0"/>
              <a:t>? </a:t>
            </a:r>
          </a:p>
          <a:p>
            <a:pPr marL="381762" lvl="1" indent="-171450">
              <a:buFont typeface="Arial" panose="020B0604020202020204" pitchFamily="34" charset="0"/>
              <a:buChar char="•"/>
            </a:pPr>
            <a:r>
              <a:rPr lang="en-US" baseline="0" dirty="0"/>
              <a:t>The answer is that a lot of the time, it makes a lot of sense. </a:t>
            </a:r>
            <a:r>
              <a:rPr lang="en-US" b="1" baseline="0" dirty="0"/>
              <a:t>Primary keys satisfy a lot of clustered index best practices.</a:t>
            </a:r>
          </a:p>
          <a:p>
            <a:pPr marL="381762" lvl="1" indent="-171450">
              <a:buFont typeface="Arial" panose="020B0604020202020204" pitchFamily="34" charset="0"/>
              <a:buChar char="•"/>
            </a:pPr>
            <a:r>
              <a:rPr lang="en-US" baseline="0" dirty="0"/>
              <a:t>In a one-to-many child table, you would typically use </a:t>
            </a:r>
            <a:r>
              <a:rPr lang="en-US" b="1" baseline="0" dirty="0" err="1"/>
              <a:t>parent_id</a:t>
            </a:r>
            <a:r>
              <a:rPr lang="en-US" b="1" baseline="0" dirty="0"/>
              <a:t>, </a:t>
            </a:r>
            <a:r>
              <a:rPr lang="en-US" b="1" baseline="0" dirty="0" err="1"/>
              <a:t>child_id</a:t>
            </a:r>
            <a:r>
              <a:rPr lang="en-US" b="0" baseline="0" dirty="0"/>
              <a:t>.</a:t>
            </a:r>
          </a:p>
          <a:p>
            <a:pPr marL="171450" indent="-171450">
              <a:buFont typeface="Arial" panose="020B0604020202020204" pitchFamily="34" charset="0"/>
              <a:buChar char="•"/>
            </a:pPr>
            <a:endParaRPr lang="en-US" b="1" baseline="0" dirty="0"/>
          </a:p>
          <a:p>
            <a:pPr marL="0" indent="0">
              <a:buFont typeface="Arial" panose="020B0604020202020204" pitchFamily="34" charset="0"/>
              <a:buNone/>
            </a:pPr>
            <a:r>
              <a:rPr lang="en-US" b="1" dirty="0"/>
              <a:t>Do not cluster on the Primary key</a:t>
            </a:r>
            <a:endParaRPr lang="en-US" b="1" baseline="0" dirty="0"/>
          </a:p>
          <a:p>
            <a:pPr marL="381762" marR="0" lvl="1" indent="-171450" algn="l" defTabSz="932742" rtl="0" eaLnBrk="1" fontAlgn="auto" latinLnBrk="0" hangingPunct="1">
              <a:lnSpc>
                <a:spcPct val="90000"/>
              </a:lnSpc>
              <a:spcBef>
                <a:spcPts val="0"/>
              </a:spcBef>
              <a:spcAft>
                <a:spcPts val="340"/>
              </a:spcAft>
              <a:buClrTx/>
              <a:buSzTx/>
              <a:tabLst/>
              <a:defRPr/>
            </a:pPr>
            <a:r>
              <a:rPr lang="en-US" dirty="0"/>
              <a:t>This is a common</a:t>
            </a:r>
            <a:r>
              <a:rPr lang="en-US" baseline="0" dirty="0"/>
              <a:t> problem with association tables and child tables in a one-to-many relationship, in which the typical access is via the parent table’s ID.</a:t>
            </a:r>
          </a:p>
          <a:p>
            <a:pPr marL="381762" marR="0" lvl="1" indent="-171450" algn="l" defTabSz="932742" rtl="0" eaLnBrk="1" fontAlgn="auto" latinLnBrk="0" hangingPunct="1">
              <a:lnSpc>
                <a:spcPct val="90000"/>
              </a:lnSpc>
              <a:spcBef>
                <a:spcPts val="0"/>
              </a:spcBef>
              <a:spcAft>
                <a:spcPts val="340"/>
              </a:spcAft>
              <a:buClrTx/>
              <a:buSzTx/>
              <a:tabLst/>
              <a:defRPr/>
            </a:pPr>
            <a:r>
              <a:rPr lang="en-US" baseline="0" dirty="0"/>
              <a:t>If usage stats DMV show little to no index seeks on the clustered key, but a large number of index seeks on the parent ID with key lookups on the clustered index, that</a:t>
            </a:r>
            <a:r>
              <a:rPr lang="en-US" dirty="0"/>
              <a:t> is </a:t>
            </a:r>
            <a:r>
              <a:rPr lang="en-US" baseline="0" dirty="0"/>
              <a:t>a sign that the clustered key may need to change to the parent ID.</a:t>
            </a:r>
          </a:p>
          <a:p>
            <a:pPr marL="381762" marR="0" lvl="1" indent="-171450" algn="l" defTabSz="932742" rtl="0" eaLnBrk="1" fontAlgn="auto" latinLnBrk="0" hangingPunct="1">
              <a:lnSpc>
                <a:spcPct val="90000"/>
              </a:lnSpc>
              <a:spcBef>
                <a:spcPts val="0"/>
              </a:spcBef>
              <a:spcAft>
                <a:spcPts val="340"/>
              </a:spcAft>
              <a:buClrTx/>
              <a:buSzTx/>
              <a:tabLst/>
              <a:defRPr/>
            </a:pPr>
            <a:r>
              <a:rPr lang="en-US" baseline="0" dirty="0"/>
              <a:t>The parent ID is a good choice not only because it is the primary access path to the table. It is also typically ascending, so the rate of fragmentation is likely to be reasonably low. </a:t>
            </a:r>
          </a:p>
          <a:p>
            <a:pPr marL="381762" marR="0" lvl="1" indent="-171450" algn="l" defTabSz="932742" rtl="0" eaLnBrk="1" fontAlgn="auto" latinLnBrk="0" hangingPunct="1">
              <a:lnSpc>
                <a:spcPct val="90000"/>
              </a:lnSpc>
              <a:spcBef>
                <a:spcPts val="0"/>
              </a:spcBef>
              <a:spcAft>
                <a:spcPts val="340"/>
              </a:spcAft>
              <a:buClrTx/>
              <a:buSzTx/>
              <a:tabLst/>
              <a:defRPr/>
            </a:pPr>
            <a:r>
              <a:rPr lang="en-US" b="1" baseline="0" dirty="0"/>
              <a:t>It often will not be unique, so adding a second column to guarantee uniqueness may be a good idea</a:t>
            </a:r>
            <a:r>
              <a:rPr lang="en-US" baseline="0" dirty="0"/>
              <a:t>. In an association table, creating a clustered index on parent1_id, parent2_id works well. </a:t>
            </a:r>
          </a:p>
          <a:p>
            <a:pPr marL="210312" marR="0" lvl="1" indent="0" algn="l" defTabSz="932742" rtl="0" eaLnBrk="1" fontAlgn="auto" latinLnBrk="0" hangingPunct="1">
              <a:lnSpc>
                <a:spcPct val="90000"/>
              </a:lnSpc>
              <a:spcBef>
                <a:spcPts val="0"/>
              </a:spcBef>
              <a:spcAft>
                <a:spcPts val="340"/>
              </a:spcAft>
              <a:buClrTx/>
              <a:buSzTx/>
              <a:buNone/>
              <a:tabLst/>
              <a:defRPr/>
            </a:pPr>
            <a:endParaRPr lang="en-US" dirty="0"/>
          </a:p>
          <a:p>
            <a:pPr marL="381762" lvl="1" indent="-171450">
              <a:buFont typeface="Arial" panose="020B0604020202020204" pitchFamily="34" charset="0"/>
              <a:buChar char="•"/>
            </a:pPr>
            <a:endParaRPr lang="en-US" b="1" dirty="0"/>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23175889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Index columns used in </a:t>
            </a:r>
            <a:r>
              <a:rPr lang="en-US" b="1" dirty="0"/>
              <a:t>WHERE</a:t>
            </a:r>
            <a:r>
              <a:rPr lang="en-US" dirty="0"/>
              <a:t> clauses and </a:t>
            </a:r>
            <a:r>
              <a:rPr lang="en-US" b="1" dirty="0"/>
              <a:t>JOINs</a:t>
            </a:r>
          </a:p>
          <a:p>
            <a:pPr lvl="2"/>
            <a:r>
              <a:rPr lang="en-US" sz="3200" dirty="0"/>
              <a:t>Start with foreign keys, and remove later if not used</a:t>
            </a:r>
            <a:endParaRPr lang="en-US" dirty="0"/>
          </a:p>
          <a:p>
            <a:endParaRPr lang="en-US" dirty="0"/>
          </a:p>
          <a:p>
            <a:r>
              <a:rPr lang="en-US" dirty="0"/>
              <a:t>This strategy</a:t>
            </a:r>
            <a:r>
              <a:rPr lang="en-US" baseline="0" dirty="0"/>
              <a:t> is easy for nonclustered indexes, for any single query.  </a:t>
            </a:r>
            <a:r>
              <a:rPr lang="en-US" b="1" baseline="0" dirty="0"/>
              <a:t>Build an index to support joins and WHERE clauses</a:t>
            </a:r>
            <a:r>
              <a:rPr lang="en-US" baseline="0" dirty="0"/>
              <a:t>, and you</a:t>
            </a:r>
            <a:r>
              <a:rPr lang="en-US" dirty="0"/>
              <a:t> ar</a:t>
            </a:r>
            <a:r>
              <a:rPr lang="en-US" baseline="0" dirty="0"/>
              <a:t>e done. The challenge comes when you need to address indexing a table with a lot of different queries used against it, each of which may filter on different combinations of columns. </a:t>
            </a:r>
          </a:p>
          <a:p>
            <a:r>
              <a:rPr lang="en-US" b="1" baseline="0" dirty="0"/>
              <a:t>You cannot</a:t>
            </a:r>
            <a:r>
              <a:rPr lang="en-US" b="1" dirty="0"/>
              <a:t> </a:t>
            </a:r>
            <a:r>
              <a:rPr lang="en-US" b="1" baseline="0" dirty="0"/>
              <a:t>build specific indexes for every combination of fields that may ever be used, because:</a:t>
            </a:r>
          </a:p>
          <a:p>
            <a:pPr marL="381762" lvl="1" indent="-171450">
              <a:buFont typeface="Arial" panose="020B0604020202020204" pitchFamily="34" charset="0"/>
              <a:buChar char="•"/>
            </a:pPr>
            <a:r>
              <a:rPr lang="en-US" baseline="0" dirty="0"/>
              <a:t>Of storage issues.</a:t>
            </a:r>
          </a:p>
          <a:p>
            <a:pPr marL="381762" lvl="1" indent="-171450">
              <a:buFont typeface="Arial" panose="020B0604020202020204" pitchFamily="34" charset="0"/>
              <a:buChar char="•"/>
            </a:pPr>
            <a:r>
              <a:rPr lang="en-US" dirty="0"/>
              <a:t>A </a:t>
            </a:r>
            <a:r>
              <a:rPr lang="en-US" baseline="0" dirty="0"/>
              <a:t>lot of nonclustered indexes would impact DML.</a:t>
            </a:r>
          </a:p>
          <a:p>
            <a:pPr marL="381762" lvl="1" indent="-171450">
              <a:buFont typeface="Arial" panose="020B0604020202020204" pitchFamily="34" charset="0"/>
              <a:buChar char="•"/>
            </a:pPr>
            <a:r>
              <a:rPr lang="en-US" dirty="0"/>
              <a:t>Of </a:t>
            </a:r>
            <a:r>
              <a:rPr lang="en-US" baseline="0" dirty="0"/>
              <a:t>the increased maintenance overhead.  </a:t>
            </a:r>
          </a:p>
          <a:p>
            <a:r>
              <a:rPr lang="en-US" dirty="0"/>
              <a:t>=============</a:t>
            </a:r>
          </a:p>
          <a:p>
            <a:r>
              <a:rPr lang="en-US" b="1" dirty="0"/>
              <a:t>More Information</a:t>
            </a:r>
          </a:p>
          <a:p>
            <a:r>
              <a:rPr lang="en-US" dirty="0"/>
              <a:t>=============</a:t>
            </a:r>
          </a:p>
          <a:p>
            <a:endParaRPr lang="en-US" baseline="0" dirty="0"/>
          </a:p>
          <a:p>
            <a:r>
              <a:rPr lang="en-US" baseline="0" dirty="0"/>
              <a:t>Deciding on an indexing strategy is never easy and is never a one-time effort. </a:t>
            </a:r>
          </a:p>
          <a:p>
            <a:r>
              <a:rPr lang="en-US" baseline="0" dirty="0"/>
              <a:t>The queries against a table change over time, and therefore, indexing strategies have to be reviewed and adjusted as need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Ideally, the first column</a:t>
            </a:r>
            <a:r>
              <a:rPr lang="en-US" baseline="0" dirty="0"/>
              <a:t> in a multi-column index will be used in every query. However,</a:t>
            </a:r>
            <a:r>
              <a:rPr lang="en-US" dirty="0"/>
              <a:t> that is</a:t>
            </a:r>
            <a:r>
              <a:rPr lang="en-US" baseline="0" dirty="0"/>
              <a:t> not likely to happe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One solution is to create every possible combination of indexes, but that will not sca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Even</a:t>
            </a:r>
            <a:r>
              <a:rPr lang="en-US" baseline="0" dirty="0"/>
              <a:t> though index scans are not as efficient as seeks, the fact is that nonclustered indexes only have a few columns</a:t>
            </a:r>
            <a:r>
              <a:rPr lang="en-US" dirty="0"/>
              <a:t> as </a:t>
            </a:r>
            <a:r>
              <a:rPr lang="en-US" baseline="0" dirty="0"/>
              <a:t>compared to the clustered index,</a:t>
            </a:r>
            <a:r>
              <a:rPr lang="en-US" dirty="0"/>
              <a:t> </a:t>
            </a:r>
            <a:r>
              <a:rPr lang="en-US" baseline="0" dirty="0"/>
              <a:t>which could have dozens of column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This means that scanning a nonclustered index to find records may result in acceptable query performance.  </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Ideally the focus should be on writing queries to use existing indexes, rather than on adding more indexes</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23770180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Single Column Index: If the columns to be indexed have a lot of distinct values</a:t>
            </a:r>
            <a:r>
              <a:rPr lang="en-US" b="1" baseline="0" dirty="0"/>
              <a:t> (and so return a small </a:t>
            </a:r>
            <a:r>
              <a:rPr lang="en-US" b="1" baseline="0" dirty="0" err="1"/>
              <a:t>rowset</a:t>
            </a:r>
            <a:r>
              <a:rPr lang="en-US" b="1" baseline="0" dirty="0"/>
              <a:t> for any one value that is searched), then creating separate, single-column indexes works well</a:t>
            </a:r>
            <a:r>
              <a:rPr lang="en-US" baseline="0" dirty="0"/>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dirty="0"/>
              <a:t>However, if SQL has to pull large amounts of data from the single-column indexes</a:t>
            </a:r>
            <a:r>
              <a:rPr lang="en-US" u="sng" baseline="0" dirty="0"/>
              <a:t>, </a:t>
            </a:r>
            <a:r>
              <a:rPr lang="en-US" b="1" u="sng" baseline="0" dirty="0"/>
              <a:t>that</a:t>
            </a:r>
            <a:r>
              <a:rPr lang="en-US" b="1" u="sng" dirty="0"/>
              <a:t> i</a:t>
            </a:r>
            <a:r>
              <a:rPr lang="en-US" b="1" u="sng" baseline="0" dirty="0"/>
              <a:t>s going to involve a lot of logical reads</a:t>
            </a:r>
            <a:r>
              <a:rPr lang="en-US" u="sng" baseline="0" dirty="0"/>
              <a:t>, even If SQL Server ends up returning a small </a:t>
            </a:r>
            <a:r>
              <a:rPr lang="en-US" u="sng" baseline="0" dirty="0" err="1"/>
              <a:t>rowset</a:t>
            </a:r>
            <a:r>
              <a:rPr lang="en-US" u="none" baseline="0" dirty="0"/>
              <a:t>.</a:t>
            </a:r>
            <a:r>
              <a:rPr lang="en-US" u="sng" baseline="0" dirty="0"/>
              <a:t> </a:t>
            </a:r>
            <a:endParaRPr lang="en-US" baseline="0"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aseline="0"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dirty="0"/>
              <a:t>Multi-column Index:  </a:t>
            </a:r>
            <a:r>
              <a:rPr lang="en-US" b="1" dirty="0"/>
              <a:t>if the</a:t>
            </a:r>
            <a:r>
              <a:rPr lang="en-US" b="1" baseline="0" dirty="0"/>
              <a:t> final </a:t>
            </a:r>
            <a:r>
              <a:rPr lang="en-US" b="1" baseline="0" dirty="0" err="1"/>
              <a:t>rowset</a:t>
            </a:r>
            <a:r>
              <a:rPr lang="en-US" b="1" baseline="0" dirty="0"/>
              <a:t> of </a:t>
            </a:r>
            <a:r>
              <a:rPr lang="en-US" b="1" u="sng" baseline="0" dirty="0"/>
              <a:t>2 or more low cardinality fields is a small result set</a:t>
            </a:r>
            <a:r>
              <a:rPr lang="en-US" b="1" baseline="0" dirty="0"/>
              <a:t>, then having a single multi-column index may significantly reduce the total logical reads and the processing time, </a:t>
            </a:r>
            <a:r>
              <a:rPr lang="en-US" baseline="0" dirty="0"/>
              <a:t>because SQL Server does</a:t>
            </a:r>
            <a:r>
              <a:rPr lang="en-US" dirty="0"/>
              <a:t> not </a:t>
            </a:r>
            <a:r>
              <a:rPr lang="en-US" baseline="0" dirty="0"/>
              <a:t>have to read 2 large result sets independently, and then join the results together. It can reduce </a:t>
            </a:r>
            <a:r>
              <a:rPr lang="en-US" b="1" baseline="0" dirty="0"/>
              <a:t>CPU or memory costs</a:t>
            </a:r>
            <a:r>
              <a:rPr lang="en-US" b="0" baseline="0" dirty="0"/>
              <a:t>.</a:t>
            </a:r>
          </a:p>
          <a:p>
            <a:pPr marL="784098" marR="0" lvl="6" indent="-171450" algn="l" defTabSz="914400" rtl="0" eaLnBrk="1" fontAlgn="auto" latinLnBrk="0" hangingPunct="1">
              <a:lnSpc>
                <a:spcPct val="90000"/>
              </a:lnSpc>
              <a:spcBef>
                <a:spcPts val="333"/>
              </a:spcBef>
              <a:spcAft>
                <a:spcPts val="0"/>
              </a:spcAft>
              <a:buClrTx/>
              <a:buSzTx/>
              <a:tabLst/>
              <a:defRPr/>
            </a:pPr>
            <a:r>
              <a:rPr lang="en-US" sz="1000" kern="1200" baseline="0" dirty="0">
                <a:solidFill>
                  <a:schemeClr val="tx1"/>
                </a:solidFill>
                <a:latin typeface="+mn-lt"/>
                <a:ea typeface="+mn-ea"/>
                <a:cs typeface="+mn-cs"/>
              </a:rPr>
              <a:t>The cardinality of all the columns together is higher than any one column alone</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b="1" baseline="0" dirty="0"/>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dirty="0"/>
              <a:t>However, </a:t>
            </a:r>
            <a:r>
              <a:rPr lang="en-US" u="sng" baseline="0" dirty="0"/>
              <a:t>multi-column indexing has a couple of challenges.</a:t>
            </a:r>
            <a:r>
              <a:rPr lang="en-US" baseline="0" dirty="0"/>
              <a:t> </a:t>
            </a:r>
            <a:r>
              <a:rPr lang="en-US" b="1" baseline="0" dirty="0"/>
              <a:t>First</a:t>
            </a:r>
            <a:r>
              <a:rPr lang="en-US" baseline="0" dirty="0"/>
              <a:t>, </a:t>
            </a:r>
            <a:r>
              <a:rPr lang="en-US" b="1" baseline="0" dirty="0"/>
              <a:t>you need to choose column order</a:t>
            </a:r>
            <a:r>
              <a:rPr lang="en-US" baseline="0" dirty="0"/>
              <a:t>. </a:t>
            </a:r>
            <a:r>
              <a:rPr lang="en-US" u="sng" baseline="0" dirty="0"/>
              <a:t>SQL Server traverses the B-Tree based on the order specified</a:t>
            </a:r>
            <a:r>
              <a:rPr lang="en-US" dirty="0"/>
              <a:t>. Therefore</a:t>
            </a:r>
            <a:r>
              <a:rPr lang="en-US" baseline="0" dirty="0"/>
              <a:t>, indexes on Col1, Col2, and Col2, Col1 are not equivalent. This</a:t>
            </a:r>
            <a:r>
              <a:rPr lang="en-US" dirty="0"/>
              <a:t> means that</a:t>
            </a:r>
            <a:r>
              <a:rPr lang="en-US" baseline="0" dirty="0"/>
              <a:t> you can end up wanting to create a bunch of differen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dirty="0"/>
              <a:t> multi-column indexes, which</a:t>
            </a:r>
            <a:r>
              <a:rPr lang="en-US" dirty="0"/>
              <a:t> will not </a:t>
            </a:r>
            <a:r>
              <a:rPr lang="en-US" baseline="0" dirty="0"/>
              <a:t>scale well.  </a:t>
            </a:r>
          </a:p>
          <a:p>
            <a:r>
              <a:rPr lang="en-US" dirty="0"/>
              <a:t>=============</a:t>
            </a:r>
          </a:p>
          <a:p>
            <a:r>
              <a:rPr lang="en-US" b="1" dirty="0"/>
              <a:t>More Information</a:t>
            </a:r>
          </a:p>
          <a:p>
            <a:r>
              <a:rPr lang="en-US" dirty="0"/>
              <a: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baseline="0" dirty="0"/>
          </a:p>
          <a:p>
            <a:endParaRPr lang="en-US" dirty="0"/>
          </a:p>
          <a:p>
            <a:pPr marL="228600" indent="-228600">
              <a:buFont typeface="+mj-lt"/>
              <a:buAutoNum type="arabicPeriod"/>
            </a:pPr>
            <a:r>
              <a:rPr lang="en-US" b="1" dirty="0"/>
              <a:t>Single Column Index</a:t>
            </a:r>
            <a:r>
              <a:rPr lang="en-US" dirty="0"/>
              <a:t>:</a:t>
            </a:r>
          </a:p>
          <a:p>
            <a:pPr lvl="1"/>
            <a:r>
              <a:rPr lang="en-US" dirty="0"/>
              <a:t>The idea behind single column</a:t>
            </a:r>
            <a:r>
              <a:rPr lang="en-US" baseline="0" dirty="0"/>
              <a:t> indexing approaches is that SQL Server can satisfy filters against multiple columns by searching each index separately, and then joining the results together to get the rows that satisfy all the filters.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As an example, imagine that you have 100 million orders, and you have 3 payment types (case, check, and charge) and 2 order types (online</a:t>
            </a:r>
            <a:r>
              <a:rPr lang="en-US" dirty="0"/>
              <a:t> and </a:t>
            </a:r>
            <a:r>
              <a:rPr lang="en-US" baseline="0" dirty="0"/>
              <a:t>in store).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 If you have separate indexes for each column, then SQL Server needs to retrieve approximately 33 million rows that match the payment type filter, and 50 million rows to match the order type filter. That</a:t>
            </a:r>
            <a:r>
              <a:rPr lang="en-US" dirty="0"/>
              <a:t> i</a:t>
            </a:r>
            <a:r>
              <a:rPr lang="en-US" baseline="0" dirty="0"/>
              <a:t>s a lot of logical I/O for each.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Then, SQL has to merge those result sets together, and this takes a lot of CPU and memory to return the 10 million rows that match both.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dirty="0"/>
              <a:t>In such a</a:t>
            </a:r>
            <a:r>
              <a:rPr lang="en-US" dirty="0"/>
              <a:t> </a:t>
            </a:r>
            <a:r>
              <a:rPr lang="en-US" baseline="0" dirty="0"/>
              <a:t>situation, you</a:t>
            </a:r>
            <a:r>
              <a:rPr lang="en-US" dirty="0"/>
              <a:t> would</a:t>
            </a:r>
            <a:r>
              <a:rPr lang="en-US" baseline="0" dirty="0"/>
              <a:t> be better off with a multi-column index.</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1" baseline="0" dirty="0"/>
              <a:t>Multi Column Index</a:t>
            </a:r>
            <a:r>
              <a:rPr lang="en-US" baseline="0" dirty="0"/>
              <a:t>:</a:t>
            </a:r>
          </a:p>
          <a:p>
            <a:pPr lvl="1"/>
            <a:r>
              <a:rPr lang="en-US" baseline="0" dirty="0"/>
              <a:t>Continuing the example from the previous slide, </a:t>
            </a:r>
            <a:r>
              <a:rPr lang="en-US" b="1" baseline="0" dirty="0"/>
              <a:t>if a 2-column index is created on payment type and order type, SQL Server is still going to have a lot of I/O</a:t>
            </a:r>
            <a:r>
              <a:rPr lang="en-US" baseline="0" dirty="0"/>
              <a:t>.  When you</a:t>
            </a:r>
            <a:r>
              <a:rPr lang="en-US" dirty="0"/>
              <a:t> ar</a:t>
            </a:r>
            <a:r>
              <a:rPr lang="en-US" baseline="0" dirty="0"/>
              <a:t>e getting 10 million rows, that</a:t>
            </a:r>
            <a:r>
              <a:rPr lang="en-US" dirty="0"/>
              <a:t> i</a:t>
            </a:r>
            <a:r>
              <a:rPr lang="en-US" baseline="0" dirty="0"/>
              <a:t>s inevitable.  </a:t>
            </a:r>
          </a:p>
          <a:p>
            <a:pPr lvl="1"/>
            <a:r>
              <a:rPr lang="en-US" baseline="0" dirty="0"/>
              <a:t>However, now SQL Server can find the matching rows in a single pass of 1 index, </a:t>
            </a:r>
            <a:r>
              <a:rPr lang="en-US" b="1" baseline="0" dirty="0"/>
              <a:t>meaning that you have a smaller number of logical reads </a:t>
            </a:r>
            <a:r>
              <a:rPr lang="en-US" baseline="0" dirty="0"/>
              <a:t>(reads to find the 10 million rows, rather than the reads to find 33 million and 50 million rows) and </a:t>
            </a:r>
            <a:r>
              <a:rPr lang="en-US" b="1" baseline="0" dirty="0"/>
              <a:t>you have no need to merge result sets together</a:t>
            </a:r>
            <a:r>
              <a:rPr lang="en-US" baseline="0" dirty="0"/>
              <a:t>.  </a:t>
            </a:r>
          </a:p>
          <a:p>
            <a:pPr lvl="1"/>
            <a:r>
              <a:rPr lang="en-US" baseline="0" dirty="0"/>
              <a:t>Therefore, </a:t>
            </a:r>
            <a:r>
              <a:rPr lang="en-US" b="1" baseline="0" dirty="0"/>
              <a:t>there are no</a:t>
            </a:r>
            <a:r>
              <a:rPr lang="en-US" b="1" dirty="0"/>
              <a:t> </a:t>
            </a:r>
            <a:r>
              <a:rPr lang="en-US" b="1" baseline="0" dirty="0"/>
              <a:t>CPU or memory costs</a:t>
            </a:r>
            <a:r>
              <a:rPr lang="en-US" baseline="0" dirty="0"/>
              <a:t>. Is this a fast query? Probably not.  Is it faster and less resource-intensive than the single-column approach? Definitely.</a:t>
            </a:r>
          </a:p>
          <a:p>
            <a:pPr lvl="1"/>
            <a:endParaRPr lang="en-US" baseline="0" dirty="0"/>
          </a:p>
          <a:p>
            <a:pPr marL="210312" marR="0" lvl="1" indent="0" algn="l" defTabSz="932742" rtl="0" eaLnBrk="1" fontAlgn="auto" latinLnBrk="0" hangingPunct="1">
              <a:lnSpc>
                <a:spcPct val="90000"/>
              </a:lnSpc>
              <a:spcBef>
                <a:spcPts val="0"/>
              </a:spcBef>
              <a:spcAft>
                <a:spcPts val="34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10007862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42594172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2951555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166702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12436059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900">
                <a:solidFill>
                  <a:srgbClr val="000000"/>
                </a:solidFill>
                <a:latin typeface="Consolas" panose="020B0609020204030204" pitchFamily="49" charset="0"/>
              </a:rPr>
              <a:t>M05L05Demo01</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a:t>
            </a:r>
            <a:r>
              <a:rPr lang="en-US" sz="800" i="1">
                <a:solidFill>
                  <a:srgbClr val="000000"/>
                </a:solidFill>
                <a:latin typeface="Consolas" panose="020B0609020204030204" pitchFamily="49" charset="0"/>
              </a:rPr>
              <a:t>M05L05Demo01</a:t>
            </a:r>
            <a:r>
              <a:rPr lang="en-US" sz="882" i="1" noProof="1">
                <a:solidFill>
                  <a:prstClr val="black"/>
                </a:solidFill>
                <a:latin typeface="Segoe UI Light" pitchFamily="34" charset="0"/>
              </a:rPr>
              <a:t>\</a:t>
            </a:r>
            <a:r>
              <a:rPr lang="en-US" i="1"/>
              <a:t>IndexUsage.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18621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pPr lvl="1"/>
            <a:endParaRPr lang="en-US"/>
          </a:p>
          <a:p>
            <a:pPr marL="381762" lvl="1" indent="-171450">
              <a:buFont typeface="Arial" panose="020B0604020202020204" pitchFamily="34" charset="0"/>
              <a:buChar char="•"/>
            </a:pPr>
            <a:r>
              <a:rPr lang="en-US"/>
              <a:t>Vertical partitions are created manually by segments columns into multiple tables containing a subset of the columns from the original table</a:t>
            </a:r>
          </a:p>
          <a:p>
            <a:pPr marL="381762" lvl="1" indent="-171450">
              <a:buFont typeface="Arial" panose="020B0604020202020204" pitchFamily="34" charset="0"/>
              <a:buChar char="•"/>
            </a:pPr>
            <a:r>
              <a:rPr lang="en-US" b="1"/>
              <a:t>you can improve performance </a:t>
            </a:r>
            <a:r>
              <a:rPr lang="en-US"/>
              <a:t>by enabling lock escalation at the partition level instead of a whole table.</a:t>
            </a:r>
          </a:p>
          <a:p>
            <a:pPr marL="381762" lvl="1" indent="-171450">
              <a:buFont typeface="Arial" panose="020B0604020202020204" pitchFamily="34" charset="0"/>
              <a:buChar char="•"/>
            </a:pPr>
            <a:r>
              <a:rPr lang="en-US" sz="900"/>
              <a:t>Per-Partition management options : Index Maintenance ,Lock Escalation, Compression</a:t>
            </a:r>
          </a:p>
          <a:p>
            <a:r>
              <a:rPr lang="en-US"/>
              <a:t>=============</a:t>
            </a:r>
          </a:p>
          <a:p>
            <a:r>
              <a:rPr lang="en-US" b="1"/>
              <a:t>More Information</a:t>
            </a:r>
          </a:p>
          <a:p>
            <a:r>
              <a:rPr lang="en-US"/>
              <a:t>=============</a:t>
            </a:r>
          </a:p>
          <a:p>
            <a:pPr marL="0" indent="0">
              <a:buFont typeface="Arial" panose="020B0604020202020204" pitchFamily="34" charset="0"/>
              <a:buNone/>
            </a:pPr>
            <a:endParaRPr lang="en-US"/>
          </a:p>
          <a:p>
            <a:pPr marL="0" indent="0">
              <a:buNone/>
            </a:pPr>
            <a:r>
              <a:rPr lang="en-US" b="1"/>
              <a:t>Taking Advantage of Multiple Disk Drives</a:t>
            </a:r>
          </a:p>
          <a:p>
            <a:r>
              <a:rPr lang="en-US"/>
              <a:t>It may be tempting to map your partitions to filegroups, each accessing a different physical disk drive, in order to improve I/O performance. When SQL Server performs data sorting for I/O operations, it sorts the data first by partition. Under this scenario, SQL Server accesses one drive at a time, and this might reduce performance. A better solution in terms of performance is to stripe the data files of your partitions across more than one disk by setting up a RAID. In this way, although SQL Server still sorts data by partition, it can access all the drives of each partition at the same time. This configuration can be designed regardless of whether all partitions are in one filegroup or multiple filegroups. </a:t>
            </a:r>
          </a:p>
          <a:p>
            <a:pPr marL="0" indent="0">
              <a:buNone/>
            </a:pPr>
            <a:r>
              <a:rPr lang="en-US" b="1">
                <a:solidFill>
                  <a:srgbClr val="FF0000"/>
                </a:solidFill>
              </a:rPr>
              <a:t>For more information </a:t>
            </a:r>
            <a:r>
              <a:rPr lang="en-US">
                <a:solidFill>
                  <a:srgbClr val="FF0000"/>
                </a:solidFill>
              </a:rPr>
              <a:t>about how SQL Server works with different RAID levels, Controlling Lock Escalation Behavior</a:t>
            </a:r>
          </a:p>
          <a:p>
            <a:r>
              <a:rPr lang="en-US"/>
              <a:t>Partitioning tables can improve performance by enabling lock escalation to a single partition instead of a whole table. To reduce lock contention by allowing lock escalation to the partition, use the </a:t>
            </a:r>
            <a:r>
              <a:rPr lang="en-US" b="1"/>
              <a:t>LOCK_ESCALATION </a:t>
            </a:r>
            <a:r>
              <a:rPr lang="en-US"/>
              <a:t>option of the </a:t>
            </a:r>
            <a:r>
              <a:rPr lang="en-US" b="1"/>
              <a:t>ALTER TABLE </a:t>
            </a:r>
            <a:r>
              <a:rPr lang="en-US"/>
              <a:t>statement.</a:t>
            </a:r>
          </a:p>
          <a:p>
            <a:pPr marL="0" indent="0">
              <a:buNone/>
            </a:pPr>
            <a:endParaRPr lang="en-US" b="1"/>
          </a:p>
          <a:p>
            <a:endParaRPr lang="en-US"/>
          </a:p>
          <a:p>
            <a:endParaRPr lang="en-US"/>
          </a:p>
          <a:p>
            <a:endParaRPr lang="en-US"/>
          </a:p>
          <a:p>
            <a:r>
              <a:rPr lang="en-US"/>
              <a:t>References</a:t>
            </a:r>
          </a:p>
          <a:p>
            <a:r>
              <a:rPr lang="en-US" u="sng">
                <a:hlinkClick r:id="rId3"/>
              </a:rPr>
              <a:t>http://msdn.microsoft.com/en-us/library/ms177411(v=SQL.105).aspx</a:t>
            </a:r>
            <a:endParaRPr lang="en-US"/>
          </a:p>
          <a:p>
            <a:r>
              <a:rPr lang="en-US">
                <a:hlinkClick r:id="rId4"/>
              </a:rPr>
              <a:t>https://docs.microsoft.com/en-us/sql/relational-databases/partitions/partitioned-tables-and-indexes</a:t>
            </a:r>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25479757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37956755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41029059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r>
              <a:rPr lang="en-US" b="1" dirty="0"/>
              <a:t>Partition Function </a:t>
            </a:r>
          </a:p>
          <a:p>
            <a:pPr marL="381762" marR="0" lvl="1" indent="-171450" algn="l" defTabSz="914400" rtl="0" eaLnBrk="1" fontAlgn="auto" latinLnBrk="0" hangingPunct="1">
              <a:lnSpc>
                <a:spcPct val="90000"/>
              </a:lnSpc>
              <a:spcBef>
                <a:spcPts val="333"/>
              </a:spcBef>
              <a:spcAft>
                <a:spcPts val="0"/>
              </a:spcAft>
              <a:buClrTx/>
              <a:buSzTx/>
              <a:tabLst/>
              <a:defRPr/>
            </a:pPr>
            <a:r>
              <a:rPr lang="en-US" dirty="0"/>
              <a:t>Ranges of each partition can either be Range Right vs. Range Left.</a:t>
            </a:r>
          </a:p>
          <a:p>
            <a:pPr marL="381762" marR="0" lvl="1" indent="-171450" algn="l" defTabSz="914400" rtl="0" eaLnBrk="1" fontAlgn="auto" latinLnBrk="0" hangingPunct="1">
              <a:lnSpc>
                <a:spcPct val="90000"/>
              </a:lnSpc>
              <a:spcBef>
                <a:spcPts val="333"/>
              </a:spcBef>
              <a:spcAft>
                <a:spcPts val="0"/>
              </a:spcAft>
              <a:buClrTx/>
              <a:buSzTx/>
              <a:tabLst/>
              <a:defRPr/>
            </a:pPr>
            <a:r>
              <a:rPr lang="en-US" dirty="0"/>
              <a:t>Partition ranges can be modified over the time, but Partition Function data type cannot be modified.</a:t>
            </a:r>
          </a:p>
          <a:p>
            <a:pPr lvl="1"/>
            <a:r>
              <a:rPr lang="en-US" b="1" dirty="0"/>
              <a:t>Number of partitions </a:t>
            </a:r>
            <a:r>
              <a:rPr lang="en-US" dirty="0"/>
              <a:t>= number of boundary values + 1.</a:t>
            </a:r>
          </a:p>
          <a:p>
            <a:pPr lvl="1"/>
            <a:r>
              <a:rPr lang="en-US" dirty="0"/>
              <a:t>A boundary value can exist in only one partition.</a:t>
            </a:r>
          </a:p>
          <a:p>
            <a:pPr lvl="1"/>
            <a:r>
              <a:rPr lang="en-US" dirty="0"/>
              <a:t>Range LEFT means that the boundary value falls into the left partition. Right means it falls into the right partition.</a:t>
            </a:r>
          </a:p>
          <a:p>
            <a:pPr marL="0" marR="0" lvl="0"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dirty="0">
                <a:solidFill>
                  <a:srgbClr val="1461BD"/>
                </a:solidFill>
              </a:rPr>
              <a:t>Partition</a:t>
            </a:r>
            <a:r>
              <a:rPr lang="en-US" b="1" dirty="0"/>
              <a:t> </a:t>
            </a:r>
            <a:r>
              <a:rPr lang="en-US" b="1" dirty="0">
                <a:solidFill>
                  <a:srgbClr val="1461BD"/>
                </a:solidFill>
              </a:rPr>
              <a:t>Schemes</a:t>
            </a:r>
          </a:p>
          <a:p>
            <a:pPr lvl="1">
              <a:lnSpc>
                <a:spcPct val="80000"/>
              </a:lnSpc>
            </a:pPr>
            <a:r>
              <a:rPr lang="en-US" dirty="0"/>
              <a:t>Associates each </a:t>
            </a:r>
            <a:r>
              <a:rPr lang="en-US" b="1" dirty="0"/>
              <a:t>partition</a:t>
            </a:r>
            <a:r>
              <a:rPr lang="en-US" dirty="0"/>
              <a:t> defined by a partition function with a </a:t>
            </a:r>
            <a:r>
              <a:rPr lang="en-US" b="1" dirty="0"/>
              <a:t>storage location</a:t>
            </a:r>
            <a:r>
              <a:rPr lang="en-US" dirty="0"/>
              <a:t> (Filegroup).</a:t>
            </a:r>
          </a:p>
          <a:p>
            <a:pPr lvl="1">
              <a:lnSpc>
                <a:spcPct val="80000"/>
              </a:lnSpc>
            </a:pPr>
            <a:r>
              <a:rPr lang="en-US" dirty="0"/>
              <a:t>No </a:t>
            </a:r>
            <a:r>
              <a:rPr lang="en-US" i="1" dirty="0"/>
              <a:t>requirement</a:t>
            </a:r>
            <a:r>
              <a:rPr lang="en-US" dirty="0"/>
              <a:t> to use different filegroups for different partitions.</a:t>
            </a:r>
          </a:p>
          <a:p>
            <a:pPr lvl="2">
              <a:lnSpc>
                <a:spcPct val="80000"/>
              </a:lnSpc>
            </a:pPr>
            <a:r>
              <a:rPr lang="en-US" dirty="0"/>
              <a:t>BUT using different filegroups is useful for filegroup-based backup or storage location.</a:t>
            </a:r>
          </a:p>
          <a:p>
            <a:pPr lvl="1">
              <a:lnSpc>
                <a:spcPct val="80000"/>
              </a:lnSpc>
            </a:pPr>
            <a:r>
              <a:rPr lang="en-US" b="1" dirty="0"/>
              <a:t>Best Practice</a:t>
            </a:r>
            <a:r>
              <a:rPr lang="en-US" dirty="0"/>
              <a:t>:  Spread </a:t>
            </a:r>
            <a:r>
              <a:rPr lang="en-US" i="1" dirty="0"/>
              <a:t>all</a:t>
            </a:r>
            <a:r>
              <a:rPr lang="en-US" dirty="0"/>
              <a:t> Filegroups in a Partition Scheme across as many disk spindles as possible.</a:t>
            </a:r>
          </a:p>
          <a:p>
            <a:pPr marL="0" lvl="0" indent="-109728">
              <a:lnSpc>
                <a:spcPct val="80000"/>
              </a:lnSpc>
              <a:buNone/>
            </a:pPr>
            <a:r>
              <a:rPr lang="en-US" b="1" dirty="0"/>
              <a:t>Partition Table</a:t>
            </a:r>
          </a:p>
          <a:p>
            <a:pPr lvl="1"/>
            <a:r>
              <a:rPr lang="en-US" dirty="0"/>
              <a:t>Data is now automatically partitioned.</a:t>
            </a:r>
          </a:p>
          <a:p>
            <a:pPr lvl="3"/>
            <a:r>
              <a:rPr lang="en-US" dirty="0"/>
              <a:t>Loading the table will distribute the data to its partitions.</a:t>
            </a:r>
          </a:p>
          <a:p>
            <a:pPr lvl="1"/>
            <a:r>
              <a:rPr lang="en-US" b="1" dirty="0"/>
              <a:t>Best Practice</a:t>
            </a:r>
            <a:r>
              <a:rPr lang="en-US" dirty="0"/>
              <a:t>:  When designing partition functions and schemes, plan to keep the rightmost and leftmost FGs empty.</a:t>
            </a:r>
          </a:p>
          <a:p>
            <a:pPr marL="100584" lvl="1" indent="0">
              <a:lnSpc>
                <a:spcPct val="80000"/>
              </a:lnSpc>
              <a:buNone/>
            </a:pPr>
            <a:endParaRPr lang="en-US" dirty="0"/>
          </a:p>
          <a:p>
            <a:pPr marL="100584" lvl="1" indent="0">
              <a:buNone/>
            </a:pPr>
            <a:endParaRPr lang="en-US" dirty="0"/>
          </a:p>
          <a:p>
            <a:pPr lvl="1"/>
            <a:endParaRPr lang="en-US" dirty="0"/>
          </a:p>
          <a:p>
            <a:pPr marL="381762" marR="0" lvl="1" indent="-171450" algn="l" defTabSz="914400" rtl="0" eaLnBrk="1" fontAlgn="auto" latinLnBrk="0" hangingPunct="1">
              <a:lnSpc>
                <a:spcPct val="90000"/>
              </a:lnSpc>
              <a:spcBef>
                <a:spcPts val="333"/>
              </a:spcBef>
              <a:spcAft>
                <a:spcPts val="0"/>
              </a:spcAft>
              <a:buClrTx/>
              <a:buSzTx/>
              <a:tabLst/>
              <a:defRPr/>
            </a:pPr>
            <a:endParaRPr lang="en-US" dirty="0"/>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42760573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Aligned index</a:t>
            </a:r>
          </a:p>
          <a:p>
            <a:pPr lvl="1"/>
            <a:r>
              <a:rPr lang="en-US" sz="882" b="0" i="0" kern="1200" baseline="0" dirty="0">
                <a:solidFill>
                  <a:schemeClr val="tx1"/>
                </a:solidFill>
                <a:effectLst/>
                <a:latin typeface="+mn-lt"/>
                <a:ea typeface="+mn-ea"/>
                <a:cs typeface="+mn-cs"/>
              </a:rPr>
              <a:t>An index that is built on the same partition scheme as its corresponding table. </a:t>
            </a:r>
          </a:p>
          <a:p>
            <a:pPr lvl="1"/>
            <a:r>
              <a:rPr lang="en-US" sz="882" b="0" i="0" kern="1200" baseline="0" dirty="0">
                <a:solidFill>
                  <a:schemeClr val="tx1"/>
                </a:solidFill>
                <a:effectLst/>
                <a:latin typeface="+mn-lt"/>
                <a:ea typeface="+mn-ea"/>
                <a:cs typeface="+mn-cs"/>
              </a:rPr>
              <a:t>When a table and its indexes are in alignment, SQL Server can switch partitions quickly and efficiently while maintaining the partition structure of both the table and its indexes. </a:t>
            </a:r>
          </a:p>
          <a:p>
            <a:pPr lvl="1"/>
            <a:r>
              <a:rPr lang="en-US" sz="882" b="0" i="0" kern="1200" baseline="0" dirty="0">
                <a:solidFill>
                  <a:schemeClr val="tx1"/>
                </a:solidFill>
                <a:effectLst/>
                <a:latin typeface="+mn-lt"/>
                <a:ea typeface="+mn-ea"/>
                <a:cs typeface="+mn-cs"/>
              </a:rPr>
              <a:t>An index does not have to participate in the same named partition function to be aligned with its base table. </a:t>
            </a:r>
          </a:p>
          <a:p>
            <a:pPr marL="210312" lvl="1" indent="-109728"/>
            <a:r>
              <a:rPr lang="en-US" sz="882" b="0" i="0" kern="1200" baseline="0" dirty="0">
                <a:solidFill>
                  <a:schemeClr val="tx1"/>
                </a:solidFill>
                <a:effectLst/>
                <a:latin typeface="+mn-lt"/>
                <a:ea typeface="+mn-ea"/>
                <a:cs typeface="+mn-cs"/>
              </a:rPr>
              <a:t>However, the partition function of the index and the base table must be essentially the same, in that:</a:t>
            </a:r>
          </a:p>
          <a:p>
            <a:pPr lvl="3"/>
            <a:r>
              <a:rPr lang="en-US" sz="882" b="0" i="0" kern="1200" baseline="0" dirty="0">
                <a:solidFill>
                  <a:schemeClr val="tx1"/>
                </a:solidFill>
                <a:effectLst/>
                <a:latin typeface="+mn-lt"/>
                <a:ea typeface="+mn-ea"/>
                <a:cs typeface="+mn-cs"/>
              </a:rPr>
              <a:t>The arguments of the partition functions have the same data type.</a:t>
            </a:r>
          </a:p>
          <a:p>
            <a:pPr lvl="3"/>
            <a:r>
              <a:rPr lang="en-US" sz="882" b="0" i="0" kern="1200" baseline="0" dirty="0">
                <a:solidFill>
                  <a:schemeClr val="tx1"/>
                </a:solidFill>
                <a:effectLst/>
                <a:latin typeface="+mn-lt"/>
                <a:ea typeface="+mn-ea"/>
                <a:cs typeface="+mn-cs"/>
              </a:rPr>
              <a:t>They define the same number of partitions.</a:t>
            </a:r>
          </a:p>
          <a:p>
            <a:pPr lvl="3"/>
            <a:r>
              <a:rPr lang="en-US" sz="882" b="0" i="0" kern="1200" baseline="0" dirty="0">
                <a:solidFill>
                  <a:schemeClr val="tx1"/>
                </a:solidFill>
                <a:effectLst/>
                <a:latin typeface="+mn-lt"/>
                <a:ea typeface="+mn-ea"/>
                <a:cs typeface="+mn-cs"/>
              </a:rPr>
              <a:t>They define the same boundary values for partitions.</a:t>
            </a:r>
          </a:p>
          <a:p>
            <a:endParaRPr lang="en-US" dirty="0"/>
          </a:p>
          <a:p>
            <a:endParaRPr lang="en-US" dirty="0"/>
          </a:p>
          <a:p>
            <a:r>
              <a:rPr lang="en-US" sz="882" b="1" i="0" kern="1200" baseline="0" dirty="0">
                <a:solidFill>
                  <a:schemeClr val="tx1"/>
                </a:solidFill>
                <a:effectLst/>
                <a:latin typeface="+mn-lt"/>
                <a:ea typeface="+mn-ea"/>
                <a:cs typeface="+mn-cs"/>
              </a:rPr>
              <a:t>Non-aligned index</a:t>
            </a:r>
          </a:p>
          <a:p>
            <a:pPr lvl="2"/>
            <a:r>
              <a:rPr lang="en-US" sz="882" b="0" i="0" kern="1200" baseline="0" dirty="0">
                <a:solidFill>
                  <a:schemeClr val="tx1"/>
                </a:solidFill>
                <a:effectLst/>
                <a:latin typeface="+mn-lt"/>
                <a:ea typeface="+mn-ea"/>
                <a:cs typeface="+mn-cs"/>
              </a:rPr>
              <a:t>An index partitioned independently from its corresponding table. That is, the </a:t>
            </a:r>
            <a:r>
              <a:rPr lang="en-US" sz="882" b="1" i="0" kern="1200" baseline="0" dirty="0">
                <a:solidFill>
                  <a:schemeClr val="tx1"/>
                </a:solidFill>
                <a:effectLst/>
                <a:latin typeface="+mn-lt"/>
                <a:ea typeface="+mn-ea"/>
                <a:cs typeface="+mn-cs"/>
              </a:rPr>
              <a:t>index has a different partition scheme or is placed on a separate filegroup from the base table</a:t>
            </a:r>
            <a:r>
              <a:rPr lang="en-US" sz="882" b="0" i="0" kern="1200" baseline="0" dirty="0">
                <a:solidFill>
                  <a:schemeClr val="tx1"/>
                </a:solidFill>
                <a:effectLst/>
                <a:latin typeface="+mn-lt"/>
                <a:ea typeface="+mn-ea"/>
                <a:cs typeface="+mn-cs"/>
              </a:rPr>
              <a:t>. Designing a non-aligned partitioned index can be useful in the following cases:</a:t>
            </a:r>
          </a:p>
          <a:p>
            <a:pPr lvl="3"/>
            <a:r>
              <a:rPr lang="en-US" sz="882" b="0" i="0" kern="1200" baseline="0" dirty="0">
                <a:solidFill>
                  <a:schemeClr val="tx1"/>
                </a:solidFill>
                <a:effectLst/>
                <a:latin typeface="+mn-lt"/>
                <a:ea typeface="+mn-ea"/>
                <a:cs typeface="+mn-cs"/>
              </a:rPr>
              <a:t>The base table has not been partitioned.</a:t>
            </a:r>
          </a:p>
          <a:p>
            <a:pPr lvl="3"/>
            <a:r>
              <a:rPr lang="en-US" sz="882" b="0" i="0" kern="1200" baseline="0" dirty="0">
                <a:solidFill>
                  <a:schemeClr val="tx1"/>
                </a:solidFill>
                <a:effectLst/>
                <a:latin typeface="+mn-lt"/>
                <a:ea typeface="+mn-ea"/>
                <a:cs typeface="+mn-cs"/>
              </a:rPr>
              <a:t>The index key is unique and it does not contain the partitioning column of the table.</a:t>
            </a:r>
          </a:p>
          <a:p>
            <a:pPr lvl="3"/>
            <a:r>
              <a:rPr lang="en-US" sz="882" b="0" i="0" kern="1200" baseline="0" dirty="0">
                <a:solidFill>
                  <a:schemeClr val="tx1"/>
                </a:solidFill>
                <a:effectLst/>
                <a:latin typeface="+mn-lt"/>
                <a:ea typeface="+mn-ea"/>
                <a:cs typeface="+mn-cs"/>
              </a:rPr>
              <a:t>You want the base table to participate in collocated joins with more tables using different join columns.</a:t>
            </a:r>
          </a:p>
          <a:p>
            <a:pPr lvl="3"/>
            <a:endParaRPr lang="en-US" sz="882" b="0" i="0" kern="1200" baseline="0" dirty="0">
              <a:solidFill>
                <a:schemeClr val="tx1"/>
              </a:solidFill>
              <a:effectLst/>
              <a:latin typeface="+mn-lt"/>
              <a:ea typeface="+mn-ea"/>
              <a:cs typeface="+mn-cs"/>
            </a:endParaRPr>
          </a:p>
          <a:p>
            <a:pPr lvl="0"/>
            <a:r>
              <a:rPr lang="en-US" sz="882" b="0" i="0" kern="1200" baseline="0" dirty="0">
                <a:solidFill>
                  <a:schemeClr val="tx1"/>
                </a:solidFill>
                <a:effectLst/>
                <a:latin typeface="+mn-lt"/>
                <a:ea typeface="+mn-ea"/>
                <a:cs typeface="+mn-cs"/>
              </a:rPr>
              <a:t>References:</a:t>
            </a:r>
          </a:p>
          <a:p>
            <a:pPr lvl="0"/>
            <a:r>
              <a:rPr lang="en-US" dirty="0">
                <a:hlinkClick r:id="rId3"/>
              </a:rPr>
              <a:t>https://docs.microsoft.com/en-us/sql/relational-databases/partitions/partitioned-tables-and-indexes?view=sql-server-ver15</a:t>
            </a: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40821478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Partitioning Clustered Indexes</a:t>
            </a:r>
          </a:p>
          <a:p>
            <a:pPr marL="381762" lvl="1" indent="-171450">
              <a:buFont typeface="Arial" pitchFamily="34" charset="0"/>
              <a:buChar char="•"/>
            </a:pPr>
            <a:r>
              <a:rPr lang="en-US" dirty="0">
                <a:effectLst/>
              </a:rPr>
              <a:t>When partitioning a clustered index, the clustering key must contain the partitioning column. </a:t>
            </a:r>
          </a:p>
          <a:p>
            <a:pPr marL="381762" lvl="1" indent="-171450">
              <a:buFont typeface="Arial" pitchFamily="34" charset="0"/>
              <a:buChar char="•"/>
            </a:pPr>
            <a:r>
              <a:rPr lang="en-US" dirty="0">
                <a:effectLst/>
              </a:rPr>
              <a:t>When partitioning a nonunique clustered index, and the partitioning column is not explicitly specified in the clustering key, SQL Server adds the partitioning column by default to the list of clustered index keys. </a:t>
            </a:r>
          </a:p>
          <a:p>
            <a:pPr marL="381762" lvl="1" indent="-171450">
              <a:buFont typeface="Arial" pitchFamily="34" charset="0"/>
              <a:buChar char="•"/>
            </a:pPr>
            <a:r>
              <a:rPr lang="en-US" dirty="0">
                <a:effectLst/>
              </a:rPr>
              <a:t>If the clustered index is unique, you must explicitly specify that the clustered index key contain the partitioning column. </a:t>
            </a:r>
          </a:p>
          <a:p>
            <a:pPr marL="381762" lvl="1" indent="-171450">
              <a:buFont typeface="Arial" pitchFamily="34" charset="0"/>
              <a:buChar char="•"/>
            </a:pPr>
            <a:r>
              <a:rPr lang="en-US" dirty="0"/>
              <a:t>By default, indexes will be created ON the partition scheme – “storage aligned” indexes:</a:t>
            </a:r>
          </a:p>
          <a:p>
            <a:pPr lvl="3"/>
            <a:r>
              <a:rPr lang="en-US" dirty="0"/>
              <a:t>Each index’s partition is stored on the same filegroup as its partition.</a:t>
            </a:r>
          </a:p>
          <a:p>
            <a:pPr lvl="3"/>
            <a:r>
              <a:rPr lang="en-US" dirty="0"/>
              <a:t>Important to do this if you plan on altering the partition function.</a:t>
            </a:r>
          </a:p>
          <a:p>
            <a:pPr marL="656082" lvl="3" indent="-171450">
              <a:buFont typeface="Arial" pitchFamily="34" charset="0"/>
              <a:buChar char="•"/>
            </a:pPr>
            <a:endParaRPr lang="en-US" dirty="0">
              <a:effectLst/>
            </a:endParaRPr>
          </a:p>
          <a:p>
            <a:r>
              <a:rPr lang="en-US" b="1" dirty="0">
                <a:effectLst/>
              </a:rPr>
              <a:t>Partitioning </a:t>
            </a:r>
            <a:r>
              <a:rPr lang="en-US" b="1" dirty="0" err="1">
                <a:effectLst/>
              </a:rPr>
              <a:t>NonClustered</a:t>
            </a:r>
            <a:r>
              <a:rPr lang="en-US" b="1" dirty="0">
                <a:effectLst/>
              </a:rPr>
              <a:t> Indexes</a:t>
            </a:r>
          </a:p>
          <a:p>
            <a:pPr marL="381762" lvl="1" indent="-171450">
              <a:buFont typeface="Arial" pitchFamily="34" charset="0"/>
              <a:buChar char="•"/>
            </a:pPr>
            <a:r>
              <a:rPr lang="en-US" dirty="0"/>
              <a:t>When partitioning a unique nonclustered index, the index key must contain the partitioning column. </a:t>
            </a:r>
          </a:p>
          <a:p>
            <a:pPr marL="381762" lvl="1" indent="-171450">
              <a:buFont typeface="Arial" pitchFamily="34" charset="0"/>
              <a:buChar char="•"/>
            </a:pPr>
            <a:r>
              <a:rPr lang="en-US" dirty="0"/>
              <a:t>When partitioning a nonunique, nonclustered index, SQL Server adds the partitioning column by default as a non-key (included) column of the index to make sure the index is aligned with the base table. </a:t>
            </a:r>
          </a:p>
          <a:p>
            <a:pPr marL="381762" lvl="1" indent="-171450">
              <a:buFont typeface="Arial" pitchFamily="34" charset="0"/>
              <a:buChar char="•"/>
            </a:pPr>
            <a:r>
              <a:rPr lang="en-US" dirty="0"/>
              <a:t>SQL Server does not add the partitioning column to the index if it is already present in the index.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66808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r>
              <a:rPr lang="en-US" dirty="0">
                <a:hlinkClick r:id="rId3"/>
              </a:rPr>
              <a:t>https://docs.microsoft.com/en-us/sql/relational-databases/partitions/create-partitioned-tables-and-indexes?view=sql-server-ver15</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3452015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5/2023</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r>
              <a:rPr lang="en-US" b="1" dirty="0"/>
              <a:t>SWITCH Requirements</a:t>
            </a:r>
          </a:p>
          <a:p>
            <a:pPr lvl="1"/>
            <a:r>
              <a:rPr lang="en-US" dirty="0"/>
              <a:t>There are numerous requirements for the SWITCH command.</a:t>
            </a:r>
          </a:p>
          <a:p>
            <a:pPr lvl="1"/>
            <a:r>
              <a:rPr lang="en-US" dirty="0"/>
              <a:t> For example,</a:t>
            </a:r>
          </a:p>
          <a:p>
            <a:pPr marL="500634" lvl="2" indent="-171450">
              <a:buFont typeface="Arial" panose="020B0604020202020204" pitchFamily="34" charset="0"/>
              <a:buChar char="•"/>
            </a:pPr>
            <a:r>
              <a:rPr lang="en-US" dirty="0"/>
              <a:t>The switched tables must have the same column structure and indexes, even the same foreign key constraints. </a:t>
            </a:r>
          </a:p>
          <a:p>
            <a:pPr marL="500634" lvl="2" indent="-171450">
              <a:buFont typeface="Arial" panose="020B0604020202020204" pitchFamily="34" charset="0"/>
              <a:buChar char="•"/>
            </a:pPr>
            <a:r>
              <a:rPr lang="en-US" sz="800" b="0" i="0" kern="1200" baseline="0" dirty="0">
                <a:solidFill>
                  <a:schemeClr val="tx1"/>
                </a:solidFill>
                <a:effectLst/>
                <a:latin typeface="+mn-lt"/>
                <a:ea typeface="+mn-ea"/>
                <a:cs typeface="+mn-cs"/>
              </a:rPr>
              <a:t>Source and target tables must share the same filegroup.</a:t>
            </a:r>
          </a:p>
          <a:p>
            <a:pPr marL="500634" lvl="2" indent="-171450">
              <a:buFont typeface="Arial" panose="020B0604020202020204" pitchFamily="34" charset="0"/>
              <a:buChar char="•"/>
            </a:pPr>
            <a:r>
              <a:rPr lang="en-US" sz="800" b="0" i="0" kern="1200" dirty="0">
                <a:solidFill>
                  <a:schemeClr val="tx1"/>
                </a:solidFill>
                <a:effectLst/>
                <a:latin typeface="Segoe UI Light" pitchFamily="34" charset="0"/>
                <a:ea typeface="+mn-ea"/>
                <a:cs typeface="+mn-cs"/>
              </a:rPr>
              <a:t>The target/</a:t>
            </a:r>
            <a:r>
              <a:rPr lang="en-US" sz="800" b="1" i="0" kern="1200" baseline="0" dirty="0">
                <a:solidFill>
                  <a:schemeClr val="tx1"/>
                </a:solidFill>
                <a:effectLst/>
                <a:latin typeface="+mn-lt"/>
                <a:ea typeface="+mn-ea"/>
                <a:cs typeface="+mn-cs"/>
              </a:rPr>
              <a:t>receiving</a:t>
            </a:r>
            <a:r>
              <a:rPr lang="en-US" sz="800" b="0" i="0" kern="1200" dirty="0">
                <a:solidFill>
                  <a:schemeClr val="tx1"/>
                </a:solidFill>
                <a:effectLst/>
                <a:latin typeface="Segoe UI Light" pitchFamily="34" charset="0"/>
                <a:ea typeface="+mn-ea"/>
                <a:cs typeface="+mn-cs"/>
              </a:rPr>
              <a:t> table (or partition) must be </a:t>
            </a:r>
            <a:r>
              <a:rPr lang="en-US" sz="800" b="0" i="1" kern="1200" dirty="0">
                <a:solidFill>
                  <a:schemeClr val="tx1"/>
                </a:solidFill>
                <a:effectLst/>
                <a:latin typeface="Segoe UI Light" pitchFamily="34" charset="0"/>
                <a:ea typeface="+mn-ea"/>
                <a:cs typeface="+mn-cs"/>
              </a:rPr>
              <a:t>empty</a:t>
            </a:r>
            <a:r>
              <a:rPr lang="en-US" sz="800" b="0" i="0" kern="1200" dirty="0">
                <a:solidFill>
                  <a:schemeClr val="tx1"/>
                </a:solidFill>
                <a:effectLst/>
                <a:latin typeface="Segoe UI Light" pitchFamily="34" charset="0"/>
                <a:ea typeface="+mn-ea"/>
                <a:cs typeface="+mn-cs"/>
              </a:rPr>
              <a:t>.</a:t>
            </a:r>
          </a:p>
          <a:p>
            <a:endParaRPr lang="en-US" dirty="0"/>
          </a:p>
          <a:p>
            <a:r>
              <a:rPr lang="en-US" dirty="0"/>
              <a:t>=============</a:t>
            </a:r>
          </a:p>
          <a:p>
            <a:r>
              <a:rPr lang="en-US" b="1" dirty="0"/>
              <a:t>More Information</a:t>
            </a:r>
          </a:p>
          <a:p>
            <a:r>
              <a:rPr lang="en-US" dirty="0"/>
              <a:t>=============</a:t>
            </a:r>
          </a:p>
          <a:p>
            <a:endParaRPr lang="en-US" dirty="0"/>
          </a:p>
          <a:p>
            <a:r>
              <a:rPr lang="en-US" sz="882" b="1" i="0" kern="1200" baseline="0" dirty="0">
                <a:solidFill>
                  <a:schemeClr val="tx1"/>
                </a:solidFill>
                <a:effectLst/>
                <a:latin typeface="+mn-lt"/>
                <a:ea typeface="+mn-ea"/>
                <a:cs typeface="+mn-cs"/>
              </a:rPr>
              <a:t>General Requirements for Switching Partitions</a:t>
            </a:r>
          </a:p>
          <a:p>
            <a:pPr marL="338328" lvl="3" indent="0">
              <a:buNone/>
            </a:pPr>
            <a:r>
              <a:rPr lang="en-US" sz="882" b="0" i="0" kern="1200" baseline="0" dirty="0">
                <a:solidFill>
                  <a:schemeClr val="tx1"/>
                </a:solidFill>
                <a:effectLst/>
                <a:latin typeface="+mn-lt"/>
                <a:ea typeface="+mn-ea"/>
                <a:cs typeface="+mn-cs"/>
              </a:rPr>
              <a:t>When a partition is transferred, the data is not physically moved; only the metadata about the location of the data changes. Before you can switch partitions, several general requirements must be met:</a:t>
            </a:r>
          </a:p>
          <a:p>
            <a:pPr marL="500634" lvl="2" indent="-171450">
              <a:buFont typeface="Arial" panose="020B0604020202020204" pitchFamily="34" charset="0"/>
              <a:buChar char="•"/>
            </a:pPr>
            <a:r>
              <a:rPr lang="en-US" sz="882" b="1" i="0" kern="1200" baseline="0" dirty="0">
                <a:solidFill>
                  <a:schemeClr val="tx1"/>
                </a:solidFill>
                <a:effectLst/>
                <a:latin typeface="+mn-lt"/>
                <a:ea typeface="+mn-ea"/>
                <a:cs typeface="+mn-cs"/>
              </a:rPr>
              <a:t>Both tables must exist before the SWITCH operation</a:t>
            </a:r>
            <a:r>
              <a:rPr lang="en-US" sz="882" b="0" i="0" kern="1200" baseline="0" dirty="0">
                <a:solidFill>
                  <a:schemeClr val="tx1"/>
                </a:solidFill>
                <a:effectLst/>
                <a:latin typeface="+mn-lt"/>
                <a:ea typeface="+mn-ea"/>
                <a:cs typeface="+mn-cs"/>
              </a:rPr>
              <a:t>.</a:t>
            </a:r>
          </a:p>
          <a:p>
            <a:pPr lvl="6"/>
            <a:r>
              <a:rPr lang="en-US" sz="982" b="0" i="0" kern="1200" baseline="0" dirty="0">
                <a:solidFill>
                  <a:schemeClr val="tx1"/>
                </a:solidFill>
                <a:effectLst/>
                <a:latin typeface="+mn-lt"/>
                <a:ea typeface="+mn-ea"/>
                <a:cs typeface="+mn-cs"/>
              </a:rPr>
              <a:t>The table from which the partition is being moved (the source table) and the table that is receiving the partition (the target table) must exist in the database before you perform the switch operation.</a:t>
            </a:r>
          </a:p>
          <a:p>
            <a:pPr marL="500634" lvl="2" indent="-171450">
              <a:buFont typeface="Arial" panose="020B0604020202020204" pitchFamily="34" charset="0"/>
              <a:buChar char="•"/>
            </a:pPr>
            <a:r>
              <a:rPr lang="en-US" sz="882" b="1" i="0" kern="1200" baseline="0" dirty="0">
                <a:solidFill>
                  <a:schemeClr val="tx1"/>
                </a:solidFill>
                <a:effectLst/>
                <a:latin typeface="+mn-lt"/>
                <a:ea typeface="+mn-ea"/>
                <a:cs typeface="+mn-cs"/>
              </a:rPr>
              <a:t>The receiving partition must exist, and it must be empty</a:t>
            </a:r>
            <a:r>
              <a:rPr lang="en-US" sz="882" b="0" i="0" kern="1200" baseline="0" dirty="0">
                <a:solidFill>
                  <a:schemeClr val="tx1"/>
                </a:solidFill>
                <a:effectLst/>
                <a:latin typeface="+mn-lt"/>
                <a:ea typeface="+mn-ea"/>
                <a:cs typeface="+mn-cs"/>
              </a:rPr>
              <a:t>. </a:t>
            </a:r>
          </a:p>
          <a:p>
            <a:pPr lvl="4"/>
            <a:r>
              <a:rPr lang="en-US" sz="882" b="0" i="0" kern="1200" baseline="0" dirty="0">
                <a:solidFill>
                  <a:schemeClr val="tx1"/>
                </a:solidFill>
                <a:effectLst/>
                <a:latin typeface="+mn-lt"/>
                <a:ea typeface="+mn-ea"/>
                <a:cs typeface="+mn-cs"/>
              </a:rPr>
              <a:t>Whether you are adding a table as a partition to an already existing partitioned table, or moving a partition from one partitioned table to another, the partition that receives the new partition must exist and it must be an empty partition.</a:t>
            </a:r>
          </a:p>
          <a:p>
            <a:pPr marL="500634" lvl="2" indent="-171450">
              <a:buFont typeface="Arial" panose="020B0604020202020204" pitchFamily="34" charset="0"/>
              <a:buChar char="•"/>
            </a:pPr>
            <a:r>
              <a:rPr lang="en-US" sz="882" b="1" i="0" kern="1200" baseline="0" dirty="0">
                <a:solidFill>
                  <a:schemeClr val="tx1"/>
                </a:solidFill>
                <a:effectLst/>
                <a:latin typeface="+mn-lt"/>
                <a:ea typeface="+mn-ea"/>
                <a:cs typeface="+mn-cs"/>
              </a:rPr>
              <a:t>The receiving nonpartitioned table must exist and it must be empty.</a:t>
            </a:r>
            <a:r>
              <a:rPr lang="en-US" sz="882" b="0" i="0" kern="1200" baseline="0" dirty="0">
                <a:solidFill>
                  <a:schemeClr val="tx1"/>
                </a:solidFill>
                <a:effectLst/>
                <a:latin typeface="+mn-lt"/>
                <a:ea typeface="+mn-ea"/>
                <a:cs typeface="+mn-cs"/>
              </a:rPr>
              <a:t> </a:t>
            </a:r>
          </a:p>
          <a:p>
            <a:pPr lvl="4"/>
            <a:r>
              <a:rPr lang="en-US" sz="882" b="0" i="0" kern="1200" baseline="0" dirty="0">
                <a:solidFill>
                  <a:schemeClr val="tx1"/>
                </a:solidFill>
                <a:effectLst/>
                <a:latin typeface="+mn-lt"/>
                <a:ea typeface="+mn-ea"/>
                <a:cs typeface="+mn-cs"/>
              </a:rPr>
              <a:t>If you are reassigning a partition to form one nonpartitioned table, the table that receives the new partition must exist and it must be an empty nonpartitioned table.</a:t>
            </a:r>
          </a:p>
          <a:p>
            <a:pPr marL="500634" lvl="2" indent="-171450">
              <a:buFont typeface="Arial" panose="020B0604020202020204" pitchFamily="34" charset="0"/>
              <a:buChar char="•"/>
            </a:pPr>
            <a:r>
              <a:rPr lang="en-US" sz="882" b="1" i="0" kern="1200" baseline="0" dirty="0">
                <a:solidFill>
                  <a:schemeClr val="tx1"/>
                </a:solidFill>
                <a:effectLst/>
                <a:latin typeface="+mn-lt"/>
                <a:ea typeface="+mn-ea"/>
                <a:cs typeface="+mn-cs"/>
              </a:rPr>
              <a:t>Partitions must be on the same column.</a:t>
            </a:r>
          </a:p>
          <a:p>
            <a:pPr lvl="4"/>
            <a:r>
              <a:rPr lang="en-US" sz="882" b="0" i="0" kern="1200" baseline="0" dirty="0">
                <a:solidFill>
                  <a:schemeClr val="tx1"/>
                </a:solidFill>
                <a:effectLst/>
                <a:latin typeface="+mn-lt"/>
                <a:ea typeface="+mn-ea"/>
                <a:cs typeface="+mn-cs"/>
              </a:rPr>
              <a:t>If you are switching a partition from one partitioned table to another, both tables must be partitioned on the same column.</a:t>
            </a:r>
          </a:p>
          <a:p>
            <a:pPr marL="500634" lvl="2" indent="-171450">
              <a:buFont typeface="Arial" panose="020B0604020202020204" pitchFamily="34" charset="0"/>
              <a:buChar char="•"/>
            </a:pPr>
            <a:r>
              <a:rPr lang="en-US" sz="882" b="1" i="0" kern="1200" baseline="0" dirty="0">
                <a:solidFill>
                  <a:schemeClr val="tx1"/>
                </a:solidFill>
                <a:effectLst/>
                <a:latin typeface="+mn-lt"/>
                <a:ea typeface="+mn-ea"/>
                <a:cs typeface="+mn-cs"/>
              </a:rPr>
              <a:t>Source and target tables must share the same filegroup.</a:t>
            </a:r>
            <a:r>
              <a:rPr lang="en-US" sz="882" b="0" i="0" kern="1200" baseline="0" dirty="0">
                <a:solidFill>
                  <a:schemeClr val="tx1"/>
                </a:solidFill>
                <a:effectLst/>
                <a:latin typeface="+mn-lt"/>
                <a:ea typeface="+mn-ea"/>
                <a:cs typeface="+mn-cs"/>
              </a:rPr>
              <a:t> </a:t>
            </a:r>
          </a:p>
          <a:p>
            <a:pPr lvl="4"/>
            <a:r>
              <a:rPr lang="en-US" sz="882" b="0" i="0" kern="1200" baseline="0" dirty="0">
                <a:solidFill>
                  <a:schemeClr val="tx1"/>
                </a:solidFill>
                <a:effectLst/>
                <a:latin typeface="+mn-lt"/>
                <a:ea typeface="+mn-ea"/>
                <a:cs typeface="+mn-cs"/>
              </a:rPr>
              <a:t>The source and the target table of the ALTER TABLE...SWITCH statement must reside in the same filegroup, and their large-value columns must be stored in the same filegroup. Any corresponding indexes, index partitions, or indexed view partitions must also reside in the same filegroup. However, the filegroup can be different from that of the corresponding tables or other corresponding indexes.</a:t>
            </a:r>
          </a:p>
          <a:p>
            <a:pPr marL="500634" lvl="2" indent="-171450">
              <a:buFont typeface="Arial" panose="020B0604020202020204" pitchFamily="34" charset="0"/>
              <a:buChar char="•"/>
            </a:pPr>
            <a:r>
              <a:rPr lang="en-US" sz="882" b="1" i="0" kern="1200" baseline="0" dirty="0">
                <a:solidFill>
                  <a:schemeClr val="tx1"/>
                </a:solidFill>
                <a:effectLst/>
                <a:latin typeface="+mn-lt"/>
                <a:ea typeface="+mn-ea"/>
                <a:cs typeface="+mn-cs"/>
              </a:rPr>
              <a:t>Source and target tables must not be replicated.</a:t>
            </a:r>
            <a:r>
              <a:rPr lang="en-US" sz="882" b="0" i="0" kern="1200" baseline="0" dirty="0">
                <a:solidFill>
                  <a:schemeClr val="tx1"/>
                </a:solidFill>
                <a:effectLst/>
                <a:latin typeface="+mn-lt"/>
                <a:ea typeface="+mn-ea"/>
                <a:cs typeface="+mn-cs"/>
              </a:rPr>
              <a:t> </a:t>
            </a:r>
          </a:p>
          <a:p>
            <a:pPr lvl="4"/>
            <a:r>
              <a:rPr lang="en-US" sz="882" b="0" i="0" kern="1200" baseline="0" dirty="0">
                <a:solidFill>
                  <a:schemeClr val="tx1"/>
                </a:solidFill>
                <a:effectLst/>
                <a:latin typeface="+mn-lt"/>
                <a:ea typeface="+mn-ea"/>
                <a:cs typeface="+mn-cs"/>
              </a:rPr>
              <a:t>Neither the source table nor the target table can be sources of replication.</a:t>
            </a:r>
          </a:p>
          <a:p>
            <a:pPr marL="546354" lvl="3" indent="-171450">
              <a:buFont typeface="Arial" panose="020B0604020202020204" pitchFamily="34" charset="0"/>
              <a:buChar char="•"/>
            </a:pPr>
            <a:r>
              <a:rPr lang="en-US" sz="882" b="1" i="0" kern="1200" baseline="0" dirty="0">
                <a:solidFill>
                  <a:schemeClr val="tx1"/>
                </a:solidFill>
                <a:effectLst/>
                <a:latin typeface="+mn-lt"/>
                <a:ea typeface="+mn-ea"/>
                <a:cs typeface="+mn-cs"/>
              </a:rPr>
              <a:t>Triggers must not activate while moving partitions.</a:t>
            </a:r>
            <a:r>
              <a:rPr lang="en-US" sz="882" b="0" i="0" kern="1200" baseline="0" dirty="0">
                <a:solidFill>
                  <a:schemeClr val="tx1"/>
                </a:solidFill>
                <a:effectLst/>
                <a:latin typeface="+mn-lt"/>
                <a:ea typeface="+mn-ea"/>
                <a:cs typeface="+mn-cs"/>
              </a:rPr>
              <a:t> </a:t>
            </a:r>
          </a:p>
          <a:p>
            <a:pPr marL="612648" lvl="4" indent="-109728">
              <a:buNone/>
            </a:pPr>
            <a:r>
              <a:rPr lang="en-US" sz="882" b="0" i="0" kern="1200" baseline="0" dirty="0">
                <a:solidFill>
                  <a:schemeClr val="tx1"/>
                </a:solidFill>
                <a:effectLst/>
                <a:latin typeface="+mn-lt"/>
                <a:ea typeface="+mn-ea"/>
                <a:cs typeface="+mn-cs"/>
              </a:rPr>
              <a:t>No INSERT, UPDATE, or DELETE triggers or cascading actions are activated by moving table partitions, and it is not required for the source or target tables to have similarly defined triggers to move partitions.</a:t>
            </a:r>
            <a:endParaRPr lang="en-US" dirty="0"/>
          </a:p>
          <a:p>
            <a:pPr marL="338328" lvl="3" indent="0">
              <a:buNone/>
            </a:pPr>
            <a:endParaRPr lang="en-US" dirty="0"/>
          </a:p>
          <a:p>
            <a:pPr marL="338328" lvl="3" indent="0">
              <a:buNone/>
            </a:pPr>
            <a:r>
              <a:rPr lang="en-US" dirty="0"/>
              <a:t>References:</a:t>
            </a:r>
          </a:p>
          <a:p>
            <a:pPr marL="100584" lvl="1" indent="0">
              <a:buNone/>
            </a:pPr>
            <a:r>
              <a:rPr lang="en-US" b="1" dirty="0"/>
              <a:t>SPLIT/MERGE </a:t>
            </a:r>
            <a:r>
              <a:rPr lang="en-US" sz="882" b="1" i="0" kern="1200" baseline="0" dirty="0">
                <a:solidFill>
                  <a:schemeClr val="tx1"/>
                </a:solidFill>
                <a:effectLst/>
                <a:latin typeface="+mn-lt"/>
                <a:ea typeface="+mn-ea"/>
                <a:cs typeface="+mn-cs"/>
              </a:rPr>
              <a:t>Best Practices</a:t>
            </a:r>
          </a:p>
          <a:p>
            <a:pPr lvl="3"/>
            <a:r>
              <a:rPr lang="en-US" sz="882" b="0" i="0" kern="1200" baseline="0" dirty="0">
                <a:solidFill>
                  <a:schemeClr val="tx1"/>
                </a:solidFill>
                <a:effectLst/>
                <a:latin typeface="+mn-lt"/>
                <a:ea typeface="+mn-ea"/>
                <a:cs typeface="+mn-cs"/>
              </a:rPr>
              <a:t>Always keep empty partitions at both ends of the partition range. </a:t>
            </a:r>
          </a:p>
          <a:p>
            <a:pPr lvl="3"/>
            <a:r>
              <a:rPr lang="en-US" sz="882" b="0" i="0" kern="1200" baseline="0" dirty="0">
                <a:solidFill>
                  <a:schemeClr val="tx1"/>
                </a:solidFill>
                <a:effectLst/>
                <a:latin typeface="+mn-lt"/>
                <a:ea typeface="+mn-ea"/>
                <a:cs typeface="+mn-cs"/>
              </a:rPr>
              <a:t>Keep the partitions at both ends to guarantee that the partition split and the partition merge don't incur any data movement. </a:t>
            </a:r>
          </a:p>
          <a:p>
            <a:pPr lvl="3"/>
            <a:r>
              <a:rPr lang="en-US" sz="882" b="0" i="0" kern="1200" baseline="0" dirty="0">
                <a:solidFill>
                  <a:schemeClr val="tx1"/>
                </a:solidFill>
                <a:effectLst/>
                <a:latin typeface="+mn-lt"/>
                <a:ea typeface="+mn-ea"/>
                <a:cs typeface="+mn-cs"/>
              </a:rPr>
              <a:t>The partition split occurs at the beginning and the partition merge occurs at the end. </a:t>
            </a:r>
          </a:p>
          <a:p>
            <a:pPr lvl="3"/>
            <a:r>
              <a:rPr lang="en-US" sz="882" b="0" i="0" kern="1200" baseline="0" dirty="0">
                <a:solidFill>
                  <a:schemeClr val="tx1"/>
                </a:solidFill>
                <a:effectLst/>
                <a:latin typeface="+mn-lt"/>
                <a:ea typeface="+mn-ea"/>
                <a:cs typeface="+mn-cs"/>
              </a:rPr>
              <a:t>Avoid splitting or merging populated partitions. </a:t>
            </a:r>
          </a:p>
          <a:p>
            <a:pPr lvl="3"/>
            <a:r>
              <a:rPr lang="en-US" sz="882" b="0" i="0" kern="1200" baseline="0" dirty="0">
                <a:solidFill>
                  <a:schemeClr val="tx1"/>
                </a:solidFill>
                <a:effectLst/>
                <a:latin typeface="+mn-lt"/>
                <a:ea typeface="+mn-ea"/>
                <a:cs typeface="+mn-cs"/>
              </a:rPr>
              <a:t>Splitting or merging populated partitions can be inefficient. </a:t>
            </a:r>
          </a:p>
          <a:p>
            <a:pPr lvl="3"/>
            <a:r>
              <a:rPr lang="en-US" sz="882" b="0" i="0" kern="1200" baseline="0" dirty="0">
                <a:solidFill>
                  <a:schemeClr val="tx1"/>
                </a:solidFill>
                <a:effectLst/>
                <a:latin typeface="+mn-lt"/>
                <a:ea typeface="+mn-ea"/>
                <a:cs typeface="+mn-cs"/>
              </a:rPr>
              <a:t>They can be inefficient because the split or merge may cause as much as four times more log generation and may also cause severe locking.</a:t>
            </a:r>
          </a:p>
          <a:p>
            <a:pPr lvl="0"/>
            <a:r>
              <a:rPr lang="en-US" sz="882" b="0" i="0" kern="1200" baseline="0" dirty="0">
                <a:solidFill>
                  <a:schemeClr val="tx1"/>
                </a:solidFill>
                <a:effectLst/>
                <a:latin typeface="+mn-lt"/>
                <a:ea typeface="+mn-ea"/>
                <a:cs typeface="+mn-cs"/>
              </a:rPr>
              <a:t>References:</a:t>
            </a:r>
            <a:endParaRPr lang="en-US" dirty="0"/>
          </a:p>
          <a:p>
            <a:r>
              <a:rPr lang="en-US" dirty="0">
                <a:hlinkClick r:id="rId3"/>
              </a:rPr>
              <a:t>https://docs.microsoft.com/en-us/previous-versions/sql/sql-server-2008-r2/ms191160(v=sql.105)</a:t>
            </a:r>
            <a:endParaRPr lang="en-US" dirty="0"/>
          </a:p>
          <a:p>
            <a:r>
              <a:rPr lang="en-US" dirty="0">
                <a:hlinkClick r:id="rId4"/>
              </a:rPr>
              <a:t>https://docs.microsoft.com/en-us/sql/t-sql/statements/alter-table-transact-sql?view=sql-server-ver15</a:t>
            </a:r>
            <a:endParaRPr lang="en-US" dirty="0"/>
          </a:p>
          <a:p>
            <a:r>
              <a:rPr lang="en-US" dirty="0">
                <a:hlinkClick r:id="rId5"/>
              </a:rPr>
              <a:t>https://docs.microsoft.com/en-us/sql/t-sql/statements/alter-partition-function-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23111511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900" noProof="1">
                <a:solidFill>
                  <a:prstClr val="black"/>
                </a:solidFill>
                <a:latin typeface="Segoe UI Light" pitchFamily="34" charset="0"/>
              </a:rPr>
              <a:t>M05L03Demo01</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a:t>
            </a:r>
            <a:r>
              <a:rPr lang="en-US" sz="800" i="1" noProof="1">
                <a:solidFill>
                  <a:prstClr val="black"/>
                </a:solidFill>
                <a:latin typeface="Segoe UI Light" pitchFamily="34" charset="0"/>
              </a:rPr>
              <a:t>M05L03Demo01</a:t>
            </a:r>
            <a:r>
              <a:rPr lang="en-US" sz="882" i="1" noProof="1">
                <a:solidFill>
                  <a:prstClr val="black"/>
                </a:solidFill>
                <a:latin typeface="Segoe UI Light" pitchFamily="34" charset="0"/>
              </a:rPr>
              <a:t>\</a:t>
            </a:r>
            <a:r>
              <a:rPr lang="en-US" i="1"/>
              <a:t>PartitionTable.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3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Sliding Partition”</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920916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swer 1:  </a:t>
            </a:r>
          </a:p>
          <a:p>
            <a:pPr lvl="2"/>
            <a:r>
              <a:rPr lang="en-US"/>
              <a:t>P</a:t>
            </a:r>
            <a:r>
              <a:rPr lang="en-US" baseline="0"/>
              <a:t>artition schemes, partition functions and partition column</a:t>
            </a:r>
          </a:p>
          <a:p>
            <a:endParaRPr lang="en-US" baseline="0"/>
          </a:p>
          <a:p>
            <a:r>
              <a:rPr lang="en-US"/>
              <a:t>Answer </a:t>
            </a:r>
            <a:r>
              <a:rPr lang="en-US" baseline="0"/>
              <a:t>2: </a:t>
            </a:r>
          </a:p>
          <a:p>
            <a:pPr lvl="2"/>
            <a:r>
              <a:rPr lang="en-US" baseline="0"/>
              <a:t>Simplified data movement. With partition switches, </a:t>
            </a:r>
            <a:r>
              <a:rPr lang="en-US" u="sng" baseline="0"/>
              <a:t>data can be loaded into and out of tables easily</a:t>
            </a:r>
            <a:r>
              <a:rPr lang="en-US" baseline="0"/>
              <a:t>. In addition, </a:t>
            </a:r>
            <a:r>
              <a:rPr lang="en-US" b="1" baseline="0"/>
              <a:t>query performance can be improved </a:t>
            </a:r>
            <a:r>
              <a:rPr lang="en-US" baseline="0"/>
              <a:t>when queries can eliminate partitions from consideration.</a:t>
            </a:r>
          </a:p>
          <a:p>
            <a:endParaRPr lang="en-US"/>
          </a:p>
          <a:p>
            <a:r>
              <a:rPr lang="en-US"/>
              <a:t>Answer 3:</a:t>
            </a:r>
          </a:p>
          <a:p>
            <a:pPr lvl="2"/>
            <a:r>
              <a:rPr lang="en-US"/>
              <a:t>Switch, Split, and Merg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34604240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Understanding</a:t>
            </a:r>
            <a:r>
              <a:rPr lang="en-US" baseline="0" dirty="0"/>
              <a:t> how indexes are used can help adjust indexing approaches in several way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dirty="0"/>
              <a:t>You may find indexes that are not used, and be able to drop or disable them.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dirty="0"/>
              <a:t>You may find clustered indexes that are scanned instead of sought, which could be fixed by adjusting the query.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dirty="0"/>
              <a:t>You may find indexes that are used only at month end, and add them just when needed to reduce the impact on DML and index maintenance.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dirty="0"/>
              <a:t>Sys.dm_db_index_usage_stats </a:t>
            </a:r>
            <a:r>
              <a:rPr lang="en-US" sz="882" b="0" i="0" kern="1200" baseline="0" dirty="0">
                <a:solidFill>
                  <a:schemeClr val="tx1"/>
                </a:solidFill>
                <a:effectLst/>
                <a:latin typeface="+mn-lt"/>
                <a:ea typeface="+mn-ea"/>
                <a:cs typeface="+mn-cs"/>
              </a:rPr>
              <a:t>gives information about overall access methods to your index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dirty="0" err="1">
                <a:solidFill>
                  <a:schemeClr val="tx1"/>
                </a:solidFill>
                <a:effectLst/>
                <a:latin typeface="+mn-lt"/>
                <a:ea typeface="+mn-ea"/>
                <a:cs typeface="+mn-cs"/>
              </a:rPr>
              <a:t>sys.dm_db_index_physical_stats</a:t>
            </a:r>
            <a:r>
              <a:rPr lang="en-US" sz="882" b="1" i="0"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rPr>
              <a:t>DMF returns information about the lower-level I/O activities, like INSERT, UPDATE and DELETE operations, occurred on the  index, per each table parti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dirty="0">
                <a:solidFill>
                  <a:schemeClr val="tx1"/>
                </a:solidFill>
                <a:effectLst/>
                <a:latin typeface="+mn-lt"/>
                <a:ea typeface="+mn-ea"/>
                <a:cs typeface="+mn-cs"/>
              </a:rPr>
              <a:t>Database Reports </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dirty="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dirty="0">
                <a:solidFill>
                  <a:schemeClr val="tx1"/>
                </a:solidFill>
                <a:effectLst/>
                <a:latin typeface="+mn-lt"/>
                <a:ea typeface="+mn-ea"/>
                <a:cs typeface="+mn-cs"/>
              </a:rPr>
              <a:t>References: </a:t>
            </a:r>
            <a:r>
              <a:rPr lang="en-US" dirty="0">
                <a:hlinkClick r:id="rId3"/>
              </a:rPr>
              <a:t>https://docs.microsoft.com/en-us/sql/relational-databases/system-dynamic-management-views/sys-dm-db-index-usage-stats-transact-sql?redirectedfrom=MSDN&amp;view=sql-server-ver15</a:t>
            </a:r>
            <a:endParaRPr lang="en-US" baseline="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a:p>
        </p:txBody>
      </p:sp>
    </p:spTree>
    <p:extLst>
      <p:ext uri="{BB962C8B-B14F-4D97-AF65-F5344CB8AC3E}">
        <p14:creationId xmlns:p14="http://schemas.microsoft.com/office/powerpoint/2010/main" val="27393569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Points:</a:t>
            </a:r>
          </a:p>
          <a:p>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a:t>Sys.dm_db_index_usage_stats </a:t>
            </a:r>
            <a:r>
              <a:rPr lang="en-US" sz="882" b="0" i="0" kern="1200" baseline="0">
                <a:solidFill>
                  <a:schemeClr val="tx1"/>
                </a:solidFill>
                <a:effectLst/>
                <a:latin typeface="+mn-lt"/>
                <a:ea typeface="+mn-ea"/>
                <a:cs typeface="+mn-cs"/>
              </a:rPr>
              <a:t>gives information about overall access methods to your indexe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The </a:t>
            </a:r>
            <a:r>
              <a:rPr lang="en-US" sz="882" b="1" i="0" kern="1200" baseline="0">
                <a:solidFill>
                  <a:schemeClr val="tx1"/>
                </a:solidFill>
                <a:effectLst/>
                <a:latin typeface="+mn-lt"/>
                <a:ea typeface="+mn-ea"/>
                <a:cs typeface="+mn-cs"/>
              </a:rPr>
              <a:t>user_updates</a:t>
            </a:r>
            <a:r>
              <a:rPr lang="en-US" sz="882" b="0" i="0" kern="1200" baseline="0">
                <a:solidFill>
                  <a:schemeClr val="tx1"/>
                </a:solidFill>
                <a:effectLst/>
                <a:latin typeface="+mn-lt"/>
                <a:ea typeface="+mn-ea"/>
                <a:cs typeface="+mn-cs"/>
              </a:rPr>
              <a:t> counter indicates the level of maintenance on the index caused by insert, update, or delete operations on the underlying table or view.</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Whenever a database is detached or is shut down (for example, because AUTO_CLOSE is set to ON), all rows associated with the database are removed.</a:t>
            </a:r>
          </a:p>
          <a:p>
            <a:r>
              <a:rPr lang="en-US"/>
              <a:t>=============</a:t>
            </a:r>
          </a:p>
          <a:p>
            <a:r>
              <a:rPr lang="en-US" b="1"/>
              <a:t>More Information</a:t>
            </a:r>
          </a:p>
          <a:p>
            <a:r>
              <a:rPr lang="en-US"/>
              <a: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1" i="0" kern="1200" baseline="0">
                <a:solidFill>
                  <a:schemeClr val="tx1"/>
                </a:solidFill>
                <a:effectLst/>
                <a:latin typeface="+mn-lt"/>
                <a:ea typeface="+mn-ea"/>
                <a:cs typeface="+mn-cs"/>
              </a:rPr>
              <a:t>Not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index_usage_stats</a:t>
            </a:r>
            <a:r>
              <a:rPr lang="en-US" sz="882" b="0" i="0" kern="1200" baseline="0">
                <a:solidFill>
                  <a:schemeClr val="tx1"/>
                </a:solidFill>
                <a:effectLst/>
                <a:latin typeface="+mn-lt"/>
                <a:ea typeface="+mn-ea"/>
                <a:cs typeface="+mn-cs"/>
              </a:rPr>
              <a:t> does not return information about memory-optimized indexes. For information about memory-optimized index use, see </a:t>
            </a:r>
            <a:r>
              <a:rPr lang="en-US" sz="882" b="1" i="0" u="sng" kern="1200" baseline="0">
                <a:solidFill>
                  <a:schemeClr val="tx1"/>
                </a:solidFill>
                <a:effectLst/>
                <a:latin typeface="+mn-lt"/>
                <a:ea typeface="+mn-ea"/>
                <a:cs typeface="+mn-cs"/>
                <a:hlinkClick r:id="rId3"/>
              </a:rPr>
              <a:t>sys.dm_db_xtp_index_stats (Transact-SQL)</a:t>
            </a:r>
            <a:r>
              <a:rPr lang="en-US" sz="882" b="0" i="0" kern="1200" baseline="0">
                <a:solidFill>
                  <a:schemeClr val="tx1"/>
                </a:solidFill>
                <a:effectLst/>
                <a:latin typeface="+mn-lt"/>
                <a:ea typeface="+mn-ea"/>
                <a:cs typeface="+mn-cs"/>
              </a:rPr>
              <a:t>.</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To call this view from </a:t>
            </a:r>
            <a:r>
              <a:rPr lang="en-US" sz="882" b="1" i="0" kern="1200" baseline="0">
                <a:solidFill>
                  <a:schemeClr val="tx1"/>
                </a:solidFill>
                <a:effectLst/>
                <a:latin typeface="+mn-lt"/>
                <a:ea typeface="+mn-ea"/>
                <a:cs typeface="+mn-cs"/>
              </a:rPr>
              <a:t>Azure Synapse Analytics (SQL DW) </a:t>
            </a:r>
            <a:r>
              <a:rPr lang="en-US" sz="882" b="0" i="0" kern="1200" baseline="0">
                <a:solidFill>
                  <a:schemeClr val="tx1"/>
                </a:solidFill>
                <a:effectLst/>
                <a:latin typeface="+mn-lt"/>
                <a:ea typeface="+mn-ea"/>
                <a:cs typeface="+mn-cs"/>
              </a:rPr>
              <a:t>or Parallel Data Warehouse, use </a:t>
            </a:r>
            <a:r>
              <a:rPr lang="en-US" sz="882" b="1" i="0" kern="1200" baseline="0">
                <a:solidFill>
                  <a:schemeClr val="tx1"/>
                </a:solidFill>
                <a:effectLst/>
                <a:latin typeface="+mn-lt"/>
                <a:ea typeface="+mn-ea"/>
                <a:cs typeface="+mn-cs"/>
              </a:rPr>
              <a:t>sys.dm_pdw_nodes_db_index_usage_stats</a:t>
            </a:r>
            <a:r>
              <a:rPr lang="en-US" sz="882" b="0" i="0" kern="1200" baseline="0">
                <a:solidFill>
                  <a:schemeClr val="tx1"/>
                </a:solidFill>
                <a:effectLst/>
                <a:latin typeface="+mn-lt"/>
                <a:ea typeface="+mn-ea"/>
                <a:cs typeface="+mn-cs"/>
              </a:rPr>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References: </a:t>
            </a:r>
            <a:r>
              <a:rPr lang="en-US">
                <a:hlinkClick r:id="rId4"/>
              </a:rPr>
              <a:t>https://docs.microsoft.com/en-us/sql/relational-databases/system-dynamic-management-views/sys-dm-db-index-usage-stats-transact-sql?redirectedfrom=MSDN&amp;view=sql-server-ver15</a:t>
            </a:r>
            <a:endParaRPr lang="en-US" baseline="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a:p>
        </p:txBody>
      </p:sp>
    </p:spTree>
    <p:extLst>
      <p:ext uri="{BB962C8B-B14F-4D97-AF65-F5344CB8AC3E}">
        <p14:creationId xmlns:p14="http://schemas.microsoft.com/office/powerpoint/2010/main" val="39145913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r>
              <a:rPr lang="en-US"/>
              <a:t>:</a:t>
            </a:r>
          </a:p>
          <a:p>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a:t>sys.dm_db_index_operational_stats : </a:t>
            </a:r>
            <a:r>
              <a:rPr lang="en-US" baseline="0"/>
              <a:t>Operational stats provides good, low-level data that is useful for diagnosing different sorts of problems. </a:t>
            </a:r>
            <a:r>
              <a:rPr lang="en-US" b="1" baseline="0"/>
              <a:t>For example, you can track IO latency, lock escalations, and page compression failures</a:t>
            </a:r>
            <a:r>
              <a:rPr lang="en-US"/>
              <a:t> or how many INSERT, UPDATE and DELETE operations, occurred on that index/ per each table parti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Default parameter value is null.</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You can use </a:t>
            </a:r>
            <a:r>
              <a:rPr lang="en-US" sz="882" b="1" i="0" kern="1200" baseline="0">
                <a:solidFill>
                  <a:schemeClr val="tx1"/>
                </a:solidFill>
                <a:effectLst/>
                <a:latin typeface="+mn-lt"/>
                <a:ea typeface="+mn-ea"/>
                <a:cs typeface="+mn-cs"/>
              </a:rPr>
              <a:t>sys.dm_db_index_operational_stats</a:t>
            </a:r>
            <a:r>
              <a:rPr lang="en-US" sz="882" b="0" i="0" kern="1200" baseline="0">
                <a:solidFill>
                  <a:schemeClr val="tx1"/>
                </a:solidFill>
                <a:effectLst/>
                <a:latin typeface="+mn-lt"/>
                <a:ea typeface="+mn-ea"/>
                <a:cs typeface="+mn-cs"/>
              </a:rPr>
              <a:t> to track the length of time that users must wait to read or write to a table, index, or partition, and identify the tables or indexes that are encountering significant I/O activity or hot spots.</a:t>
            </a:r>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Data is </a:t>
            </a:r>
            <a:r>
              <a:rPr lang="en-US" b="1"/>
              <a:t>neither persistent nor transactionally consistent</a:t>
            </a:r>
            <a:r>
              <a:rPr lang="en-US"/>
              <a:t>. This means you cannot use these counters to determine whether an index has been used or not, or when the index was last used. </a:t>
            </a:r>
          </a:p>
          <a:p>
            <a:r>
              <a:rPr lang="en-US"/>
              <a:t>=============</a:t>
            </a:r>
          </a:p>
          <a:p>
            <a:r>
              <a:rPr lang="en-US" b="1"/>
              <a:t>More Information</a:t>
            </a:r>
          </a:p>
          <a:p>
            <a:r>
              <a:rPr lang="en-US"/>
              <a: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sz="882" b="1" i="0" kern="1200" baseline="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Not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index_operational_stats</a:t>
            </a:r>
            <a:r>
              <a:rPr lang="en-US" sz="882" b="0" i="0" kern="1200" baseline="0">
                <a:solidFill>
                  <a:schemeClr val="tx1"/>
                </a:solidFill>
                <a:effectLst/>
                <a:latin typeface="+mn-lt"/>
                <a:ea typeface="+mn-ea"/>
                <a:cs typeface="+mn-cs"/>
              </a:rPr>
              <a:t> does not return information about memory-optimized indexes. For information about memory-optimized index use, see </a:t>
            </a:r>
            <a:r>
              <a:rPr lang="en-US" sz="882" b="1" i="0" u="sng" kern="1200" baseline="0">
                <a:solidFill>
                  <a:schemeClr val="tx1"/>
                </a:solidFill>
                <a:effectLst/>
                <a:latin typeface="+mn-lt"/>
                <a:ea typeface="+mn-ea"/>
                <a:cs typeface="+mn-cs"/>
                <a:hlinkClick r:id="rId3"/>
              </a:rPr>
              <a:t>sys.dm_db_xtp_index_stats (Transact-SQL)</a:t>
            </a:r>
            <a:r>
              <a:rPr lang="en-US" sz="882" b="0" i="0" kern="1200" baseline="0">
                <a:solidFill>
                  <a:schemeClr val="tx1"/>
                </a:solidFill>
                <a:effectLst/>
                <a:latin typeface="+mn-lt"/>
                <a:ea typeface="+mn-ea"/>
                <a:cs typeface="+mn-cs"/>
              </a:rPr>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References</a:t>
            </a:r>
            <a:r>
              <a:rPr lang="en-US">
                <a:hlinkClick r:id="rId4"/>
              </a:rPr>
              <a:t>https://docs.microsoft.com/en-us/sql/relational-databases/system-dynamic-management-views/sys-dm-db-index-operational-stats-transact-sql?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a:p>
        </p:txBody>
      </p:sp>
    </p:spTree>
    <p:extLst>
      <p:ext uri="{BB962C8B-B14F-4D97-AF65-F5344CB8AC3E}">
        <p14:creationId xmlns:p14="http://schemas.microsoft.com/office/powerpoint/2010/main" val="28767002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hlinkClick r:id="rId3"/>
              </a:rPr>
              <a:t>sys.dm_db_index_physical_stats</a:t>
            </a:r>
            <a:r>
              <a:rPr lang="en-US" dirty="0">
                <a:hlinkClick r:id="rId3"/>
              </a:rPr>
              <a:t> (Transact-SQL) - SQL Server | Microsoft Docs</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a:p>
        </p:txBody>
      </p:sp>
    </p:spTree>
    <p:extLst>
      <p:ext uri="{BB962C8B-B14F-4D97-AF65-F5344CB8AC3E}">
        <p14:creationId xmlns:p14="http://schemas.microsoft.com/office/powerpoint/2010/main" val="185833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In relational databases, a condition (or predicate) in a query is said to be </a:t>
            </a:r>
            <a:r>
              <a:rPr lang="en-US" sz="882" b="0" i="0" kern="1200" baseline="0" dirty="0" err="1">
                <a:solidFill>
                  <a:schemeClr val="tx1"/>
                </a:solidFill>
                <a:effectLst/>
                <a:latin typeface="+mn-lt"/>
                <a:ea typeface="+mn-ea"/>
                <a:cs typeface="+mn-cs"/>
              </a:rPr>
              <a:t>sargable</a:t>
            </a:r>
            <a:r>
              <a:rPr lang="en-US" sz="882" b="0" i="0" kern="1200" baseline="0" dirty="0">
                <a:solidFill>
                  <a:schemeClr val="tx1"/>
                </a:solidFill>
                <a:effectLst/>
                <a:latin typeface="+mn-lt"/>
                <a:ea typeface="+mn-ea"/>
                <a:cs typeface="+mn-cs"/>
              </a:rPr>
              <a:t> if the DBMS engine can take advantage of an index to speed up the execution of the query. The term is derived from a contraction of Search </a:t>
            </a:r>
            <a:r>
              <a:rPr lang="en-US" sz="882" b="0" i="0" kern="1200" baseline="0" dirty="0" err="1">
                <a:solidFill>
                  <a:schemeClr val="tx1"/>
                </a:solidFill>
                <a:effectLst/>
                <a:latin typeface="+mn-lt"/>
                <a:ea typeface="+mn-ea"/>
                <a:cs typeface="+mn-cs"/>
              </a:rPr>
              <a:t>ARGument</a:t>
            </a:r>
            <a:r>
              <a:rPr lang="en-US" sz="882" b="0" i="0" kern="1200" baseline="0" dirty="0">
                <a:solidFill>
                  <a:schemeClr val="tx1"/>
                </a:solidFill>
                <a:effectLst/>
                <a:latin typeface="+mn-lt"/>
                <a:ea typeface="+mn-ea"/>
                <a:cs typeface="+mn-cs"/>
              </a:rPr>
              <a: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en.wikipedia.org/wiki/Sargable</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28932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ey Points:</a:t>
            </a:r>
          </a:p>
          <a:p>
            <a:endParaRPr lang="en-US" dirty="0"/>
          </a:p>
          <a:p>
            <a:pPr lvl="1"/>
            <a:r>
              <a:rPr lang="en-US" dirty="0"/>
              <a:t>Fragmentation will be covered in detail in coming lessons.</a:t>
            </a:r>
          </a:p>
          <a:p>
            <a:endParaRPr lang="en-US" dirty="0"/>
          </a:p>
          <a:p>
            <a:endParaRPr lang="en-US" dirty="0"/>
          </a:p>
          <a:p>
            <a:r>
              <a:rPr lang="en-US" dirty="0"/>
              <a:t>References :</a:t>
            </a:r>
          </a:p>
          <a:p>
            <a:endParaRPr lang="en-US" dirty="0"/>
          </a:p>
          <a:p>
            <a:r>
              <a:rPr lang="en-US" dirty="0"/>
              <a:t> </a:t>
            </a:r>
            <a:r>
              <a:rPr lang="en-US" dirty="0">
                <a:hlinkClick r:id="rId3"/>
              </a:rPr>
              <a:t>https://social.technet.microsoft.com/wiki/contents/articles/40339.sql-server-what-is-fragmentation.aspx</a:t>
            </a:r>
            <a:endParaRPr lang="en-US" dirty="0"/>
          </a:p>
          <a:p>
            <a:endParaRPr lang="en-US" dirty="0"/>
          </a:p>
          <a:p>
            <a:r>
              <a:rPr lang="en-US" b="0" dirty="0">
                <a:hlinkClick r:id="rId4"/>
              </a:rPr>
              <a:t>https://docs.microsoft.com/en-us/sql/relational-databases/pages-and-extents-architecture-guide?view=sql-server-ver15</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a:p>
        </p:txBody>
      </p:sp>
    </p:spTree>
    <p:extLst>
      <p:ext uri="{BB962C8B-B14F-4D97-AF65-F5344CB8AC3E}">
        <p14:creationId xmlns:p14="http://schemas.microsoft.com/office/powerpoint/2010/main" val="42292652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dirty="0"/>
              <a:t>Page splits speed up DML, but ultimate</a:t>
            </a:r>
            <a:r>
              <a:rPr lang="en-US" baseline="0" dirty="0"/>
              <a:t>ly impact logical read performance.</a:t>
            </a:r>
          </a:p>
          <a:p>
            <a:pPr marL="381762" lvl="1" indent="-171450">
              <a:buFont typeface="Arial" panose="020B0604020202020204" pitchFamily="34" charset="0"/>
              <a:buChar char="•"/>
            </a:pPr>
            <a:r>
              <a:rPr lang="en-US" dirty="0"/>
              <a:t>Fragmentation occurs because the new data page created during the split is</a:t>
            </a:r>
            <a:r>
              <a:rPr lang="en-US" baseline="0" dirty="0"/>
              <a:t> placed at the end of the index. </a:t>
            </a:r>
            <a:r>
              <a:rPr lang="en-US" b="1" baseline="0" dirty="0"/>
              <a:t>This affects scans</a:t>
            </a:r>
            <a:r>
              <a:rPr lang="en-US" baseline="0" dirty="0"/>
              <a:t>, because they are no longer sequential. </a:t>
            </a:r>
            <a:r>
              <a:rPr lang="en-US" b="1" baseline="0" dirty="0"/>
              <a:t>It</a:t>
            </a:r>
            <a:r>
              <a:rPr lang="en-US" b="1" dirty="0"/>
              <a:t> does not</a:t>
            </a:r>
            <a:r>
              <a:rPr lang="en-US" b="1" baseline="0" dirty="0"/>
              <a:t> cause more logical reads, but makes them slower</a:t>
            </a:r>
            <a:r>
              <a:rPr lang="en-US" b="0" baseline="0" dirty="0"/>
              <a:t>.</a:t>
            </a:r>
          </a:p>
          <a:p>
            <a:pPr marL="171450" indent="-171450">
              <a:buFont typeface="Arial" panose="020B0604020202020204" pitchFamily="34" charset="0"/>
              <a:buChar char="•"/>
            </a:pPr>
            <a:endParaRPr lang="en-US" b="1" baseline="0" dirty="0"/>
          </a:p>
          <a:p>
            <a:r>
              <a:rPr lang="en-US" dirty="0"/>
              <a:t>=============</a:t>
            </a:r>
          </a:p>
          <a:p>
            <a:r>
              <a:rPr lang="en-US" b="1" dirty="0"/>
              <a:t>More Information</a:t>
            </a:r>
          </a:p>
          <a:p>
            <a:r>
              <a:rPr lang="en-US" dirty="0"/>
              <a:t>=============</a:t>
            </a:r>
          </a:p>
          <a:p>
            <a:pPr marL="171450" indent="-171450">
              <a:buFont typeface="Arial" panose="020B0604020202020204" pitchFamily="34" charset="0"/>
              <a:buChar char="•"/>
            </a:pPr>
            <a:r>
              <a:rPr lang="en-US" dirty="0"/>
              <a:t>Much better than alternative, which would require pushing the last row of the page onto a new page, and maybe having to do the same thing to the next page if it is full, and on and on. Worst case, you could end up updating all the pages in the index if you insert/update into the first page and all pages were full.</a:t>
            </a:r>
          </a:p>
          <a:p>
            <a:pPr marL="171450" indent="-171450">
              <a:buFont typeface="Arial" panose="020B0604020202020204" pitchFamily="34" charset="0"/>
              <a:buChar char="•"/>
            </a:pPr>
            <a:r>
              <a:rPr lang="en-US" dirty="0"/>
              <a:t>Needed for index inserts, to maintain sorted order of rows.</a:t>
            </a:r>
          </a:p>
          <a:p>
            <a:pPr marL="171450" indent="-171450">
              <a:buFont typeface="Arial" panose="020B0604020202020204" pitchFamily="34" charset="0"/>
              <a:buChar char="•"/>
            </a:pPr>
            <a:r>
              <a:rPr lang="en-US" dirty="0"/>
              <a:t>Needed for index and heap updates, when null values are populated, and text fields increase characters.</a:t>
            </a:r>
          </a:p>
          <a:p>
            <a:pPr marL="171450" indent="-171450">
              <a:buFont typeface="Arial" panose="020B0604020202020204" pitchFamily="34" charset="0"/>
              <a:buChar char="•"/>
            </a:pPr>
            <a:r>
              <a:rPr lang="en-US" dirty="0"/>
              <a:t>At most, two data pages are touched – original page, and new page. Brings cost of index insert (at most 2 pages) in line with</a:t>
            </a:r>
            <a:r>
              <a:rPr lang="en-US" baseline="0" dirty="0"/>
              <a:t> heap inserts (1 data page).</a:t>
            </a:r>
          </a:p>
          <a:p>
            <a:pPr marL="171450" indent="-171450">
              <a:buFont typeface="Arial" panose="020B0604020202020204" pitchFamily="34" charset="0"/>
              <a:buChar char="•"/>
            </a:pPr>
            <a:r>
              <a:rPr lang="en-US" dirty="0"/>
              <a:t>Technically, all inserts that</a:t>
            </a:r>
            <a:r>
              <a:rPr lang="en-US" baseline="0" dirty="0"/>
              <a:t> cause rows to load onto a new page cause a page split. However, in a heap or in a naturally ascending index, the splits are all occurring at the end of the index, and will not cause fragmentation or free space.</a:t>
            </a:r>
          </a:p>
          <a:p>
            <a:pPr marL="171450" indent="-171450">
              <a:buFont typeface="Arial" panose="020B0604020202020204" pitchFamily="34" charset="0"/>
              <a:buChar char="•"/>
            </a:pPr>
            <a:r>
              <a:rPr lang="en-US" baseline="0" dirty="0"/>
              <a:t>This is only an issue if the insert/update causing the split occurs on a page other than the last one. This</a:t>
            </a:r>
            <a:r>
              <a:rPr lang="en-US" dirty="0"/>
              <a:t> is m</a:t>
            </a:r>
            <a:r>
              <a:rPr lang="en-US" baseline="0" dirty="0"/>
              <a:t>uch more common for nonclustered indexes (</a:t>
            </a:r>
            <a:r>
              <a:rPr lang="en-US" dirty="0"/>
              <a:t>for example, </a:t>
            </a:r>
            <a:r>
              <a:rPr lang="en-US" baseline="0" dirty="0"/>
              <a:t>you do</a:t>
            </a:r>
            <a:r>
              <a:rPr lang="en-US" dirty="0"/>
              <a:t> not</a:t>
            </a:r>
            <a:r>
              <a:rPr lang="en-US" baseline="0" dirty="0"/>
              <a:t> usually create orders in </a:t>
            </a:r>
            <a:r>
              <a:rPr lang="en-US" baseline="0" dirty="0" err="1"/>
              <a:t>customer_id</a:t>
            </a:r>
            <a:r>
              <a:rPr lang="en-US" baseline="0" dirty="0"/>
              <a:t> order, and therefore, inserts into the customer index occur at random places).</a:t>
            </a:r>
          </a:p>
          <a:p>
            <a:pPr marL="171450" indent="-171450">
              <a:buFont typeface="Arial" panose="020B0604020202020204" pitchFamily="34" charset="0"/>
              <a:buChar char="•"/>
            </a:pPr>
            <a:r>
              <a:rPr lang="en-US" baseline="0" dirty="0"/>
              <a:t>Fragmentation can occur in intermediate levels of a B-tree as well as in the leaf level. </a:t>
            </a:r>
            <a:r>
              <a:rPr lang="en-US" b="1" baseline="0" dirty="0"/>
              <a:t>Leaf level is the more common concern</a:t>
            </a:r>
            <a:r>
              <a:rPr lang="en-US" b="0" baseline="0" dirty="0"/>
              <a:t>.</a:t>
            </a:r>
          </a:p>
          <a:p>
            <a:pPr marL="171450" indent="-171450">
              <a:buFont typeface="Arial" panose="020B0604020202020204" pitchFamily="34" charset="0"/>
              <a:buChar char="•"/>
            </a:pPr>
            <a:r>
              <a:rPr lang="en-US" baseline="0" dirty="0"/>
              <a:t>Fragmentation does not affect seek performance. B-tree traversal involves the same steps, regardless of where the final record ends up.</a:t>
            </a:r>
          </a:p>
          <a:p>
            <a:pPr marL="171450" indent="-171450">
              <a:buFont typeface="Arial" panose="020B0604020202020204" pitchFamily="34" charset="0"/>
              <a:buChar char="•"/>
            </a:pPr>
            <a:r>
              <a:rPr lang="en-US" baseline="0" dirty="0"/>
              <a:t>Free space is an issue if the space never gets filled back up. Very likely in heaps and clustered indexes with ascending keys. Because the pages hold less information, free space increases the number of logical reads needed, as well as data storage and IO.</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a:p>
        </p:txBody>
      </p:sp>
    </p:spTree>
    <p:extLst>
      <p:ext uri="{BB962C8B-B14F-4D97-AF65-F5344CB8AC3E}">
        <p14:creationId xmlns:p14="http://schemas.microsoft.com/office/powerpoint/2010/main" val="25008711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ey Points:</a:t>
            </a:r>
          </a:p>
          <a:p>
            <a:endParaRPr lang="en-US" dirty="0"/>
          </a:p>
          <a:p>
            <a:pPr lvl="1"/>
            <a:r>
              <a:rPr lang="en-US" dirty="0"/>
              <a:t>Fragmentation will be covered in detail in coming lessons.</a:t>
            </a:r>
          </a:p>
          <a:p>
            <a:endParaRPr lang="en-US" dirty="0"/>
          </a:p>
          <a:p>
            <a:endParaRPr lang="en-US" dirty="0"/>
          </a:p>
          <a:p>
            <a:r>
              <a:rPr lang="en-US" dirty="0"/>
              <a:t>References :</a:t>
            </a:r>
          </a:p>
          <a:p>
            <a:endParaRPr lang="en-US" dirty="0"/>
          </a:p>
          <a:p>
            <a:r>
              <a:rPr lang="en-US" dirty="0"/>
              <a:t> </a:t>
            </a:r>
            <a:r>
              <a:rPr lang="en-US" dirty="0">
                <a:hlinkClick r:id="rId3"/>
              </a:rPr>
              <a:t>https://social.technet.microsoft.com/wiki/contents/articles/40339.sql-server-what-is-fragmentation.aspx</a:t>
            </a:r>
            <a:endParaRPr lang="en-US" dirty="0"/>
          </a:p>
          <a:p>
            <a:endParaRPr lang="en-US" dirty="0"/>
          </a:p>
          <a:p>
            <a:r>
              <a:rPr lang="en-US" b="0" dirty="0">
                <a:hlinkClick r:id="rId4"/>
              </a:rPr>
              <a:t>https://docs.microsoft.com/en-us/sql/relational-databases/pages-and-extents-architecture-guide?view=sql-server-ver15</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a:p>
        </p:txBody>
      </p:sp>
    </p:spTree>
    <p:extLst>
      <p:ext uri="{BB962C8B-B14F-4D97-AF65-F5344CB8AC3E}">
        <p14:creationId xmlns:p14="http://schemas.microsoft.com/office/powerpoint/2010/main" val="18039383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Reading Pages - SQL Server | Microsoft Docs</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a:p>
        </p:txBody>
      </p:sp>
    </p:spTree>
    <p:extLst>
      <p:ext uri="{BB962C8B-B14F-4D97-AF65-F5344CB8AC3E}">
        <p14:creationId xmlns:p14="http://schemas.microsoft.com/office/powerpoint/2010/main" val="14205136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b="1" dirty="0"/>
              <a:t>Maintenance</a:t>
            </a:r>
            <a:r>
              <a:rPr lang="en-US" b="1" baseline="0" dirty="0"/>
              <a:t> plans are simple options</a:t>
            </a:r>
            <a:r>
              <a:rPr lang="en-US" baseline="0" dirty="0"/>
              <a:t>, but they do not scale well. </a:t>
            </a:r>
          </a:p>
          <a:p>
            <a:pPr lvl="2"/>
            <a:r>
              <a:rPr lang="en-US" baseline="0" dirty="0"/>
              <a:t>All indexes in a database will be maintained, whether they need to be or not.  </a:t>
            </a:r>
          </a:p>
          <a:p>
            <a:pPr marL="171450" indent="-171450">
              <a:buFont typeface="Arial" panose="020B0604020202020204" pitchFamily="34" charset="0"/>
              <a:buChar char="•"/>
            </a:pPr>
            <a:r>
              <a:rPr lang="en-US" b="1" baseline="0" dirty="0"/>
              <a:t>To manage a manual approach</a:t>
            </a:r>
            <a:r>
              <a:rPr lang="en-US" baseline="0" dirty="0"/>
              <a:t>, you</a:t>
            </a:r>
            <a:r>
              <a:rPr lang="en-US" dirty="0"/>
              <a:t> will</a:t>
            </a:r>
            <a:r>
              <a:rPr lang="en-US" baseline="0" dirty="0"/>
              <a:t> generally follow two steps:  </a:t>
            </a:r>
          </a:p>
          <a:p>
            <a:pPr marL="381762" lvl="1" indent="-171450">
              <a:buFont typeface="Arial" panose="020B0604020202020204" pitchFamily="34" charset="0"/>
              <a:buChar char="•"/>
            </a:pPr>
            <a:r>
              <a:rPr lang="en-US" baseline="0" dirty="0"/>
              <a:t>Use a DMV to calculate the fragmentation for each index.</a:t>
            </a:r>
          </a:p>
          <a:p>
            <a:pPr marL="381762" lvl="1" indent="-171450">
              <a:buFont typeface="Arial" panose="020B0604020202020204" pitchFamily="34" charset="0"/>
              <a:buChar char="•"/>
            </a:pPr>
            <a:r>
              <a:rPr lang="en-US" dirty="0"/>
              <a:t>Wr</a:t>
            </a:r>
            <a:r>
              <a:rPr lang="en-US" baseline="0" dirty="0"/>
              <a:t>ite a script to loop over the results and maintain the indexes that need it.  </a:t>
            </a:r>
          </a:p>
          <a:p>
            <a:pPr marL="228600" lvl="0" indent="-228600">
              <a:buFont typeface="Arial" panose="020B0604020202020204" pitchFamily="34" charset="0"/>
              <a:buChar char="•"/>
            </a:pPr>
            <a:r>
              <a:rPr lang="en-US" b="1" baseline="0" dirty="0"/>
              <a:t>Remove index Fragmentation</a:t>
            </a:r>
          </a:p>
          <a:p>
            <a:pPr marL="438912" lvl="1" indent="-228600">
              <a:buFont typeface="Arial" panose="020B0604020202020204" pitchFamily="34" charset="0"/>
              <a:buChar char="•"/>
            </a:pPr>
            <a:r>
              <a:rPr lang="en-US" u="sng" baseline="0" dirty="0"/>
              <a:t>Rebuild</a:t>
            </a:r>
            <a:r>
              <a:rPr lang="en-US" baseline="0" dirty="0"/>
              <a:t> - </a:t>
            </a:r>
            <a:r>
              <a:rPr lang="en-US" sz="882" b="0" i="0" kern="1200" baseline="0" dirty="0">
                <a:solidFill>
                  <a:schemeClr val="tx1"/>
                </a:solidFill>
                <a:effectLst/>
                <a:latin typeface="+mn-lt"/>
                <a:ea typeface="+mn-ea"/>
                <a:cs typeface="+mn-cs"/>
              </a:rPr>
              <a:t>Drops and re-creates the index. </a:t>
            </a:r>
          </a:p>
          <a:p>
            <a:pPr marL="784098" lvl="4" indent="-171450"/>
            <a:r>
              <a:rPr lang="en-US" sz="882" b="0" i="0" kern="1200" baseline="0" dirty="0">
                <a:solidFill>
                  <a:schemeClr val="tx1"/>
                </a:solidFill>
                <a:effectLst/>
                <a:latin typeface="+mn-lt"/>
                <a:ea typeface="+mn-ea"/>
                <a:cs typeface="+mn-cs"/>
              </a:rPr>
              <a:t>For </a:t>
            </a:r>
            <a:r>
              <a:rPr lang="en-US" sz="882" b="1" i="0" kern="1200" baseline="0" dirty="0" err="1">
                <a:solidFill>
                  <a:schemeClr val="tx1"/>
                </a:solidFill>
                <a:effectLst/>
                <a:latin typeface="+mn-lt"/>
                <a:ea typeface="+mn-ea"/>
                <a:cs typeface="+mn-cs"/>
              </a:rPr>
              <a:t>rowstore</a:t>
            </a:r>
            <a:r>
              <a:rPr lang="en-US" sz="882" b="0" i="0" kern="1200" baseline="0" dirty="0">
                <a:solidFill>
                  <a:schemeClr val="tx1"/>
                </a:solidFill>
                <a:effectLst/>
                <a:latin typeface="+mn-lt"/>
                <a:ea typeface="+mn-ea"/>
                <a:cs typeface="+mn-cs"/>
              </a:rPr>
              <a:t> indexes, rebuilding removes fragmentation, reclaims disk space by compacting the pages based on the specified or existing fill factor setting, and reorders the index rows in contiguous pages.</a:t>
            </a:r>
          </a:p>
          <a:p>
            <a:pPr marL="784098" lvl="4" indent="-171450"/>
            <a:r>
              <a:rPr lang="en-US" sz="882" b="0" i="0" kern="1200" baseline="0" dirty="0">
                <a:solidFill>
                  <a:schemeClr val="tx1"/>
                </a:solidFill>
                <a:effectLst/>
                <a:latin typeface="+mn-lt"/>
                <a:ea typeface="+mn-ea"/>
                <a:cs typeface="+mn-cs"/>
              </a:rPr>
              <a:t>For </a:t>
            </a:r>
            <a:r>
              <a:rPr lang="en-US" sz="882" b="1" i="0" kern="1200" baseline="0" dirty="0">
                <a:solidFill>
                  <a:schemeClr val="tx1"/>
                </a:solidFill>
                <a:effectLst/>
                <a:latin typeface="+mn-lt"/>
                <a:ea typeface="+mn-ea"/>
                <a:cs typeface="+mn-cs"/>
              </a:rPr>
              <a:t>columnstore</a:t>
            </a:r>
            <a:r>
              <a:rPr lang="en-US" sz="882" b="0" i="0" kern="1200" baseline="0" dirty="0">
                <a:solidFill>
                  <a:schemeClr val="tx1"/>
                </a:solidFill>
                <a:effectLst/>
                <a:latin typeface="+mn-lt"/>
                <a:ea typeface="+mn-ea"/>
                <a:cs typeface="+mn-cs"/>
              </a:rPr>
              <a:t> indexes, rebuilding removes fragmentation, moves all rows into the columnstore, and reclaims disk space by physically deleting rows that have been logically deleted from the table.</a:t>
            </a:r>
            <a:endParaRPr lang="en-US" baseline="0" dirty="0"/>
          </a:p>
          <a:p>
            <a:pPr marL="438912" lvl="1" indent="-228600">
              <a:buFont typeface="Arial" panose="020B0604020202020204" pitchFamily="34" charset="0"/>
              <a:buChar char="•"/>
            </a:pPr>
            <a:r>
              <a:rPr lang="en-US" u="sng" baseline="0" dirty="0"/>
              <a:t>Reorganize</a:t>
            </a:r>
            <a:r>
              <a:rPr lang="en-US" baseline="0" dirty="0"/>
              <a:t> - </a:t>
            </a:r>
            <a:r>
              <a:rPr lang="en-US" sz="882" b="0" i="0" kern="1200" baseline="0" dirty="0">
                <a:solidFill>
                  <a:schemeClr val="tx1"/>
                </a:solidFill>
                <a:effectLst/>
                <a:latin typeface="+mn-lt"/>
                <a:ea typeface="+mn-ea"/>
                <a:cs typeface="+mn-cs"/>
              </a:rPr>
              <a:t>Uses minimal system resources and is an online operation. No long-term blocking table locks. it defragments the leaf level of clustered and nonclustered indexes on tables and views by physically reordering the leaf-level pages to match the logical, left to right, order of the leaf nodes.</a:t>
            </a:r>
            <a:endParaRPr lang="en-US" baseline="0" dirty="0"/>
          </a:p>
          <a:p>
            <a:r>
              <a:rPr lang="en-US" b="1" baseline="0" dirty="0"/>
              <a:t>Recommendations </a:t>
            </a:r>
          </a:p>
          <a:p>
            <a:pPr lvl="4"/>
            <a:r>
              <a:rPr lang="en-US" b="1" i="1" dirty="0" err="1">
                <a:effectLst/>
              </a:rPr>
              <a:t>avg_fragmentation_in_percent</a:t>
            </a:r>
            <a:r>
              <a:rPr lang="en-US" i="1" dirty="0"/>
              <a:t> value	Corrective statement</a:t>
            </a:r>
          </a:p>
          <a:p>
            <a:pPr marL="612648" lvl="4" indent="0">
              <a:buFont typeface="Wingdings" panose="05000000000000000000" pitchFamily="2" charset="2"/>
              <a:buNone/>
            </a:pPr>
            <a:r>
              <a:rPr lang="en-US" dirty="0">
                <a:effectLst/>
              </a:rPr>
              <a:t>&gt;5% and &lt; = 30%			ALTER INDEX REORGANIZE</a:t>
            </a:r>
          </a:p>
          <a:p>
            <a:pPr marL="612648" lvl="4" indent="0">
              <a:buFont typeface="Wingdings" panose="05000000000000000000" pitchFamily="2" charset="2"/>
              <a:buNone/>
            </a:pPr>
            <a:r>
              <a:rPr lang="en-US" dirty="0">
                <a:effectLst/>
              </a:rPr>
              <a:t>&gt; 30%			ALTER INDEX REBUILD WITH (ONLINE = ON/OFF)</a:t>
            </a:r>
            <a:endParaRPr lang="en-US" baseline="0" dirty="0"/>
          </a:p>
          <a:p>
            <a:r>
              <a:rPr lang="en-US" sz="900" dirty="0"/>
              <a:t>=============</a:t>
            </a:r>
          </a:p>
          <a:p>
            <a:r>
              <a:rPr lang="en-US" sz="900" b="1" dirty="0"/>
              <a:t>More Information</a:t>
            </a:r>
          </a:p>
          <a:p>
            <a:r>
              <a:rPr lang="en-US" sz="900" dirty="0"/>
              <a: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solidFill>
                  <a:schemeClr val="accent5">
                    <a:lumMod val="75000"/>
                  </a:schemeClr>
                </a:solidFill>
                <a:latin typeface="Consolas" panose="020B0609020204030204" pitchFamily="49" charset="0"/>
              </a:rPr>
              <a:t>DMV</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b="1" dirty="0">
              <a:solidFill>
                <a:schemeClr val="accent5">
                  <a:lumMod val="75000"/>
                </a:schemeClr>
              </a:solidFill>
              <a:latin typeface="Consolas" panose="020B0609020204030204" pitchFamily="49" charset="0"/>
            </a:endParaRP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sz="900" b="1" dirty="0" err="1">
                <a:solidFill>
                  <a:schemeClr val="accent5">
                    <a:lumMod val="75000"/>
                  </a:schemeClr>
                </a:solidFill>
                <a:latin typeface="Consolas" panose="020B0609020204030204" pitchFamily="49" charset="0"/>
              </a:rPr>
              <a:t>Sys.dm_db_index_physical_stats</a:t>
            </a:r>
            <a:endParaRPr lang="en-US" sz="900" b="1" dirty="0">
              <a:solidFill>
                <a:schemeClr val="accent5">
                  <a:lumMod val="75000"/>
                </a:schemeClr>
              </a:solidFill>
              <a:latin typeface="Consolas" panose="020B0609020204030204" pitchFamily="49" charset="0"/>
            </a:endParaRP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 { </a:t>
            </a:r>
            <a:r>
              <a:rPr lang="en-US" sz="882" b="0" i="0" kern="1200" baseline="0" dirty="0" err="1">
                <a:solidFill>
                  <a:schemeClr val="tx1"/>
                </a:solidFill>
                <a:effectLst/>
                <a:latin typeface="+mn-lt"/>
                <a:ea typeface="+mn-ea"/>
                <a:cs typeface="+mn-cs"/>
              </a:rPr>
              <a:t>database_id</a:t>
            </a:r>
            <a:r>
              <a:rPr lang="en-US" sz="882" b="0" i="0" kern="1200" baseline="0" dirty="0">
                <a:solidFill>
                  <a:schemeClr val="tx1"/>
                </a:solidFill>
                <a:effectLst/>
                <a:latin typeface="+mn-lt"/>
                <a:ea typeface="+mn-ea"/>
                <a:cs typeface="+mn-cs"/>
              </a:rPr>
              <a:t> | NULL | 0 | DEFAULT } , { </a:t>
            </a:r>
            <a:r>
              <a:rPr lang="en-US" sz="882" b="0" i="0" kern="1200" baseline="0" dirty="0" err="1">
                <a:solidFill>
                  <a:schemeClr val="tx1"/>
                </a:solidFill>
                <a:effectLst/>
                <a:latin typeface="+mn-lt"/>
                <a:ea typeface="+mn-ea"/>
                <a:cs typeface="+mn-cs"/>
              </a:rPr>
              <a:t>object_id</a:t>
            </a:r>
            <a:r>
              <a:rPr lang="en-US" sz="882" b="0" i="0" kern="1200" baseline="0" dirty="0">
                <a:solidFill>
                  <a:schemeClr val="tx1"/>
                </a:solidFill>
                <a:effectLst/>
                <a:latin typeface="+mn-lt"/>
                <a:ea typeface="+mn-ea"/>
                <a:cs typeface="+mn-cs"/>
              </a:rPr>
              <a:t> | NULL | 0 | DEFAULT } , { </a:t>
            </a:r>
            <a:r>
              <a:rPr lang="en-US" sz="882" b="0" i="0" kern="1200" baseline="0" dirty="0" err="1">
                <a:solidFill>
                  <a:schemeClr val="tx1"/>
                </a:solidFill>
                <a:effectLst/>
                <a:latin typeface="+mn-lt"/>
                <a:ea typeface="+mn-ea"/>
                <a:cs typeface="+mn-cs"/>
              </a:rPr>
              <a:t>index_id</a:t>
            </a:r>
            <a:r>
              <a:rPr lang="en-US" sz="882" b="0" i="0" kern="1200" baseline="0" dirty="0">
                <a:solidFill>
                  <a:schemeClr val="tx1"/>
                </a:solidFill>
                <a:effectLst/>
                <a:latin typeface="+mn-lt"/>
                <a:ea typeface="+mn-ea"/>
                <a:cs typeface="+mn-cs"/>
              </a:rPr>
              <a:t> | NULL | 0 | -1 | DEFAULT } , { </a:t>
            </a:r>
            <a:r>
              <a:rPr lang="en-US" sz="882" b="0" i="0" kern="1200" baseline="0" dirty="0" err="1">
                <a:solidFill>
                  <a:schemeClr val="tx1"/>
                </a:solidFill>
                <a:effectLst/>
                <a:latin typeface="+mn-lt"/>
                <a:ea typeface="+mn-ea"/>
                <a:cs typeface="+mn-cs"/>
              </a:rPr>
              <a:t>partition_number</a:t>
            </a:r>
            <a:r>
              <a:rPr lang="en-US" sz="882" b="0" i="0" kern="1200" baseline="0" dirty="0">
                <a:solidFill>
                  <a:schemeClr val="tx1"/>
                </a:solidFill>
                <a:effectLst/>
                <a:latin typeface="+mn-lt"/>
                <a:ea typeface="+mn-ea"/>
                <a:cs typeface="+mn-cs"/>
              </a:rPr>
              <a:t> | NULL | 0 | DEFAULT } , { </a:t>
            </a:r>
            <a:r>
              <a:rPr lang="en-US" sz="882" b="1" i="0" kern="1200" baseline="0" dirty="0">
                <a:solidFill>
                  <a:schemeClr val="tx1"/>
                </a:solidFill>
                <a:effectLst/>
                <a:latin typeface="+mn-lt"/>
                <a:ea typeface="+mn-ea"/>
                <a:cs typeface="+mn-cs"/>
              </a:rPr>
              <a:t>mode</a:t>
            </a:r>
            <a:r>
              <a:rPr lang="en-US" sz="882" b="0" i="0" kern="1200" baseline="0" dirty="0">
                <a:solidFill>
                  <a:schemeClr val="tx1"/>
                </a:solidFill>
                <a:effectLst/>
                <a:latin typeface="+mn-lt"/>
                <a:ea typeface="+mn-ea"/>
                <a:cs typeface="+mn-cs"/>
              </a:rPr>
              <a:t> | NULL | DEFAULT } ) </a:t>
            </a:r>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381762" marR="0" lvl="1" indent="-171450" algn="l" defTabSz="914400" rtl="0" eaLnBrk="1" fontAlgn="auto" latinLnBrk="0" hangingPunct="1">
              <a:lnSpc>
                <a:spcPct val="90000"/>
              </a:lnSpc>
              <a:spcBef>
                <a:spcPts val="333"/>
              </a:spcBef>
              <a:spcAft>
                <a:spcPts val="0"/>
              </a:spcAft>
              <a:buClrTx/>
              <a:buSzTx/>
              <a:buFont typeface="Wingdings" panose="05000000000000000000" pitchFamily="2" charset="2"/>
              <a:buChar char="§"/>
              <a:tabLst/>
              <a:defRPr/>
            </a:pPr>
            <a:r>
              <a:rPr lang="en-US" sz="882" b="0" i="0" kern="1200" baseline="0" dirty="0" err="1">
                <a:solidFill>
                  <a:schemeClr val="tx1"/>
                </a:solidFill>
                <a:effectLst/>
                <a:latin typeface="+mn-lt"/>
                <a:ea typeface="+mn-ea"/>
                <a:cs typeface="+mn-cs"/>
              </a:rPr>
              <a:t>sys.dm_db_index_physical_stats</a:t>
            </a:r>
            <a:r>
              <a:rPr lang="en-US" sz="882" b="0" i="0" kern="1200" baseline="0" dirty="0">
                <a:solidFill>
                  <a:schemeClr val="tx1"/>
                </a:solidFill>
                <a:effectLst/>
                <a:latin typeface="+mn-lt"/>
                <a:ea typeface="+mn-ea"/>
                <a:cs typeface="+mn-cs"/>
              </a:rPr>
              <a:t> requires </a:t>
            </a:r>
            <a:r>
              <a:rPr lang="en-US" sz="882" b="1" i="0" kern="1200" baseline="0" dirty="0">
                <a:solidFill>
                  <a:schemeClr val="tx1"/>
                </a:solidFill>
                <a:effectLst/>
                <a:latin typeface="+mn-lt"/>
                <a:ea typeface="+mn-ea"/>
                <a:cs typeface="+mn-cs"/>
              </a:rPr>
              <a:t>only an Intent-Shared (IS) table lock</a:t>
            </a:r>
            <a:r>
              <a:rPr lang="en-US" sz="882" b="0" i="0" kern="1200" baseline="0" dirty="0">
                <a:solidFill>
                  <a:schemeClr val="tx1"/>
                </a:solidFill>
                <a:effectLst/>
                <a:latin typeface="+mn-lt"/>
                <a:ea typeface="+mn-ea"/>
                <a:cs typeface="+mn-cs"/>
              </a:rPr>
              <a:t>, regardless of the mode that it runs in.</a:t>
            </a:r>
            <a:endParaRPr lang="en-US" sz="900" dirty="0">
              <a:solidFill>
                <a:schemeClr val="accent5">
                  <a:lumMod val="75000"/>
                </a:schemeClr>
              </a:solidFill>
              <a:latin typeface="Consolas" panose="020B0609020204030204" pitchFamily="49" charset="0"/>
            </a:endParaRPr>
          </a:p>
          <a:p>
            <a:endParaRPr lang="en-US" dirty="0"/>
          </a:p>
          <a:p>
            <a:pPr marL="500634" marR="0" lvl="2" indent="-171450" algn="l" defTabSz="914400" rtl="0" eaLnBrk="1" fontAlgn="auto" latinLnBrk="0" hangingPunct="1">
              <a:lnSpc>
                <a:spcPct val="90000"/>
              </a:lnSpc>
              <a:spcBef>
                <a:spcPts val="333"/>
              </a:spcBef>
              <a:spcAft>
                <a:spcPts val="0"/>
              </a:spcAft>
              <a:buClrTx/>
              <a:buSzTx/>
              <a:tabLst/>
              <a:defRPr/>
            </a:pPr>
            <a:r>
              <a:rPr lang="en-US" sz="882" b="1" i="0" kern="1200" baseline="0" dirty="0">
                <a:solidFill>
                  <a:schemeClr val="tx1"/>
                </a:solidFill>
                <a:effectLst/>
                <a:latin typeface="+mn-lt"/>
                <a:ea typeface="+mn-ea"/>
                <a:cs typeface="+mn-cs"/>
              </a:rPr>
              <a:t>Scanning Modes</a:t>
            </a:r>
            <a:r>
              <a:rPr lang="en-US" dirty="0"/>
              <a:t>:    LIMITED, SAMPLED or DETAILED</a:t>
            </a:r>
          </a:p>
          <a:p>
            <a:pPr marL="329184" lvl="2" indent="-109728"/>
            <a:endParaRPr lang="en-US" dirty="0"/>
          </a:p>
          <a:p>
            <a:pPr marL="484632" lvl="3" indent="-118872"/>
            <a:r>
              <a:rPr lang="en-US" b="1" dirty="0"/>
              <a:t>The LIMITED mode is the fastest mode and scans the smallest number of pages</a:t>
            </a:r>
            <a:r>
              <a:rPr lang="en-US" dirty="0"/>
              <a:t>. For an index, only the parent-level pages of the B-tree (that is, the pages above the leaf level) are scanned. For a heap, the associated PFS and IAM pages are examined and the data pages of a heap are scanned in LIMITED mode.</a:t>
            </a:r>
          </a:p>
          <a:p>
            <a:pPr marL="484632" lvl="3" indent="-118872"/>
            <a:endParaRPr lang="en-US" dirty="0"/>
          </a:p>
          <a:p>
            <a:pPr marL="484632" lvl="3" indent="-118872"/>
            <a:r>
              <a:rPr lang="en-US" dirty="0"/>
              <a:t>The </a:t>
            </a:r>
            <a:r>
              <a:rPr lang="en-US" b="1" dirty="0"/>
              <a:t>SAMPLED mode returns statistics based on a 1 percent sample of all the pages in the index or heap. </a:t>
            </a:r>
            <a:r>
              <a:rPr lang="en-US" dirty="0"/>
              <a:t>Results in SAMPLED mode should be regarded as approximate. If the index or heap has fewer than 10,000 pages, DETAILED mode is used, instead of SAMPLED.</a:t>
            </a:r>
          </a:p>
          <a:p>
            <a:pPr marL="484632" lvl="3" indent="-118872"/>
            <a:r>
              <a:rPr lang="en-US" dirty="0"/>
              <a:t>The DETAILED mode scans all pages and returns all statistics – both fragmentation</a:t>
            </a:r>
            <a:r>
              <a:rPr lang="en-US" baseline="0" dirty="0"/>
              <a:t> as well as free space available on the index.</a:t>
            </a:r>
            <a:endParaRPr lang="en-US" dirty="0"/>
          </a:p>
          <a:p>
            <a:pPr marL="484632" lvl="3" indent="-118872"/>
            <a:r>
              <a:rPr lang="en-US" dirty="0"/>
              <a:t>The modes are progressively slower from LIMITED to DETAILED, because more work is performed in each mode.</a:t>
            </a:r>
          </a:p>
          <a:p>
            <a:pPr marL="484632" lvl="3" indent="-118872"/>
            <a:r>
              <a:rPr lang="en-US" dirty="0"/>
              <a:t>It is rare to</a:t>
            </a:r>
            <a:r>
              <a:rPr lang="en-US" baseline="0" dirty="0"/>
              <a:t> use </a:t>
            </a:r>
            <a:r>
              <a:rPr lang="en-US" b="1" baseline="0" dirty="0"/>
              <a:t>DETAILED mode in larger databases, because it requires reading all the pages in the database. </a:t>
            </a:r>
            <a:r>
              <a:rPr lang="en-US" baseline="0" dirty="0"/>
              <a:t>Therefore, database administrators (DBAs) often are unaware of how much free space is currently available in indexes.  </a:t>
            </a:r>
          </a:p>
          <a:p>
            <a:pPr lvl="1"/>
            <a:endParaRPr lang="en-US" baseline="0" dirty="0"/>
          </a:p>
          <a:p>
            <a:pPr marL="100584" lvl="1" indent="0">
              <a:buNone/>
            </a:pPr>
            <a:r>
              <a:rPr lang="en-US" baseline="0" dirty="0"/>
              <a:t>For a good example of the logic required to write a custom solution, see </a:t>
            </a:r>
            <a:r>
              <a:rPr lang="en-US" i="1" baseline="0" dirty="0"/>
              <a:t>https://ola.hallengren.com</a:t>
            </a:r>
            <a:r>
              <a:rPr lang="en-US" b="1" i="1" baseline="0" dirty="0"/>
              <a:t>/</a:t>
            </a:r>
          </a:p>
          <a:p>
            <a:pPr marL="100584" lvl="1" indent="0">
              <a:buNone/>
            </a:pPr>
            <a:endParaRPr lang="en-US" dirty="0"/>
          </a:p>
          <a:p>
            <a:pPr marL="171450" indent="-171450">
              <a:buFont typeface="Arial" panose="020B0604020202020204" pitchFamily="34" charset="0"/>
              <a:buChar char="•"/>
            </a:pPr>
            <a:r>
              <a:rPr lang="en-US" b="1" dirty="0"/>
              <a:t>Rebuilding indexes</a:t>
            </a:r>
            <a:r>
              <a:rPr lang="en-US" b="1" baseline="0" dirty="0"/>
              <a:t> </a:t>
            </a:r>
            <a:r>
              <a:rPr lang="en-US" baseline="0" dirty="0"/>
              <a:t>accomplishes much more than reorganizing, but that comes at a cost.</a:t>
            </a:r>
          </a:p>
          <a:p>
            <a:pPr lvl="2"/>
            <a:r>
              <a:rPr lang="en-US" b="1" baseline="0" dirty="0"/>
              <a:t>Rebuilds are more intensive, potentially using </a:t>
            </a:r>
            <a:r>
              <a:rPr lang="en-US" b="1" baseline="0" dirty="0" err="1"/>
              <a:t>tempdb</a:t>
            </a:r>
            <a:r>
              <a:rPr lang="en-US" b="1" baseline="0" dirty="0"/>
              <a:t> resources, causing high I/O, and causing log growth</a:t>
            </a:r>
            <a:r>
              <a:rPr lang="en-US" baseline="0" dirty="0"/>
              <a:t>. The larger the table, the more likely these are to become issues. This</a:t>
            </a:r>
            <a:r>
              <a:rPr lang="en-US" dirty="0"/>
              <a:t> is </a:t>
            </a:r>
            <a:r>
              <a:rPr lang="en-US" baseline="0" dirty="0"/>
              <a:t>because rebuilding indexes moves all the data on the pages around, in order to eliminate free space. This is done in a single transaction, which can cause the log to fill.  </a:t>
            </a:r>
          </a:p>
          <a:p>
            <a:pPr marL="171450" indent="-171450">
              <a:buFont typeface="Arial" panose="020B0604020202020204" pitchFamily="34" charset="0"/>
              <a:buChar char="•"/>
            </a:pPr>
            <a:r>
              <a:rPr lang="en-US" b="1" baseline="0" dirty="0"/>
              <a:t> Reorganize </a:t>
            </a:r>
          </a:p>
          <a:p>
            <a:pPr lvl="2"/>
            <a:r>
              <a:rPr lang="en-US" baseline="0" dirty="0"/>
              <a:t>In contrast, reorganize works by locking two pages that are out of order, swapping them, and then releasing the locks. This is a very quick process, and each swap is a separate transaction.  </a:t>
            </a:r>
          </a:p>
          <a:p>
            <a:pPr lvl="2"/>
            <a:r>
              <a:rPr lang="en-US" baseline="0" dirty="0"/>
              <a:t>Like most processes that work “one at a time”, </a:t>
            </a:r>
            <a:r>
              <a:rPr lang="en-US" b="1" baseline="0" dirty="0"/>
              <a:t>reorganizes can take longer than rebuilds</a:t>
            </a:r>
            <a:r>
              <a:rPr lang="en-US" baseline="0" dirty="0"/>
              <a:t>. Therefore, reorganizes typically are </a:t>
            </a:r>
            <a:r>
              <a:rPr lang="en-US" b="1" baseline="0" dirty="0"/>
              <a:t>saved for indexes that are less than 30% fragmented</a:t>
            </a:r>
            <a:r>
              <a:rPr lang="en-US" baseline="0" dirty="0"/>
              <a:t>. In these cases, the reduced IO requirements (&lt;30% of all pages</a:t>
            </a:r>
            <a:r>
              <a:rPr lang="en-US" dirty="0"/>
              <a:t> versus</a:t>
            </a:r>
            <a:r>
              <a:rPr lang="en-US" baseline="0" dirty="0"/>
              <a:t> 100% of pages for rebuilds) keeps the impact of the reduced efficiency in check. </a:t>
            </a:r>
          </a:p>
          <a:p>
            <a:r>
              <a:rPr lang="en-US" baseline="0" dirty="0"/>
              <a:t> </a:t>
            </a:r>
          </a:p>
          <a:p>
            <a:r>
              <a:rPr lang="en-US" b="1" u="sng" baseline="0" dirty="0"/>
              <a:t>Note</a:t>
            </a:r>
            <a:r>
              <a:rPr lang="en-US" baseline="0" dirty="0"/>
              <a:t> that REORGANIZE does not remove free space. </a:t>
            </a:r>
            <a:r>
              <a:rPr lang="en-US" b="1" baseline="0" dirty="0"/>
              <a:t>If DBAs maintain indexes well, many indexes may never reach 30% fragmentation</a:t>
            </a:r>
            <a:r>
              <a:rPr lang="en-US" baseline="0" dirty="0"/>
              <a:t>. Therefore, they never get rebuilt, and free space can grow significantly over time. </a:t>
            </a:r>
            <a:r>
              <a:rPr lang="en-US" u="sng" baseline="0" dirty="0"/>
              <a:t>Because the physical stats DMV is rarely run in DETAILED mode, free space problems are rarely observed</a:t>
            </a:r>
            <a:r>
              <a:rPr lang="en-US" u="none" baseline="0" dirty="0"/>
              <a:t>.</a:t>
            </a:r>
            <a:r>
              <a:rPr lang="en-US" baseline="0" dirty="0"/>
              <a:t> It may be a good idea to check for free space occasionally, or track indexes that are not rebuilt, so that they can be manually rebuilt over time to reclaim free space.</a:t>
            </a:r>
          </a:p>
          <a:p>
            <a:endParaRPr lang="en-US" baseline="0" dirty="0"/>
          </a:p>
          <a:p>
            <a:r>
              <a:rPr lang="en-US" baseline="0" dirty="0"/>
              <a:t>References:</a:t>
            </a:r>
          </a:p>
          <a:p>
            <a:r>
              <a:rPr lang="en-US" baseline="0" dirty="0"/>
              <a:t> </a:t>
            </a:r>
            <a:r>
              <a:rPr lang="en-US" dirty="0">
                <a:hlinkClick r:id="rId3"/>
              </a:rPr>
              <a:t>https://docs.microsoft.com/en-us/sql/relational-databases/indexes/reorganize-and-rebuild-indexes?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a:p>
        </p:txBody>
      </p:sp>
    </p:spTree>
    <p:extLst>
      <p:ext uri="{BB962C8B-B14F-4D97-AF65-F5344CB8AC3E}">
        <p14:creationId xmlns:p14="http://schemas.microsoft.com/office/powerpoint/2010/main" val="9789338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indent="-171450">
              <a:buFont typeface="Arial" panose="020B0604020202020204" pitchFamily="34" charset="0"/>
              <a:buChar char="•"/>
            </a:pPr>
            <a:r>
              <a:rPr lang="en-US" b="1" u="sng" dirty="0"/>
              <a:t>Setting a default fill factor is not a great approach,</a:t>
            </a:r>
            <a:r>
              <a:rPr lang="en-US" b="1" u="sng" baseline="0" dirty="0"/>
              <a:t> </a:t>
            </a:r>
            <a:r>
              <a:rPr lang="en-US" u="sng" baseline="0" dirty="0"/>
              <a:t>because the increase in total pages needed to store an index can be costly</a:t>
            </a:r>
            <a:r>
              <a:rPr lang="en-US" u="none" baseline="0" dirty="0"/>
              <a:t>. </a:t>
            </a:r>
          </a:p>
          <a:p>
            <a:pPr marL="171450" indent="-171450">
              <a:buFont typeface="Arial" panose="020B0604020202020204" pitchFamily="34" charset="0"/>
              <a:buChar char="•"/>
            </a:pPr>
            <a:r>
              <a:rPr lang="en-US" u="sng" baseline="0" dirty="0"/>
              <a:t>When deciding to set a fill factor, think about the following</a:t>
            </a:r>
            <a:r>
              <a:rPr lang="en-US" u="sng" dirty="0"/>
              <a:t>:</a:t>
            </a:r>
          </a:p>
          <a:p>
            <a:pPr lvl="1"/>
            <a:r>
              <a:rPr lang="en-US" dirty="0"/>
              <a:t>If low fragmentation, do not use fill factor.  </a:t>
            </a:r>
          </a:p>
          <a:p>
            <a:pPr lvl="1"/>
            <a:r>
              <a:rPr lang="en-US" dirty="0"/>
              <a:t>If </a:t>
            </a:r>
            <a:r>
              <a:rPr lang="en-US" b="1" dirty="0"/>
              <a:t>high seeks and low scans, do not use fill factor</a:t>
            </a:r>
            <a:r>
              <a:rPr lang="en-US" dirty="0"/>
              <a:t>. Fragmentation only affects scans. </a:t>
            </a:r>
          </a:p>
          <a:p>
            <a:pPr lvl="1"/>
            <a:r>
              <a:rPr lang="en-US" dirty="0"/>
              <a:t>Therefore, if the index is not scanned,</a:t>
            </a:r>
            <a:r>
              <a:rPr lang="en-US" baseline="0" dirty="0"/>
              <a:t> fragmentation is not as important, and fill factor is likely not needed.</a:t>
            </a:r>
            <a:endParaRPr lang="en-US" dirty="0"/>
          </a:p>
          <a:p>
            <a:pPr lvl="1"/>
            <a:r>
              <a:rPr lang="en-US" dirty="0"/>
              <a:t>If </a:t>
            </a:r>
            <a:r>
              <a:rPr lang="en-US" u="sng" dirty="0"/>
              <a:t>high fragmentation, test and see</a:t>
            </a:r>
            <a:r>
              <a:rPr lang="en-US" dirty="0"/>
              <a:t>.</a:t>
            </a:r>
          </a:p>
          <a:p>
            <a:endParaRPr lang="en-US" b="1" dirty="0"/>
          </a:p>
          <a:p>
            <a:pPr marL="171450" indent="-171450">
              <a:buFont typeface="Arial" panose="020B0604020202020204" pitchFamily="34" charset="0"/>
              <a:buChar char="•"/>
            </a:pPr>
            <a:r>
              <a:rPr lang="en-US" b="1" dirty="0"/>
              <a:t>If fragmentation is causing performance issues, fill factor</a:t>
            </a:r>
            <a:r>
              <a:rPr lang="en-US" b="1" baseline="0" dirty="0"/>
              <a:t> is one way to address it</a:t>
            </a:r>
            <a:r>
              <a:rPr lang="en-US" baseline="0" dirty="0"/>
              <a:t>. </a:t>
            </a:r>
          </a:p>
          <a:p>
            <a:pPr marL="381762" lvl="1" indent="-171450">
              <a:buFont typeface="Arial" panose="020B0604020202020204" pitchFamily="34" charset="0"/>
              <a:buChar char="•"/>
            </a:pPr>
            <a:r>
              <a:rPr lang="en-US" baseline="0" dirty="0"/>
              <a:t>However</a:t>
            </a:r>
            <a:r>
              <a:rPr lang="en-US" b="1" baseline="0" dirty="0"/>
              <a:t>, fill factors leave free space on a page</a:t>
            </a:r>
            <a:r>
              <a:rPr lang="en-US" baseline="0" dirty="0"/>
              <a:t>, which is going to increase the total number of pages needed to store the index.</a:t>
            </a:r>
          </a:p>
          <a:p>
            <a:pPr marL="381762" lvl="1" indent="-171450">
              <a:buFont typeface="Arial" panose="020B0604020202020204" pitchFamily="34" charset="0"/>
              <a:buChar char="•"/>
            </a:pPr>
            <a:r>
              <a:rPr lang="en-US" baseline="0" dirty="0"/>
              <a:t> It</a:t>
            </a:r>
            <a:r>
              <a:rPr lang="en-US" dirty="0"/>
              <a:t> i</a:t>
            </a:r>
            <a:r>
              <a:rPr lang="en-US" baseline="0" dirty="0"/>
              <a:t>s a trade-off, will a scan of the less fragmented index, with more sequential reads perform better? </a:t>
            </a:r>
          </a:p>
          <a:p>
            <a:pPr marL="381762" lvl="1" indent="-171450">
              <a:buFont typeface="Arial" panose="020B0604020202020204" pitchFamily="34" charset="0"/>
              <a:buChar char="•"/>
            </a:pPr>
            <a:r>
              <a:rPr lang="en-US" baseline="0" dirty="0"/>
              <a:t> Or will the scan of fewer data pages perform better? </a:t>
            </a:r>
          </a:p>
          <a:p>
            <a:pPr marL="381762" lvl="1" indent="-171450">
              <a:buFont typeface="Arial" panose="020B0604020202020204" pitchFamily="34" charset="0"/>
              <a:buChar char="•"/>
            </a:pPr>
            <a:r>
              <a:rPr lang="en-US" b="1" baseline="0" dirty="0"/>
              <a:t> Performance </a:t>
            </a:r>
            <a:r>
              <a:rPr lang="en-US" b="1" dirty="0"/>
              <a:t>i</a:t>
            </a:r>
            <a:r>
              <a:rPr lang="en-US" b="1" baseline="0" dirty="0"/>
              <a:t>s going to vary, depending on the index</a:t>
            </a:r>
            <a:r>
              <a:rPr lang="en-US" baseline="0" dirty="0"/>
              <a:t>.</a:t>
            </a:r>
          </a:p>
          <a:p>
            <a:r>
              <a:rPr lang="en-US" dirty="0"/>
              <a:t>=============</a:t>
            </a:r>
          </a:p>
          <a:p>
            <a:r>
              <a:rPr lang="en-US" b="1" dirty="0"/>
              <a:t>More Information</a:t>
            </a:r>
          </a:p>
          <a:p>
            <a:r>
              <a:rPr lang="en-US" dirty="0"/>
              <a:t>=============</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1" dirty="0"/>
              <a:t>How to tell?</a:t>
            </a:r>
          </a:p>
          <a:p>
            <a:pPr lvl="2"/>
            <a:r>
              <a:rPr lang="en-US" b="1" dirty="0"/>
              <a:t>Indexes on ascending values do not fragment</a:t>
            </a:r>
            <a:r>
              <a:rPr lang="en-US" dirty="0"/>
              <a:t>.</a:t>
            </a:r>
          </a:p>
          <a:p>
            <a:pPr lvl="2"/>
            <a:r>
              <a:rPr lang="en-US" dirty="0"/>
              <a:t>Use </a:t>
            </a:r>
            <a:r>
              <a:rPr lang="en-US" dirty="0" err="1"/>
              <a:t>sys.dm_db_index_stats</a:t>
            </a:r>
            <a:r>
              <a:rPr lang="en-US" dirty="0"/>
              <a:t> for seek vs scan usage.</a:t>
            </a:r>
          </a:p>
          <a:p>
            <a:pPr lvl="2"/>
            <a:r>
              <a:rPr lang="en-US" dirty="0"/>
              <a:t>Collect fragmentation history as part of index maintenance.</a:t>
            </a:r>
          </a:p>
          <a:p>
            <a:pPr marL="171450" indent="-171450">
              <a:buFont typeface="Arial" panose="020B0604020202020204" pitchFamily="34" charset="0"/>
              <a:buChar char="•"/>
            </a:pPr>
            <a:r>
              <a:rPr lang="en-US" b="1" dirty="0"/>
              <a:t>How to set fill factor?</a:t>
            </a:r>
          </a:p>
          <a:p>
            <a:pPr lvl="2"/>
            <a:r>
              <a:rPr lang="en-US" dirty="0"/>
              <a:t>Option in CREATE INDEX and ALTER INDEX…REBUILD.</a:t>
            </a:r>
          </a:p>
          <a:p>
            <a:pPr lvl="2"/>
            <a:r>
              <a:rPr lang="en-US" dirty="0"/>
              <a:t>Once set, future REBUILDs will respect the setting until it is manually changed.</a:t>
            </a:r>
          </a:p>
          <a:p>
            <a:pPr marL="171450" lvl="0" indent="-171450">
              <a:buFont typeface="Arial" panose="020B0604020202020204" pitchFamily="34" charset="0"/>
              <a:buChar char="•"/>
            </a:pPr>
            <a:r>
              <a:rPr lang="en-US" b="1" baseline="0" dirty="0"/>
              <a:t>Techniques used to reduce fill factor, </a:t>
            </a:r>
            <a:r>
              <a:rPr lang="en-US" baseline="0" dirty="0"/>
              <a:t>which have been discussed earlier in this lesson.  </a:t>
            </a:r>
          </a:p>
          <a:p>
            <a:pPr marL="280756" lvl="1" indent="-171450"/>
            <a:r>
              <a:rPr lang="en-US" baseline="0" dirty="0"/>
              <a:t>The exception is minimizing updates. This is not an indexing issue, but can definitely impact fragmentation.</a:t>
            </a:r>
          </a:p>
          <a:p>
            <a:pPr lvl="2"/>
            <a:r>
              <a:rPr lang="en-US" dirty="0"/>
              <a:t>Update in sets, rather than one at a time. </a:t>
            </a:r>
          </a:p>
          <a:p>
            <a:pPr lvl="2"/>
            <a:r>
              <a:rPr lang="en-US" b="1" dirty="0"/>
              <a:t>Do not insert with immediate update</a:t>
            </a:r>
            <a:r>
              <a:rPr lang="en-US" dirty="0"/>
              <a:t>. Typically, this is done to look up values in other tables.</a:t>
            </a:r>
            <a:r>
              <a:rPr lang="en-US" baseline="0" dirty="0"/>
              <a:t> Backfilling null values with the values looked up can increase the chance that the pages just added will not fit after the update. </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a:p>
        </p:txBody>
      </p:sp>
    </p:spTree>
    <p:extLst>
      <p:ext uri="{BB962C8B-B14F-4D97-AF65-F5344CB8AC3E}">
        <p14:creationId xmlns:p14="http://schemas.microsoft.com/office/powerpoint/2010/main" val="3109214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Choosing Indexes</a:t>
            </a:r>
          </a:p>
          <a:p>
            <a:pPr marL="171450" indent="-171450">
              <a:buFont typeface="Arial" panose="020B0604020202020204" pitchFamily="34" charset="0"/>
              <a:buChar char="•"/>
            </a:pPr>
            <a:r>
              <a:rPr lang="en-US"/>
              <a:t>Always evaluate duplicate/redundant/similar indexes before creating new index, technique called Index consolida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missing_index_details</a:t>
            </a: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da-DK"/>
              <a:t>sys.dm_db_index_usage_stats </a:t>
            </a:r>
            <a:endParaRPr lang="en-US"/>
          </a:p>
          <a:p>
            <a:pPr marL="0" indent="0">
              <a:buFont typeface="Arial" panose="020B0604020202020204" pitchFamily="34" charset="0"/>
              <a:buNone/>
            </a:pPr>
            <a:endParaRPr lang="en-US"/>
          </a:p>
          <a:p>
            <a:pPr marL="171450" indent="-171450">
              <a:buFont typeface="Arial" panose="020B0604020202020204" pitchFamily="34" charset="0"/>
              <a:buChar char="•"/>
            </a:pPr>
            <a:r>
              <a:rPr lang="en-US"/>
              <a:t>Reducing Fragmentation</a:t>
            </a:r>
          </a:p>
          <a:p>
            <a:pPr marL="109306" lvl="1" indent="0">
              <a:buNone/>
            </a:pPr>
            <a:r>
              <a:rPr lang="en-US"/>
              <a:t>This</a:t>
            </a:r>
            <a:r>
              <a:rPr lang="en-US" baseline="0"/>
              <a:t> slide goes over some of the </a:t>
            </a:r>
            <a:r>
              <a:rPr lang="en-US" b="1" baseline="0"/>
              <a:t>techniques used to reduce fill factor, </a:t>
            </a:r>
            <a:r>
              <a:rPr lang="en-US" baseline="0"/>
              <a:t>which have been discussed earlier in this lesson.  </a:t>
            </a:r>
          </a:p>
          <a:p>
            <a:pPr marL="109306" lvl="1" indent="0">
              <a:buNone/>
            </a:pPr>
            <a:r>
              <a:rPr lang="en-US" baseline="0"/>
              <a:t>The exception is minimizing updates. </a:t>
            </a:r>
          </a:p>
          <a:p>
            <a:pPr marL="280756" lvl="1" indent="-171450"/>
            <a:r>
              <a:rPr lang="en-US" baseline="0"/>
              <a:t>This is not an indexing issue, but can definitely impact fragmentation.</a:t>
            </a:r>
          </a:p>
          <a:p>
            <a:pPr lvl="2"/>
            <a:r>
              <a:rPr lang="en-US" b="1"/>
              <a:t>Update in sets, rather than one at a time</a:t>
            </a:r>
            <a:r>
              <a:rPr lang="en-US" b="0"/>
              <a:t>.</a:t>
            </a:r>
            <a:r>
              <a:rPr lang="en-US" b="1"/>
              <a:t>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pPr marL="171450"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3</a:t>
            </a:fld>
            <a:endParaRPr lang="en-US" noProof="0"/>
          </a:p>
        </p:txBody>
      </p:sp>
    </p:spTree>
    <p:extLst>
      <p:ext uri="{BB962C8B-B14F-4D97-AF65-F5344CB8AC3E}">
        <p14:creationId xmlns:p14="http://schemas.microsoft.com/office/powerpoint/2010/main" val="11975423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endParaRPr lang="en-US" dirty="0"/>
          </a:p>
          <a:p>
            <a:pPr marL="171450" indent="-171450">
              <a:buFont typeface="Arial" panose="020B0604020202020204" pitchFamily="34" charset="0"/>
              <a:buChar char="•"/>
            </a:pPr>
            <a:r>
              <a:rPr lang="en-US" dirty="0"/>
              <a:t>Reviewing</a:t>
            </a:r>
            <a:r>
              <a:rPr lang="en-US" baseline="0" dirty="0"/>
              <a:t> index usage is a great way to decide which indexes are not needed. However, you also need a way to find indexes that need to be added.  </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o support this, Microsoft SQL Server identifies indexes that would benefit a query when the query is being compiled, and includes it in the query plan. In addition, SQL Server keeps a running tally of the total cost benefit to the query. As queries are executed more often, the total cost saving grows. Doing so lets you prioritize the indexes that need to be added.</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dirty="0"/>
              <a:t>Database Tuning Advisor makes</a:t>
            </a:r>
            <a:r>
              <a:rPr lang="en-US" baseline="0" dirty="0"/>
              <a:t> index recommendations as well.  </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a:p>
        </p:txBody>
      </p:sp>
    </p:spTree>
    <p:extLst>
      <p:ext uri="{BB962C8B-B14F-4D97-AF65-F5344CB8AC3E}">
        <p14:creationId xmlns:p14="http://schemas.microsoft.com/office/powerpoint/2010/main" val="31129400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Choosing Indexes</a:t>
            </a:r>
          </a:p>
          <a:p>
            <a:pPr marL="171450" indent="-171450">
              <a:buFont typeface="Arial" panose="020B0604020202020204" pitchFamily="34" charset="0"/>
              <a:buChar char="•"/>
            </a:pPr>
            <a:r>
              <a:rPr lang="en-US"/>
              <a:t>Always evaluate duplicate/redundant/similar indexes before creating new index , technique called Index consolida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missing_index_details –&gt;covered in detail in upcoming chapter</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r>
              <a:rPr lang="da-DK"/>
              <a:t>sys.dm_db_index_usage_stats    </a:t>
            </a:r>
            <a:r>
              <a:rPr lang="en-US" sz="882" b="1" i="0" kern="1200" baseline="0">
                <a:solidFill>
                  <a:schemeClr val="tx1"/>
                </a:solidFill>
                <a:effectLst/>
                <a:latin typeface="+mn-lt"/>
                <a:ea typeface="+mn-ea"/>
                <a:cs typeface="+mn-cs"/>
              </a:rPr>
              <a:t>–&gt;covered in detail in upcoming chapter along with operational stats</a:t>
            </a:r>
            <a:r>
              <a:rPr lang="en-US" sz="882" b="0" i="0" kern="1200" baseline="0">
                <a:solidFill>
                  <a:schemeClr val="tx1"/>
                </a:solidFill>
                <a:effectLst/>
                <a:latin typeface="+mn-lt"/>
                <a:ea typeface="+mn-ea"/>
                <a:cs typeface="+mn-cs"/>
              </a:rPr>
              <a:t>.</a:t>
            </a:r>
            <a:endParaRPr lang="en-US"/>
          </a:p>
          <a:p>
            <a:pPr marL="171450" indent="-171450">
              <a:buFont typeface="Arial" panose="020B0604020202020204" pitchFamily="34" charset="0"/>
              <a:buChar char="•"/>
            </a:pPr>
            <a:r>
              <a:rPr lang="en-US"/>
              <a:t>Reducing Fragmentation</a:t>
            </a:r>
          </a:p>
          <a:p>
            <a:pPr marL="109306" lvl="1" indent="0">
              <a:buNone/>
            </a:pPr>
            <a:r>
              <a:rPr lang="en-US"/>
              <a:t>This</a:t>
            </a:r>
            <a:r>
              <a:rPr lang="en-US" baseline="0"/>
              <a:t> slide goes over some of the </a:t>
            </a:r>
            <a:r>
              <a:rPr lang="en-US" b="1" baseline="0"/>
              <a:t>techniques used to reduce fill factor, </a:t>
            </a:r>
            <a:r>
              <a:rPr lang="en-US" baseline="0"/>
              <a:t>which have been discussed earlier in this lesson.  </a:t>
            </a:r>
          </a:p>
          <a:p>
            <a:pPr marL="109306" lvl="1" indent="0">
              <a:buNone/>
            </a:pPr>
            <a:r>
              <a:rPr lang="en-US" baseline="0"/>
              <a:t>The exception is minimizing updates. </a:t>
            </a:r>
          </a:p>
          <a:p>
            <a:pPr marL="280756" lvl="1" indent="-171450"/>
            <a:r>
              <a:rPr lang="en-US" baseline="0"/>
              <a:t>This is not an indexing issue, but can definitely impact fragmentation.</a:t>
            </a:r>
          </a:p>
          <a:p>
            <a:pPr lvl="2"/>
            <a:r>
              <a:rPr lang="en-US" b="1"/>
              <a:t>Update in sets, rather than one at a time</a:t>
            </a:r>
            <a:r>
              <a:rPr lang="en-US" b="0"/>
              <a:t>.</a:t>
            </a:r>
            <a:r>
              <a:rPr lang="en-US" b="1"/>
              <a:t>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pPr marL="171450"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a:p>
        </p:txBody>
      </p:sp>
    </p:spTree>
    <p:extLst>
      <p:ext uri="{BB962C8B-B14F-4D97-AF65-F5344CB8AC3E}">
        <p14:creationId xmlns:p14="http://schemas.microsoft.com/office/powerpoint/2010/main" val="299423941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900">
                <a:solidFill>
                  <a:srgbClr val="000000"/>
                </a:solidFill>
                <a:latin typeface="Consolas" panose="020B0609020204030204" pitchFamily="49" charset="0"/>
              </a:rPr>
              <a:t>M05L05Demo01</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a:t>
            </a:r>
            <a:r>
              <a:rPr lang="en-US" sz="800" i="1">
                <a:solidFill>
                  <a:srgbClr val="000000"/>
                </a:solidFill>
                <a:latin typeface="Consolas" panose="020B0609020204030204" pitchFamily="49" charset="0"/>
              </a:rPr>
              <a:t>M05L05Demo01</a:t>
            </a:r>
            <a:r>
              <a:rPr lang="en-US" sz="882" i="1" noProof="1">
                <a:solidFill>
                  <a:prstClr val="black"/>
                </a:solidFill>
                <a:latin typeface="Segoe UI Light" pitchFamily="34" charset="0"/>
              </a:rPr>
              <a:t>\</a:t>
            </a:r>
            <a:r>
              <a:rPr lang="en-US" i="1"/>
              <a:t>IndexUsage.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32884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In relational databases, a condition (or predicate) in a query is said to be </a:t>
            </a:r>
            <a:r>
              <a:rPr lang="en-US" sz="882" b="0" i="0" kern="1200" baseline="0" dirty="0" err="1">
                <a:solidFill>
                  <a:schemeClr val="tx1"/>
                </a:solidFill>
                <a:effectLst/>
                <a:latin typeface="+mn-lt"/>
                <a:ea typeface="+mn-ea"/>
                <a:cs typeface="+mn-cs"/>
              </a:rPr>
              <a:t>sargable</a:t>
            </a:r>
            <a:r>
              <a:rPr lang="en-US" sz="882" b="0" i="0" kern="1200" baseline="0" dirty="0">
                <a:solidFill>
                  <a:schemeClr val="tx1"/>
                </a:solidFill>
                <a:effectLst/>
                <a:latin typeface="+mn-lt"/>
                <a:ea typeface="+mn-ea"/>
                <a:cs typeface="+mn-cs"/>
              </a:rPr>
              <a:t> if the DBMS engine can take advantage of an index to speed up the execution of the query. The term is derived from a contraction of Search </a:t>
            </a:r>
            <a:r>
              <a:rPr lang="en-US" sz="882" b="0" i="0" kern="1200" baseline="0" dirty="0" err="1">
                <a:solidFill>
                  <a:schemeClr val="tx1"/>
                </a:solidFill>
                <a:effectLst/>
                <a:latin typeface="+mn-lt"/>
                <a:ea typeface="+mn-ea"/>
                <a:cs typeface="+mn-cs"/>
              </a:rPr>
              <a:t>ARGument</a:t>
            </a:r>
            <a:r>
              <a:rPr lang="en-US" sz="882" b="0" i="0" kern="1200" baseline="0" dirty="0">
                <a:solidFill>
                  <a:schemeClr val="tx1"/>
                </a:solidFill>
                <a:effectLst/>
                <a:latin typeface="+mn-lt"/>
                <a:ea typeface="+mn-ea"/>
                <a:cs typeface="+mn-cs"/>
              </a:rPr>
              <a: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en.wikipedia.org/wiki/Sargable</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961542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5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Index Maintenan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586018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3202322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nswer </a:t>
            </a:r>
            <a:r>
              <a:rPr lang="en-US" b="1" baseline="0"/>
              <a:t>1: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solidFill>
                  <a:schemeClr val="accent4"/>
                </a:solidFill>
              </a:rPr>
              <a:t>sys.dm_db_index_usage_stats </a:t>
            </a:r>
            <a:r>
              <a:rPr lang="en-US" baseline="0">
                <a:solidFill>
                  <a:schemeClr val="bg1"/>
                </a:solidFill>
              </a:rPr>
              <a:t>DMV</a:t>
            </a:r>
            <a:r>
              <a:rPr lang="en-US" baseline="0">
                <a:solidFill>
                  <a:schemeClr val="accent4"/>
                </a:solidFill>
              </a:rPr>
              <a:t>  </a:t>
            </a:r>
            <a:r>
              <a:rPr lang="en-US" baseline="0"/>
              <a:t>and </a:t>
            </a:r>
            <a:r>
              <a:rPr lang="en-US" baseline="0">
                <a:solidFill>
                  <a:schemeClr val="accent4"/>
                </a:solidFill>
              </a:rPr>
              <a:t>sys.dm_db_index_operational_stats </a:t>
            </a:r>
            <a:r>
              <a:rPr lang="en-US" baseline="0"/>
              <a:t>DMF are used to monitor index usages.</a:t>
            </a:r>
          </a:p>
          <a:p>
            <a:r>
              <a:rPr lang="en-US" b="1"/>
              <a:t>Answer </a:t>
            </a:r>
            <a:r>
              <a:rPr lang="en-US" b="1" baseline="0"/>
              <a:t>2: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solidFill>
                  <a:schemeClr val="accent4"/>
                </a:solidFill>
              </a:rPr>
              <a:t>No it is not wise. Focus on the most beneficial ones, based on total cost savings may top 10. Compare those indexes against other recommendations for the same tables and against existing indexes to see if consolidating them give benefits, or to remove an existing index when adding a recommended one that is similar.</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1" baseline="0">
                <a:solidFill>
                  <a:schemeClr val="accent4"/>
                </a:solidFill>
              </a:rPr>
              <a:t>Answer 3:</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a:t>   MLP is used for online Indexe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9</a:t>
            </a:fld>
            <a:endParaRPr lang="en-US" noProof="0"/>
          </a:p>
        </p:txBody>
      </p:sp>
    </p:spTree>
    <p:extLst>
      <p:ext uri="{BB962C8B-B14F-4D97-AF65-F5344CB8AC3E}">
        <p14:creationId xmlns:p14="http://schemas.microsoft.com/office/powerpoint/2010/main" val="25221955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0" indent="-171450">
              <a:buFontTx/>
              <a:buChar char="-"/>
            </a:pPr>
            <a:endParaRPr lang="en-US" sz="900" kern="120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TechReady13</a:t>
            </a:r>
          </a:p>
        </p:txBody>
      </p:sp>
      <p:sp>
        <p:nvSpPr>
          <p:cNvPr id="5" name="Date Placeholder 4"/>
          <p:cNvSpPr>
            <a:spLocks noGrp="1"/>
          </p:cNvSpPr>
          <p:nvPr>
            <p:ph type="dt" idx="11"/>
          </p:nvPr>
        </p:nvSpPr>
        <p:spPr/>
        <p:txBody>
          <a:bodyPr/>
          <a:lstStyle/>
          <a:p>
            <a:fld id="{EB1F9E91-8488-41B8-975F-698524AB2151}" type="datetime1">
              <a:rPr lang="en-US" smtClean="0">
                <a:solidFill>
                  <a:prstClr val="black"/>
                </a:solidFill>
              </a:rPr>
              <a:pPr/>
              <a:t>4/5/2023</a:t>
            </a:fld>
            <a:endParaRPr lang="en-US">
              <a:solidFill>
                <a:prstClr val="black"/>
              </a:solidFill>
            </a:endParaRPr>
          </a:p>
        </p:txBody>
      </p:sp>
      <p:sp>
        <p:nvSpPr>
          <p:cNvPr id="6" name="Footer Placeholder 5"/>
          <p:cNvSpPr>
            <a:spLocks noGrp="1"/>
          </p:cNvSpPr>
          <p:nvPr>
            <p:ph type="ftr" sz="quarter" idx="12"/>
          </p:nvPr>
        </p:nvSpPr>
        <p:spPr/>
        <p:txBody>
          <a:bodyPr/>
          <a:lstStyle/>
          <a:p>
            <a:r>
              <a:rPr lang="en-US">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pitchFamily="34" charset="0"/>
              </a:rPr>
            </a:br>
            <a:r>
              <a:rPr lang="en-US">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72</a:t>
            </a:fld>
            <a:endParaRPr lang="en-US">
              <a:solidFill>
                <a:prstClr val="black"/>
              </a:solidFill>
            </a:endParaRPr>
          </a:p>
        </p:txBody>
      </p:sp>
    </p:spTree>
    <p:extLst>
      <p:ext uri="{BB962C8B-B14F-4D97-AF65-F5344CB8AC3E}">
        <p14:creationId xmlns:p14="http://schemas.microsoft.com/office/powerpoint/2010/main" val="360239183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This material assumes that the audience understands the basics of Clustered Column Store Indexes, so this is just a really quick recap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61704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orma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314FB-40E1-401E-A72F-D4D7E8FBD2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9908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CI –Taxonomy</a:t>
            </a:r>
          </a:p>
          <a:p>
            <a:r>
              <a:rPr lang="en-US" dirty="0"/>
              <a:t>Not really a clustered index – misnomer, the data is not ordered in a CCI</a:t>
            </a:r>
          </a:p>
          <a:p>
            <a:r>
              <a:rPr lang="en-US" dirty="0"/>
              <a:t>A </a:t>
            </a:r>
            <a:r>
              <a:rPr lang="en-US" dirty="0" err="1"/>
              <a:t>ColumnStore</a:t>
            </a:r>
            <a:r>
              <a:rPr lang="en-US" dirty="0"/>
              <a:t> is a different storage format for data (vs Row Store)</a:t>
            </a:r>
          </a:p>
          <a:p>
            <a:r>
              <a:rPr lang="en-US" dirty="0"/>
              <a:t>Replaces the </a:t>
            </a:r>
            <a:r>
              <a:rPr lang="en-US" i="1" dirty="0"/>
              <a:t>Clustered</a:t>
            </a:r>
            <a:r>
              <a:rPr lang="en-US" dirty="0"/>
              <a:t> index b-tree, hence the name</a:t>
            </a:r>
          </a:p>
          <a:p>
            <a:endParaRPr lang="en-US" dirty="0"/>
          </a:p>
          <a:p>
            <a:r>
              <a:rPr lang="en-US" dirty="0"/>
              <a:t>In a CCI, the data is split:</a:t>
            </a:r>
          </a:p>
          <a:p>
            <a:pPr marL="232943" indent="-232943">
              <a:buAutoNum type="arabicPeriod"/>
            </a:pPr>
            <a:r>
              <a:rPr lang="en-US" dirty="0"/>
              <a:t>Into Rowgroups, of up to 1,048,576 rows (2 ^ 20), referred to as 1M* rows in this presentation</a:t>
            </a:r>
          </a:p>
          <a:p>
            <a:pPr marL="232943" indent="-232943">
              <a:buAutoNum type="arabicPeriod"/>
            </a:pPr>
            <a:r>
              <a:rPr lang="en-US" dirty="0"/>
              <a:t>Rowgroups are split by columns, into segments</a:t>
            </a:r>
          </a:p>
          <a:p>
            <a:pPr marL="232943" indent="-232943">
              <a:buAutoNum type="arabicPeriod"/>
            </a:pPr>
            <a:r>
              <a:rPr lang="en-US" dirty="0"/>
              <a:t>Each segment is compressed individually into separate BLOBs</a:t>
            </a:r>
          </a:p>
          <a:p>
            <a:pPr marL="232943" indent="-232943">
              <a:buAutoNum type="arabicPeriod"/>
            </a:pPr>
            <a:endParaRPr lang="en-US" dirty="0"/>
          </a:p>
          <a:p>
            <a:r>
              <a:rPr lang="en-US" dirty="0"/>
              <a:t>Each segment will compress much better than Page compression, mostly due to a consistent data type, and hence more repeating values. </a:t>
            </a:r>
          </a:p>
          <a:p>
            <a:r>
              <a:rPr lang="en-US" dirty="0"/>
              <a:t>Dictionary compression will take repeating values and store then in an associated Dictionary, and replace the value with a pointer. Dictionaries are specific to the </a:t>
            </a:r>
            <a:r>
              <a:rPr lang="en-US" dirty="0" err="1"/>
              <a:t>RowGroup</a:t>
            </a:r>
            <a:r>
              <a:rPr lang="en-US" dirty="0"/>
              <a:t>, not shared or global.</a:t>
            </a:r>
          </a:p>
          <a:p>
            <a:r>
              <a:rPr lang="en-US" dirty="0"/>
              <a:t>Examples of repeating values that could be put in a dictionary:</a:t>
            </a:r>
          </a:p>
          <a:p>
            <a:r>
              <a:rPr lang="en-US" dirty="0"/>
              <a:t>Data Type	Dictionary entry	Covered values</a:t>
            </a:r>
          </a:p>
          <a:p>
            <a:r>
              <a:rPr lang="en-US" dirty="0"/>
              <a:t>String	Server		SQL Server / Server OS / Windows Server</a:t>
            </a:r>
          </a:p>
          <a:p>
            <a:r>
              <a:rPr lang="en-US" dirty="0"/>
              <a:t>INT	10000		10001 / 10250 / 10999</a:t>
            </a:r>
          </a:p>
          <a:p>
            <a:r>
              <a:rPr lang="en-US" dirty="0"/>
              <a:t>Date	2020/01		2020/01/01 / 2020/01/15 / 2020/01/31</a:t>
            </a:r>
          </a:p>
          <a:p>
            <a:endParaRPr lang="en-US" dirty="0"/>
          </a:p>
          <a:p>
            <a:r>
              <a:rPr lang="en-US" dirty="0"/>
              <a:t>CCI Compression up to 15x.</a:t>
            </a:r>
          </a:p>
          <a:p>
            <a:endParaRPr lang="en-US" dirty="0"/>
          </a:p>
          <a:p>
            <a:pPr marL="232943" indent="-232943">
              <a:buAutoNum type="arabicPeriod"/>
            </a:pPr>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75</a:t>
            </a:fld>
            <a:endParaRPr lang="en-US"/>
          </a:p>
        </p:txBody>
      </p:sp>
    </p:spTree>
    <p:extLst>
      <p:ext uri="{BB962C8B-B14F-4D97-AF65-F5344CB8AC3E}">
        <p14:creationId xmlns:p14="http://schemas.microsoft.com/office/powerpoint/2010/main" val="12776148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ooter Placeholder 10"/>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2014 Microsoft Corporation  Microsoft Confidential</a:t>
            </a:r>
          </a:p>
        </p:txBody>
      </p:sp>
      <p:sp>
        <p:nvSpPr>
          <p:cNvPr id="16" name="Slide Image Placeholder 15"/>
          <p:cNvSpPr>
            <a:spLocks noGrp="1" noRot="1" noChangeAspect="1"/>
          </p:cNvSpPr>
          <p:nvPr>
            <p:ph type="sldImg"/>
          </p:nvPr>
        </p:nvSpPr>
        <p:spPr/>
      </p:sp>
      <p:sp>
        <p:nvSpPr>
          <p:cNvPr id="17" name="Notes Placeholder 16"/>
          <p:cNvSpPr>
            <a:spLocks noGrp="1"/>
          </p:cNvSpPr>
          <p:nvPr>
            <p:ph type="body" idx="1"/>
          </p:nvPr>
        </p:nvSpPr>
        <p:spPr/>
        <p:txBody>
          <a:bodyPr/>
          <a:lstStyle/>
          <a:p>
            <a:r>
              <a:rPr lang="en-GB" dirty="0"/>
              <a:t>For high performance and high compression rates, the columnstore index slices the table into groups of rows, called row groups, and then compresses each row group in a column-wise manner. The number of rows in the row group must be large enough to improve compression rates, and small enough to benefit from in-memory operations.</a:t>
            </a:r>
          </a:p>
          <a:p>
            <a:endParaRPr lang="en-GB" dirty="0"/>
          </a:p>
          <a:p>
            <a:r>
              <a:rPr lang="en-GB" dirty="0"/>
              <a:t>A rowgroup is a group of rows that are compressed into columnstore format at the same time. </a:t>
            </a:r>
          </a:p>
          <a:p>
            <a:endParaRPr lang="en-GB" dirty="0"/>
          </a:p>
          <a:p>
            <a:r>
              <a:rPr lang="en-GB" dirty="0"/>
              <a:t>A column segment is a column of data from within the rowgroup.</a:t>
            </a:r>
          </a:p>
          <a:p>
            <a:endParaRPr lang="en-GB" dirty="0"/>
          </a:p>
          <a:p>
            <a:r>
              <a:rPr lang="en-GB" dirty="0"/>
              <a:t>Each rowgroup contains one column segment for every column in the table. </a:t>
            </a:r>
          </a:p>
          <a:p>
            <a:endParaRPr lang="en-GB" dirty="0"/>
          </a:p>
          <a:p>
            <a:r>
              <a:rPr lang="en-GB" dirty="0"/>
              <a:t>Each column segment is compressed together and stored on physical media. </a:t>
            </a:r>
          </a:p>
          <a:p>
            <a:endParaRPr lang="en-GB" dirty="0"/>
          </a:p>
          <a:p>
            <a:endParaRPr lang="en-GB" dirty="0"/>
          </a:p>
        </p:txBody>
      </p:sp>
    </p:spTree>
    <p:extLst>
      <p:ext uri="{BB962C8B-B14F-4D97-AF65-F5344CB8AC3E}">
        <p14:creationId xmlns:p14="http://schemas.microsoft.com/office/powerpoint/2010/main" val="219053493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3"/>
              </a:rPr>
              <a:t>Columnstore indexes for data warehousing</a:t>
            </a:r>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4"/>
              </a:rPr>
              <a:t>Get started with columnstore for real-time operational analytics</a:t>
            </a:r>
            <a:r>
              <a:rPr lang="en-US" dirty="0"/>
              <a:t>.</a:t>
            </a:r>
          </a:p>
          <a:p>
            <a:endParaRPr lang="en-US" b="1" dirty="0"/>
          </a:p>
          <a:p>
            <a:r>
              <a:rPr lang="en-US" b="1" dirty="0"/>
              <a:t>Key Points:</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A columnstore index can be clustered or nonclustered. Both index function the sam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The difference is that NC index is a secondary index that’s created on a rowstore tabl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Clustered columnstore index provides the primary storage for the entire table, while a nonclustered index is a secondary index that contains a copy of some of the columns in the underlying tabl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Columnstore indexes are not well-suited for queries that seek specific individual valu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NCCI to perform analysis in a real time on OLTP</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A clustered columnstore index can have one or more nonclustered B-tree indexe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438912" marR="0" lvl="1" indent="-228600" algn="l" defTabSz="914400" rtl="0" eaLnBrk="1" fontAlgn="auto" latinLnBrk="0" hangingPunct="1">
              <a:lnSpc>
                <a:spcPct val="90000"/>
              </a:lnSpc>
              <a:spcBef>
                <a:spcPts val="333"/>
              </a:spcBef>
              <a:spcAft>
                <a:spcPts val="0"/>
              </a:spcAft>
              <a:buClrTx/>
              <a:buSzTx/>
              <a:buFontTx/>
              <a:buAutoNum type="arabicPeriod"/>
              <a:tabLst/>
              <a:defRPr/>
            </a:pPr>
            <a:r>
              <a:rPr lang="en-US" b="0" i="0" dirty="0">
                <a:solidFill>
                  <a:srgbClr val="171717"/>
                </a:solidFill>
                <a:effectLst/>
                <a:latin typeface="Segoe UI" panose="020B0502040204020203" pitchFamily="34" charset="0"/>
              </a:rPr>
              <a:t>Enforce primary key and foreign key constraints on a clustered columnstore index.</a:t>
            </a:r>
            <a:br>
              <a:rPr lang="en-US" dirty="0"/>
            </a:br>
            <a:r>
              <a:rPr lang="en-US" b="0" i="0" dirty="0">
                <a:solidFill>
                  <a:srgbClr val="171717"/>
                </a:solidFill>
                <a:effectLst/>
                <a:latin typeface="Segoe UI" panose="020B0502040204020203" pitchFamily="34" charset="0"/>
              </a:rPr>
              <a:t>2. Speed up queries that search for specific values or small ranges of values.</a:t>
            </a:r>
            <a:br>
              <a:rPr lang="en-US" dirty="0"/>
            </a:br>
            <a:r>
              <a:rPr lang="en-US" b="0" i="0" dirty="0">
                <a:solidFill>
                  <a:srgbClr val="171717"/>
                </a:solidFill>
                <a:effectLst/>
                <a:latin typeface="Segoe UI" panose="020B0502040204020203" pitchFamily="34" charset="0"/>
              </a:rPr>
              <a:t>3. Speed up updates and deletes of specific row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171717"/>
                </a:solidFill>
                <a:effectLst/>
                <a:latin typeface="Segoe UI" panose="020B0502040204020203" pitchFamily="34" charset="0"/>
              </a:rPr>
              <a:t>Only one columnstore index can be created.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171717"/>
                </a:solidFill>
                <a:effectLst/>
                <a:latin typeface="Segoe UI" panose="020B0502040204020203" pitchFamily="34" charset="0"/>
              </a:rPr>
              <a:t>The NC columnstore index requires extra storage since it contains a copy of the data in the rowstore table.</a:t>
            </a: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71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7038245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3"/>
              </a:rPr>
              <a:t>Columnstore indexes for data warehousing</a:t>
            </a:r>
            <a:r>
              <a:rPr lang="en-US" dirty="0"/>
              <a: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u="sng" dirty="0">
                <a:hlinkClick r:id="rId4"/>
              </a:rPr>
              <a:t>Get started with columnstore for real-time operational analytics</a:t>
            </a:r>
            <a:r>
              <a:rPr lang="en-US" dirty="0"/>
              <a:t>.</a:t>
            </a:r>
          </a:p>
          <a:p>
            <a:endParaRPr lang="en-US" b="1" dirty="0"/>
          </a:p>
          <a:p>
            <a:r>
              <a:rPr lang="en-US" b="1" dirty="0"/>
              <a:t>Key Points:</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A columnstore index can be clustered or nonclustered. Both index function the sam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The difference is that NC index is a secondary index that’s created on a rowstore tabl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Clustered columnstore index provides the primary storage for the entire table, while a nonclustered index is a secondary index that contains a copy of some of the columns in the underlying table.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Columnstore indexes are not well-suited for queries that seek specific individual valu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NCCI to perform analysis in a real time on OLTP</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555555"/>
                </a:solidFill>
                <a:effectLst/>
                <a:latin typeface="Open Sans"/>
              </a:rPr>
              <a:t>A clustered columnstore index can have one or more nonclustered B-tree indexes.</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438912" marR="0" lvl="1" indent="-228600" algn="l" defTabSz="914400" rtl="0" eaLnBrk="1" fontAlgn="auto" latinLnBrk="0" hangingPunct="1">
              <a:lnSpc>
                <a:spcPct val="90000"/>
              </a:lnSpc>
              <a:spcBef>
                <a:spcPts val="333"/>
              </a:spcBef>
              <a:spcAft>
                <a:spcPts val="0"/>
              </a:spcAft>
              <a:buClrTx/>
              <a:buSzTx/>
              <a:buFontTx/>
              <a:buAutoNum type="arabicPeriod"/>
              <a:tabLst/>
              <a:defRPr/>
            </a:pPr>
            <a:r>
              <a:rPr lang="en-US" b="0" i="0" dirty="0">
                <a:solidFill>
                  <a:srgbClr val="171717"/>
                </a:solidFill>
                <a:effectLst/>
                <a:latin typeface="Segoe UI" panose="020B0502040204020203" pitchFamily="34" charset="0"/>
              </a:rPr>
              <a:t>Enforce primary key and foreign key constraints on a clustered columnstore index.</a:t>
            </a:r>
            <a:br>
              <a:rPr lang="en-US" dirty="0"/>
            </a:br>
            <a:r>
              <a:rPr lang="en-US" b="0" i="0" dirty="0">
                <a:solidFill>
                  <a:srgbClr val="171717"/>
                </a:solidFill>
                <a:effectLst/>
                <a:latin typeface="Segoe UI" panose="020B0502040204020203" pitchFamily="34" charset="0"/>
              </a:rPr>
              <a:t>2. Speed up queries that search for specific values or small ranges of values.</a:t>
            </a:r>
            <a:br>
              <a:rPr lang="en-US" dirty="0"/>
            </a:br>
            <a:r>
              <a:rPr lang="en-US" b="0" i="0" dirty="0">
                <a:solidFill>
                  <a:srgbClr val="171717"/>
                </a:solidFill>
                <a:effectLst/>
                <a:latin typeface="Segoe UI" panose="020B0502040204020203" pitchFamily="34" charset="0"/>
              </a:rPr>
              <a:t>3. Speed up updates and deletes of specific row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171717"/>
                </a:solidFill>
                <a:effectLst/>
                <a:latin typeface="Segoe UI" panose="020B0502040204020203" pitchFamily="34" charset="0"/>
              </a:rPr>
              <a:t>Only one columnstore index can be created.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171717"/>
              </a:solidFill>
              <a:effectLst/>
              <a:latin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0" i="0" dirty="0">
                <a:solidFill>
                  <a:srgbClr val="171717"/>
                </a:solidFill>
                <a:effectLst/>
                <a:latin typeface="Segoe UI" panose="020B0502040204020203" pitchFamily="34" charset="0"/>
              </a:rPr>
              <a:t>The NC columnstore index requires extra storage since it contains a copy of the data in the rowstore table.</a:t>
            </a: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0" i="0" dirty="0">
              <a:solidFill>
                <a:srgbClr val="555555"/>
              </a:solidFill>
              <a:effectLst/>
              <a:latin typeface="Open Sans"/>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42929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171717"/>
              </a:solidFill>
              <a:effectLst/>
              <a:latin typeface="Segoe UI" panose="020B0502040204020203" pitchFamily="34" charset="0"/>
            </a:endParaRPr>
          </a:p>
          <a:p>
            <a:pPr algn="l"/>
            <a:r>
              <a:rPr lang="en-US" b="1" i="0" dirty="0">
                <a:solidFill>
                  <a:srgbClr val="171717"/>
                </a:solidFill>
                <a:effectLst/>
                <a:latin typeface="Segoe UI" panose="020B0502040204020203" pitchFamily="34" charset="0"/>
              </a:rPr>
              <a:t>Deltastore</a:t>
            </a:r>
          </a:p>
          <a:p>
            <a:pPr algn="l"/>
            <a:r>
              <a:rPr lang="en-US" b="0" i="0" dirty="0">
                <a:solidFill>
                  <a:srgbClr val="171717"/>
                </a:solidFill>
                <a:effectLst/>
                <a:latin typeface="Segoe UI" panose="020B0502040204020203" pitchFamily="34" charset="0"/>
              </a:rPr>
              <a:t>A columnstore index can have more than one delta rowgroup. All of the delta rowgroups are collectively called the deltastore.</a:t>
            </a:r>
          </a:p>
          <a:p>
            <a:pPr algn="l"/>
            <a:r>
              <a:rPr lang="en-US" b="0" i="0" dirty="0">
                <a:solidFill>
                  <a:srgbClr val="171717"/>
                </a:solidFill>
                <a:effectLst/>
                <a:latin typeface="Segoe UI" panose="020B0502040204020203" pitchFamily="34" charset="0"/>
              </a:rPr>
              <a:t>During a large bulk load, most of the rows go directly to the columnstore without passing through the deltastore. Some rows at the end of the bulk load might be too few in number to meet the minimum size of a rowgroup, which is 102,400 rows. As a result, the final rows go to the deltastore instead of the columnstore. For small bulk loads with less than 102,400 rows, all of the rows go directly to the deltast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171717"/>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171717"/>
                </a:solidFill>
                <a:effectLst/>
                <a:latin typeface="Segoe UI" panose="020B0502040204020203" pitchFamily="34" charset="0"/>
              </a:rPr>
              <a:t>Columnstore indexes: Overview</a:t>
            </a:r>
            <a:endParaRPr lang="en-US" dirty="0">
              <a:hlinkClick r:id="" action="ppaction://noaction"/>
            </a:endParaRPr>
          </a:p>
          <a:p>
            <a:r>
              <a:rPr lang="en-US" dirty="0">
                <a:hlinkClick r:id="" action="ppaction://noaction"/>
              </a:rPr>
              <a:t>https://docs.microsoft.com/en-us/sql/relational-databases/indexes/columnstore-indexes-overview?view=sql-server-ver15</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597801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EDS</a:t>
            </a:r>
            <a:r>
              <a:rPr lang="en-GB" baseline="0" dirty="0"/>
              <a:t> VERIFICATION</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a:t>Rows affected by update = # distinct values affected by the update </a:t>
            </a:r>
            <a:r>
              <a:rPr lang="en-GB" u="sng" dirty="0"/>
              <a:t>not</a:t>
            </a:r>
            <a:r>
              <a:rPr lang="en-GB" dirty="0"/>
              <a:t> actual rows updated</a:t>
            </a:r>
          </a:p>
          <a:p>
            <a:endParaRPr lang="en-GB"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F5C5AB6-1F1D-442D-AECA-F6C5D7A8D5FD}" type="slidenum">
              <a:rPr kumimoji="0" lang="en-GB"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34432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r>
              <a:rPr lang="en-GB" dirty="0"/>
              <a:t>Segment</a:t>
            </a:r>
            <a:r>
              <a:rPr lang="en-GB" baseline="0" dirty="0"/>
              <a:t> elimination can increase the speed of data retrieval and it is important to understand the basics:</a:t>
            </a:r>
          </a:p>
          <a:p>
            <a:pPr marL="171450" lvl="0" indent="-171450">
              <a:buFont typeface="Arial" panose="020B0604020202020204" pitchFamily="34" charset="0"/>
              <a:buChar char="•"/>
            </a:pPr>
            <a:r>
              <a:rPr lang="en-US" baseline="0" dirty="0"/>
              <a:t>It will skip large chunks of data to speed up scans.</a:t>
            </a:r>
            <a:endParaRPr lang="en-GB" baseline="0" dirty="0"/>
          </a:p>
          <a:p>
            <a:pPr marL="171450" lvl="0" indent="-171450">
              <a:buFont typeface="Arial" panose="020B0604020202020204" pitchFamily="34" charset="0"/>
              <a:buChar char="•"/>
            </a:pPr>
            <a:r>
              <a:rPr lang="en-US" baseline="0" dirty="0"/>
              <a:t>Each partition in a columnstore index is broken into segments. </a:t>
            </a:r>
            <a:endParaRPr lang="en-GB" baseline="0" dirty="0"/>
          </a:p>
          <a:p>
            <a:pPr marL="171450" lvl="0" indent="-171450">
              <a:buFont typeface="Arial" panose="020B0604020202020204" pitchFamily="34" charset="0"/>
              <a:buChar char="•"/>
            </a:pPr>
            <a:r>
              <a:rPr lang="en-US" baseline="0" dirty="0"/>
              <a:t>Each segment has metadata that stores the minimum and maximum value of each column for the segment. </a:t>
            </a:r>
            <a:endParaRPr lang="en-GB" baseline="0" dirty="0"/>
          </a:p>
          <a:p>
            <a:pPr marL="171450" lvl="0" indent="-171450">
              <a:buFont typeface="Arial" panose="020B0604020202020204" pitchFamily="34" charset="0"/>
              <a:buChar char="•"/>
            </a:pPr>
            <a:r>
              <a:rPr lang="en-US" baseline="0" dirty="0"/>
              <a:t>The storage engine checks filter conditions against the metadata. </a:t>
            </a:r>
            <a:endParaRPr lang="en-GB" baseline="0" dirty="0"/>
          </a:p>
          <a:p>
            <a:pPr marL="171450" lvl="0" indent="-171450">
              <a:buFont typeface="Arial" panose="020B0604020202020204" pitchFamily="34" charset="0"/>
              <a:buChar char="•"/>
            </a:pPr>
            <a:r>
              <a:rPr lang="en-US" baseline="0" dirty="0"/>
              <a:t>If it can detect that no rows will qualify, then it skips the entire segment without even reading it from disk. </a:t>
            </a:r>
            <a:endParaRPr lang="ja-JP" altLang="en-US" dirty="0"/>
          </a:p>
          <a:p>
            <a:endParaRPr lang="en-GB" dirty="0"/>
          </a:p>
        </p:txBody>
      </p:sp>
      <p:sp>
        <p:nvSpPr>
          <p:cNvPr id="2" name="Footer Placeholder 1"/>
          <p:cNvSpPr>
            <a:spLocks noGrp="1"/>
          </p:cNvSpPr>
          <p:nvPr>
            <p:ph type="ftr" sz="quarter" idx="10"/>
          </p:nvPr>
        </p:nvSpPr>
        <p:spPr/>
        <p:txBody>
          <a:bodyPr/>
          <a:lstStyle/>
          <a:p>
            <a:r>
              <a:rPr lang="en-GB">
                <a:solidFill>
                  <a:prstClr val="black"/>
                </a:solidFill>
              </a:rPr>
              <a:t>© 2014 Microsoft Corporation Microsoft Confidential</a:t>
            </a:r>
          </a:p>
        </p:txBody>
      </p:sp>
      <p:sp>
        <p:nvSpPr>
          <p:cNvPr id="3" name="Slide Number Placeholder 2"/>
          <p:cNvSpPr>
            <a:spLocks noGrp="1"/>
          </p:cNvSpPr>
          <p:nvPr>
            <p:ph type="sldNum" sz="quarter" idx="11"/>
          </p:nvPr>
        </p:nvSpPr>
        <p:spPr/>
        <p:txBody>
          <a:bodyPr/>
          <a:lstStyle/>
          <a:p>
            <a:fld id="{4D88509A-8F78-4E70-919E-28B267E030AC}" type="slidenum">
              <a:rPr lang="en-GB" smtClean="0">
                <a:solidFill>
                  <a:prstClr val="black"/>
                </a:solidFill>
              </a:rPr>
              <a:pPr/>
              <a:t>81</a:t>
            </a:fld>
            <a:endParaRPr lang="en-GB">
              <a:solidFill>
                <a:prstClr val="black"/>
              </a:solidFill>
            </a:endParaRPr>
          </a:p>
        </p:txBody>
      </p:sp>
    </p:spTree>
    <p:extLst>
      <p:ext uri="{BB962C8B-B14F-4D97-AF65-F5344CB8AC3E}">
        <p14:creationId xmlns:p14="http://schemas.microsoft.com/office/powerpoint/2010/main" val="27458517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example, given the Select statement only references the </a:t>
            </a:r>
            <a:r>
              <a:rPr lang="en-GB" dirty="0" err="1"/>
              <a:t>ProductKey</a:t>
            </a:r>
            <a:r>
              <a:rPr lang="en-GB" dirty="0"/>
              <a:t>, </a:t>
            </a:r>
            <a:r>
              <a:rPr lang="en-GB" dirty="0" err="1"/>
              <a:t>SalesAmount</a:t>
            </a:r>
            <a:r>
              <a:rPr lang="en-GB" dirty="0"/>
              <a:t> and the </a:t>
            </a:r>
            <a:r>
              <a:rPr lang="en-GB" dirty="0" err="1"/>
              <a:t>OrderDateKey</a:t>
            </a:r>
            <a:r>
              <a:rPr lang="en-GB" dirty="0"/>
              <a:t> columns, the remainder of the columns do not get fetched. This is possible as the unit of storage for CCI is the segment which individually comprises data for a single column.</a:t>
            </a:r>
          </a:p>
          <a:p>
            <a:pPr defTabSz="931774">
              <a:defRPr/>
            </a:pPr>
            <a:r>
              <a:rPr lang="en-US" b="0" dirty="0"/>
              <a:t>Segment elimination can skip large chunks of data to speed up scans. </a:t>
            </a:r>
            <a:r>
              <a:rPr lang="en-US" dirty="0"/>
              <a:t>Each partition in a columnstore indexes is broken into 1M*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dirty="0"/>
          </a:p>
          <a:p>
            <a:endParaRPr lang="en-GB" dirty="0"/>
          </a:p>
          <a:p>
            <a:r>
              <a:rPr lang="en-GB" dirty="0"/>
              <a:t>The CCI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GB" dirty="0"/>
          </a:p>
          <a:p>
            <a:r>
              <a:rPr lang="en-US" altLang="ja-JP" baseline="0" dirty="0"/>
              <a:t>In the example, the predicate is </a:t>
            </a:r>
            <a:r>
              <a:rPr lang="en-US" altLang="ja-JP" b="1" i="1" baseline="0" dirty="0"/>
              <a:t>“</a:t>
            </a:r>
            <a:r>
              <a:rPr lang="en-US" altLang="ja-JP" b="1" i="1" baseline="0" dirty="0" err="1"/>
              <a:t>OrderDateKey</a:t>
            </a:r>
            <a:r>
              <a:rPr lang="en-US" altLang="ja-JP" b="1" i="1" baseline="0" dirty="0"/>
              <a:t> &lt; 20101108”</a:t>
            </a:r>
          </a:p>
          <a:p>
            <a:r>
              <a:rPr lang="en-US" altLang="ja-JP" baseline="0" dirty="0"/>
              <a:t>Using the predicate in the query and the segment metadata, the query processor is able to determine whether an entire </a:t>
            </a:r>
            <a:r>
              <a:rPr lang="en-US" altLang="ja-JP" baseline="0" dirty="0" err="1"/>
              <a:t>RowGroup</a:t>
            </a:r>
            <a:r>
              <a:rPr lang="en-US" altLang="ja-JP" baseline="0" dirty="0"/>
              <a:t> can be skipped or not thereby saving on IO and CPU time. In the example you visually see that an entire segment is eliminated as the min and max values are outside of the range of the predicate.</a:t>
            </a:r>
          </a:p>
          <a:p>
            <a:endParaRPr lang="en-US" altLang="ja-JP" baseline="0" dirty="0"/>
          </a:p>
          <a:p>
            <a:r>
              <a:rPr lang="en-US" altLang="ja-JP" baseline="0" dirty="0"/>
              <a:t>In this case, certain segments are skipped by both Segment and Rowgroup elimination, this is shown to illustrate that the elimination mechanisms operate independently.</a:t>
            </a:r>
          </a:p>
          <a:p>
            <a:endParaRPr lang="en-US" altLang="ja-JP" baseline="0" dirty="0"/>
          </a:p>
          <a:p>
            <a:r>
              <a:rPr lang="en-US" altLang="ja-JP" baseline="0" dirty="0"/>
              <a:t>On a partitioned table, partition elimination can work in conjunction with segment elimination.</a:t>
            </a:r>
            <a:endParaRPr lang="en-US" altLang="ja-JP" dirty="0"/>
          </a:p>
          <a:p>
            <a:endParaRPr lang="en-GB"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82</a:t>
            </a:fld>
            <a:endParaRPr lang="en-US"/>
          </a:p>
        </p:txBody>
      </p:sp>
    </p:spTree>
    <p:extLst>
      <p:ext uri="{BB962C8B-B14F-4D97-AF65-F5344CB8AC3E}">
        <p14:creationId xmlns:p14="http://schemas.microsoft.com/office/powerpoint/2010/main" val="9405350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example, given the Select statement only references the </a:t>
            </a:r>
            <a:r>
              <a:rPr lang="en-GB" dirty="0" err="1"/>
              <a:t>ProductKey</a:t>
            </a:r>
            <a:r>
              <a:rPr lang="en-GB" dirty="0"/>
              <a:t>, </a:t>
            </a:r>
            <a:r>
              <a:rPr lang="en-GB" dirty="0" err="1"/>
              <a:t>SalesAmount</a:t>
            </a:r>
            <a:r>
              <a:rPr lang="en-GB" dirty="0"/>
              <a:t> and the </a:t>
            </a:r>
            <a:r>
              <a:rPr lang="en-GB" dirty="0" err="1"/>
              <a:t>OrderDateKey</a:t>
            </a:r>
            <a:r>
              <a:rPr lang="en-GB" dirty="0"/>
              <a:t> columns, the remainder of the columns do not get fetched. This is possible as the unit of storage for CCI is the segment which individually comprises data for a single column.</a:t>
            </a:r>
          </a:p>
          <a:p>
            <a:pPr defTabSz="931774">
              <a:defRPr/>
            </a:pPr>
            <a:r>
              <a:rPr lang="en-US" b="0" dirty="0"/>
              <a:t>Segment elimination can skip large chunks of data to speed up scans. </a:t>
            </a:r>
            <a:r>
              <a:rPr lang="en-US" dirty="0"/>
              <a:t>Each partition in a columnstore indexes is broken into 1M*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dirty="0"/>
          </a:p>
          <a:p>
            <a:endParaRPr lang="en-GB" dirty="0"/>
          </a:p>
          <a:p>
            <a:r>
              <a:rPr lang="en-GB" dirty="0"/>
              <a:t>The CCI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GB" dirty="0"/>
          </a:p>
          <a:p>
            <a:r>
              <a:rPr lang="en-US" altLang="ja-JP" baseline="0" dirty="0"/>
              <a:t>In the example, the predicate is </a:t>
            </a:r>
            <a:r>
              <a:rPr lang="en-US" altLang="ja-JP" b="1" i="1" baseline="0" dirty="0"/>
              <a:t>“</a:t>
            </a:r>
            <a:r>
              <a:rPr lang="en-US" altLang="ja-JP" b="1" i="1" baseline="0" dirty="0" err="1"/>
              <a:t>OrderDateKey</a:t>
            </a:r>
            <a:r>
              <a:rPr lang="en-US" altLang="ja-JP" b="1" i="1" baseline="0" dirty="0"/>
              <a:t> &lt; 20101108”</a:t>
            </a:r>
          </a:p>
          <a:p>
            <a:r>
              <a:rPr lang="en-US" altLang="ja-JP" baseline="0" dirty="0"/>
              <a:t>Using the predicate in the query and the segment metadata, the query processor is able to determine whether an entire </a:t>
            </a:r>
            <a:r>
              <a:rPr lang="en-US" altLang="ja-JP" baseline="0" dirty="0" err="1"/>
              <a:t>RowGroup</a:t>
            </a:r>
            <a:r>
              <a:rPr lang="en-US" altLang="ja-JP" baseline="0" dirty="0"/>
              <a:t> can be skipped or not thereby saving on IO and CPU time. In the example you visually see that an entire segment is eliminated as the min and max values are outside of the range of the predicate.</a:t>
            </a:r>
          </a:p>
          <a:p>
            <a:endParaRPr lang="en-US" altLang="ja-JP" baseline="0" dirty="0"/>
          </a:p>
          <a:p>
            <a:r>
              <a:rPr lang="en-US" altLang="ja-JP" baseline="0" dirty="0"/>
              <a:t>In this case, certain segments are skipped by both Segment and Rowgroup elimination, this is shown to illustrate that the elimination mechanisms operate independently.</a:t>
            </a:r>
          </a:p>
          <a:p>
            <a:endParaRPr lang="en-US" altLang="ja-JP" baseline="0" dirty="0"/>
          </a:p>
          <a:p>
            <a:r>
              <a:rPr lang="en-US" altLang="ja-JP" baseline="0" dirty="0"/>
              <a:t>On a partitioned table, partition elimination can work in conjunction with segment elimination.</a:t>
            </a:r>
            <a:endParaRPr lang="en-US" altLang="ja-JP" dirty="0"/>
          </a:p>
          <a:p>
            <a:endParaRPr lang="en-GB"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83</a:t>
            </a:fld>
            <a:endParaRPr lang="en-US"/>
          </a:p>
        </p:txBody>
      </p:sp>
    </p:spTree>
    <p:extLst>
      <p:ext uri="{BB962C8B-B14F-4D97-AF65-F5344CB8AC3E}">
        <p14:creationId xmlns:p14="http://schemas.microsoft.com/office/powerpoint/2010/main" val="18137114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example, given the Select statement only references the </a:t>
            </a:r>
            <a:r>
              <a:rPr lang="en-GB" dirty="0" err="1"/>
              <a:t>ProductKey</a:t>
            </a:r>
            <a:r>
              <a:rPr lang="en-GB" dirty="0"/>
              <a:t>, </a:t>
            </a:r>
            <a:r>
              <a:rPr lang="en-GB" dirty="0" err="1"/>
              <a:t>SalesAmount</a:t>
            </a:r>
            <a:r>
              <a:rPr lang="en-GB" dirty="0"/>
              <a:t> and the </a:t>
            </a:r>
            <a:r>
              <a:rPr lang="en-GB" dirty="0" err="1"/>
              <a:t>OrderDateKey</a:t>
            </a:r>
            <a:r>
              <a:rPr lang="en-GB" dirty="0"/>
              <a:t> columns, the remainder of the columns do not get fetched. This is possible as the unit of storage for CCI is the segment which individually comprises data for a single column.</a:t>
            </a:r>
          </a:p>
          <a:p>
            <a:pPr defTabSz="931774">
              <a:defRPr/>
            </a:pPr>
            <a:r>
              <a:rPr lang="en-US" b="0" dirty="0"/>
              <a:t>Segment elimination can skip large chunks of data to speed up scans. </a:t>
            </a:r>
            <a:r>
              <a:rPr lang="en-US" dirty="0"/>
              <a:t>Each partition in a columnstore indexes is broken into 1M*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dirty="0"/>
          </a:p>
          <a:p>
            <a:endParaRPr lang="en-GB" dirty="0"/>
          </a:p>
          <a:p>
            <a:r>
              <a:rPr lang="en-GB" dirty="0"/>
              <a:t>The CCI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GB" dirty="0"/>
          </a:p>
          <a:p>
            <a:r>
              <a:rPr lang="en-US" altLang="ja-JP" baseline="0" dirty="0"/>
              <a:t>In the example, the predicate is </a:t>
            </a:r>
            <a:r>
              <a:rPr lang="en-US" altLang="ja-JP" b="1" i="1" baseline="0" dirty="0"/>
              <a:t>“</a:t>
            </a:r>
            <a:r>
              <a:rPr lang="en-US" altLang="ja-JP" b="1" i="1" baseline="0" dirty="0" err="1"/>
              <a:t>OrderDateKey</a:t>
            </a:r>
            <a:r>
              <a:rPr lang="en-US" altLang="ja-JP" b="1" i="1" baseline="0" dirty="0"/>
              <a:t> &lt; 20101108”</a:t>
            </a:r>
          </a:p>
          <a:p>
            <a:r>
              <a:rPr lang="en-US" altLang="ja-JP" baseline="0" dirty="0"/>
              <a:t>Using the predicate in the query and the segment metadata, the query processor is able to determine whether an entire </a:t>
            </a:r>
            <a:r>
              <a:rPr lang="en-US" altLang="ja-JP" baseline="0" dirty="0" err="1"/>
              <a:t>RowGroup</a:t>
            </a:r>
            <a:r>
              <a:rPr lang="en-US" altLang="ja-JP" baseline="0" dirty="0"/>
              <a:t> can be skipped or not thereby saving on IO and CPU time. In the example you visually see that an entire segment is eliminated as the min and max values are outside of the range of the predicate.</a:t>
            </a:r>
          </a:p>
          <a:p>
            <a:endParaRPr lang="en-US" altLang="ja-JP" baseline="0" dirty="0"/>
          </a:p>
          <a:p>
            <a:r>
              <a:rPr lang="en-US" altLang="ja-JP" baseline="0" dirty="0"/>
              <a:t>In this case, certain segments are skipped by both Segment and Rowgroup elimination, this is shown to illustrate that the elimination mechanisms operate independently.</a:t>
            </a:r>
          </a:p>
          <a:p>
            <a:endParaRPr lang="en-US" altLang="ja-JP" baseline="0" dirty="0"/>
          </a:p>
          <a:p>
            <a:r>
              <a:rPr lang="en-US" altLang="ja-JP" baseline="0" dirty="0"/>
              <a:t>On a partitioned table, partition elimination can work in conjunction with segment elimination.</a:t>
            </a:r>
            <a:endParaRPr lang="en-US" altLang="ja-JP" dirty="0"/>
          </a:p>
          <a:p>
            <a:endParaRPr lang="en-GB"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84</a:t>
            </a:fld>
            <a:endParaRPr lang="en-US"/>
          </a:p>
        </p:txBody>
      </p:sp>
    </p:spTree>
    <p:extLst>
      <p:ext uri="{BB962C8B-B14F-4D97-AF65-F5344CB8AC3E}">
        <p14:creationId xmlns:p14="http://schemas.microsoft.com/office/powerpoint/2010/main" val="14904238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example, given the Select statement only references the </a:t>
            </a:r>
            <a:r>
              <a:rPr lang="en-GB" dirty="0" err="1"/>
              <a:t>ProductKey</a:t>
            </a:r>
            <a:r>
              <a:rPr lang="en-GB" dirty="0"/>
              <a:t>, </a:t>
            </a:r>
            <a:r>
              <a:rPr lang="en-GB" dirty="0" err="1"/>
              <a:t>SalesAmount</a:t>
            </a:r>
            <a:r>
              <a:rPr lang="en-GB" dirty="0"/>
              <a:t> and the </a:t>
            </a:r>
            <a:r>
              <a:rPr lang="en-GB" dirty="0" err="1"/>
              <a:t>OrderDateKey</a:t>
            </a:r>
            <a:r>
              <a:rPr lang="en-GB" dirty="0"/>
              <a:t> columns, the remainder of the columns do not get fetched. This is possible as the unit of storage for CCI is the segment which individually comprises data for a single column.</a:t>
            </a:r>
          </a:p>
          <a:p>
            <a:pPr defTabSz="931774">
              <a:defRPr/>
            </a:pPr>
            <a:r>
              <a:rPr lang="en-US" b="0" dirty="0"/>
              <a:t>Segment elimination can skip large chunks of data to speed up scans. </a:t>
            </a:r>
            <a:r>
              <a:rPr lang="en-US" dirty="0"/>
              <a:t>Each partition in a columnstore indexes is broken into 1M* row chunks called segments. Each segment has metadata that stores the minimum and maximum value of each column for the segment. The storage engine checks filter conditions against the metadata. If it can detect that no rows qualify, then it skips the entire segment without even reading it from disk. </a:t>
            </a:r>
            <a:endParaRPr lang="en-US" altLang="ja-JP" dirty="0"/>
          </a:p>
          <a:p>
            <a:endParaRPr lang="en-GB" dirty="0"/>
          </a:p>
          <a:p>
            <a:r>
              <a:rPr lang="en-GB" dirty="0"/>
              <a:t>The CCI itself stores data in a highly compressed format, with each column kept in a separate group of pages. This reduces I/O a lot for most data warehouse queries because many data warehouse fact tables contain 30 or more columns, while a typical query might touch only 5 or 6 columns. Only the columns touched by the query must be read from disk. Only the more frequently accessed columns have to take up space in main memory. </a:t>
            </a:r>
          </a:p>
          <a:p>
            <a:endParaRPr lang="en-GB" dirty="0"/>
          </a:p>
          <a:p>
            <a:r>
              <a:rPr lang="en-US" altLang="ja-JP" baseline="0" dirty="0"/>
              <a:t>In the example, the predicate is </a:t>
            </a:r>
            <a:r>
              <a:rPr lang="en-US" altLang="ja-JP" b="1" i="1" baseline="0" dirty="0"/>
              <a:t>“</a:t>
            </a:r>
            <a:r>
              <a:rPr lang="en-US" altLang="ja-JP" b="1" i="1" baseline="0" dirty="0" err="1"/>
              <a:t>OrderDateKey</a:t>
            </a:r>
            <a:r>
              <a:rPr lang="en-US" altLang="ja-JP" b="1" i="1" baseline="0" dirty="0"/>
              <a:t> &lt; 20101108”</a:t>
            </a:r>
          </a:p>
          <a:p>
            <a:r>
              <a:rPr lang="en-US" altLang="ja-JP" baseline="0" dirty="0"/>
              <a:t>Using the predicate in the query and the segment metadata, the query processor is able to determine whether an entire </a:t>
            </a:r>
            <a:r>
              <a:rPr lang="en-US" altLang="ja-JP" baseline="0" dirty="0" err="1"/>
              <a:t>RowGroup</a:t>
            </a:r>
            <a:r>
              <a:rPr lang="en-US" altLang="ja-JP" baseline="0" dirty="0"/>
              <a:t> can be skipped or not thereby saving on IO and CPU time. In the example you visually see that an entire segment is eliminated as the min and max values are outside of the range of the predicate.</a:t>
            </a:r>
          </a:p>
          <a:p>
            <a:endParaRPr lang="en-US" altLang="ja-JP" baseline="0" dirty="0"/>
          </a:p>
          <a:p>
            <a:r>
              <a:rPr lang="en-US" altLang="ja-JP" baseline="0" dirty="0"/>
              <a:t>In this case, certain segments are skipped by both Segment and Rowgroup elimination, this is shown to illustrate that the elimination mechanisms operate independently.</a:t>
            </a:r>
          </a:p>
          <a:p>
            <a:endParaRPr lang="en-US" altLang="ja-JP" baseline="0" dirty="0"/>
          </a:p>
          <a:p>
            <a:r>
              <a:rPr lang="en-US" altLang="ja-JP" baseline="0" dirty="0"/>
              <a:t>On a partitioned table, partition elimination can work in conjunction with segment elimination.</a:t>
            </a:r>
            <a:endParaRPr lang="en-US" altLang="ja-JP" dirty="0"/>
          </a:p>
          <a:p>
            <a:endParaRPr lang="en-GB" dirty="0"/>
          </a:p>
          <a:p>
            <a:endParaRPr lang="en-US" dirty="0"/>
          </a:p>
        </p:txBody>
      </p:sp>
      <p:sp>
        <p:nvSpPr>
          <p:cNvPr id="4" name="Slide Number Placeholder 3"/>
          <p:cNvSpPr>
            <a:spLocks noGrp="1"/>
          </p:cNvSpPr>
          <p:nvPr>
            <p:ph type="sldNum" sz="quarter" idx="5"/>
          </p:nvPr>
        </p:nvSpPr>
        <p:spPr/>
        <p:txBody>
          <a:bodyPr/>
          <a:lstStyle/>
          <a:p>
            <a:fld id="{40405CA6-A7A9-4E0F-8672-28CF28CC7700}" type="slidenum">
              <a:rPr lang="en-US" smtClean="0"/>
              <a:t>85</a:t>
            </a:fld>
            <a:endParaRPr lang="en-US"/>
          </a:p>
        </p:txBody>
      </p:sp>
    </p:spTree>
    <p:extLst>
      <p:ext uri="{BB962C8B-B14F-4D97-AF65-F5344CB8AC3E}">
        <p14:creationId xmlns:p14="http://schemas.microsoft.com/office/powerpoint/2010/main" val="22745855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C4379BB-2F2E-4D61-BB10-AD484A234E6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8482529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t>Batch mode processing uses a new iterator model for processing data a-batch-at-a-time instead of a-row-at-a-time.  A batch typically represents about 1000 rows of data. Each column within a batch is stored as a vector in a separate area of memory, so batch mode processing is vector-based. Batch mode processing also uses algorithms that are optimized for the multicore CPUs and increased memory throughput that are found on modern hardware. Batch mode processing spreads metadata access costs and other types of overhead over all the rows in a batch, rather than paying the cost for each row. Batch mode processing operates on compressed data when possible and eliminates some of the exchange operators used by row mode processing. The result is better parallelism and faster performance</a:t>
            </a:r>
            <a:r>
              <a:rPr lang="en-US" baseline="0"/>
              <a:t> and </a:t>
            </a:r>
            <a:r>
              <a:rPr lang="en-US" altLang="ja-JP"/>
              <a:t>greatly reduced CPU time (7 to 40X).</a:t>
            </a:r>
          </a:p>
          <a:p>
            <a:endParaRPr lang="en-US"/>
          </a:p>
          <a:p>
            <a:pPr marL="0" marR="0" lvl="0" indent="0" algn="l" defTabSz="457200" rtl="0" eaLnBrk="1" fontAlgn="auto" latinLnBrk="0" hangingPunct="1">
              <a:lnSpc>
                <a:spcPct val="100000"/>
              </a:lnSpc>
              <a:spcBef>
                <a:spcPts val="0"/>
              </a:spcBef>
              <a:spcAft>
                <a:spcPts val="0"/>
              </a:spcAft>
              <a:buClrTx/>
              <a:buSzTx/>
              <a:buFontTx/>
              <a:buNone/>
              <a:tabLst/>
              <a:defRPr/>
            </a:pPr>
            <a:r>
              <a:rPr lang="en-US"/>
              <a:t>Batch mode processing occurs only for parallel query execution. If the cost of the query plan is small, the optimizer may choose a serial plan that is "good enough." When experimenting with columnstore indexes, you may need a large data set to see the effects of batch mode processing. Check the degree of parallelism if you see that a query was executed in row mode when you expected batch mode.</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Segoe UI Light"/>
              <a:ea typeface="MS PGothic" panose="020B0600070205080204" pitchFamily="34" charset="-128"/>
              <a:cs typeface="ＭＳ Ｐゴシック"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Segoe UI Light"/>
                <a:ea typeface="MS PGothic" panose="020B0600070205080204" pitchFamily="34" charset="-128"/>
                <a:cs typeface="ＭＳ Ｐゴシック" charset="0"/>
              </a:rPr>
              <a:t>The other consideration is segment elimination,</a:t>
            </a:r>
            <a:r>
              <a:rPr lang="en-US" sz="1200" kern="1200" baseline="0">
                <a:solidFill>
                  <a:schemeClr val="tx1"/>
                </a:solidFill>
                <a:effectLst/>
                <a:latin typeface="Segoe UI Light"/>
                <a:ea typeface="MS PGothic" panose="020B0600070205080204" pitchFamily="34" charset="-128"/>
                <a:cs typeface="ＭＳ Ｐゴシック" charset="0"/>
              </a:rPr>
              <a:t> which results in all but one segment being eliminated, inherently determining that DOP will be 1, as the unit of parallelism is the segment itself.</a:t>
            </a:r>
            <a:endParaRPr lang="en-US" sz="1200" kern="1200">
              <a:solidFill>
                <a:schemeClr val="tx1"/>
              </a:solidFill>
              <a:effectLst/>
              <a:latin typeface="Segoe UI Light"/>
              <a:ea typeface="MS PGothic" panose="020B0600070205080204" pitchFamily="34" charset="-128"/>
              <a:cs typeface="ＭＳ Ｐゴシック" charset="0"/>
            </a:endParaRPr>
          </a:p>
          <a:p>
            <a:endParaRPr lang="en-US"/>
          </a:p>
          <a:p>
            <a:endParaRPr lang="en-US"/>
          </a:p>
          <a:p>
            <a:endParaRPr lang="en-GB"/>
          </a:p>
        </p:txBody>
      </p:sp>
      <p:sp>
        <p:nvSpPr>
          <p:cNvPr id="2" name="Footer Placeholder 1"/>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prstClr val="black"/>
                </a:solidFill>
                <a:effectLst/>
                <a:uLnTx/>
                <a:uFillTx/>
                <a:latin typeface="Segoe UI"/>
                <a:ea typeface="+mn-ea"/>
                <a:cs typeface="+mn-cs"/>
              </a:rPr>
              <a:t>© 2014 Microsoft Corporation Microsoft Confidential</a:t>
            </a:r>
          </a:p>
        </p:txBody>
      </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88509A-8F78-4E70-919E-28B267E030AC}" type="slidenum">
              <a:rPr kumimoji="0" lang="en-GB"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414834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 </a:t>
            </a:r>
            <a:r>
              <a:rPr lang="en-US" dirty="0"/>
              <a:t>:</a:t>
            </a:r>
          </a:p>
          <a:p>
            <a:pPr marL="100584" lvl="1" indent="0">
              <a:buNone/>
            </a:pPr>
            <a:r>
              <a:rPr lang="en-US" dirty="0"/>
              <a:t>Heaps are typically a poor</a:t>
            </a:r>
            <a:r>
              <a:rPr lang="en-US" baseline="0" dirty="0"/>
              <a:t> choice for production structures because:</a:t>
            </a:r>
          </a:p>
          <a:p>
            <a:pPr marL="381762" lvl="1" indent="-171450">
              <a:buFont typeface="Arial" panose="020B0604020202020204" pitchFamily="34" charset="0"/>
              <a:buChar char="•"/>
            </a:pPr>
            <a:r>
              <a:rPr lang="en-US" dirty="0"/>
              <a:t>Forwarding pointers.</a:t>
            </a:r>
          </a:p>
          <a:p>
            <a:pPr marL="381762" lvl="1" indent="-171450">
              <a:buFont typeface="Arial" panose="020B0604020202020204" pitchFamily="34" charset="0"/>
              <a:buChar char="•"/>
            </a:pPr>
            <a:r>
              <a:rPr lang="en-US" dirty="0"/>
              <a:t>8-byte Row-ID</a:t>
            </a:r>
            <a:r>
              <a:rPr lang="en-US" baseline="0" dirty="0"/>
              <a:t> assigned on insert. RID </a:t>
            </a:r>
            <a:r>
              <a:rPr lang="en-US" sz="882" b="0" i="0" kern="1200" baseline="0" dirty="0">
                <a:solidFill>
                  <a:schemeClr val="tx1"/>
                </a:solidFill>
                <a:effectLst/>
                <a:latin typeface="+mn-lt"/>
                <a:ea typeface="+mn-ea"/>
                <a:cs typeface="+mn-cs"/>
              </a:rPr>
              <a:t>consisting of the file number, data page number, and slot on the page. </a:t>
            </a:r>
            <a:endParaRPr lang="en-US" baseline="0" dirty="0"/>
          </a:p>
          <a:p>
            <a:pPr marL="381762" lvl="1" indent="-171450">
              <a:buFont typeface="Arial" panose="020B0604020202020204" pitchFamily="34" charset="0"/>
              <a:buChar char="•"/>
            </a:pPr>
            <a:r>
              <a:rPr lang="en-US" baseline="0" dirty="0"/>
              <a:t>Not great at all for table scans.</a:t>
            </a:r>
          </a:p>
          <a:p>
            <a:pPr marL="381762" lvl="1" indent="-171450">
              <a:buFont typeface="Arial" panose="020B0604020202020204" pitchFamily="34" charset="0"/>
              <a:buChar char="•"/>
            </a:pPr>
            <a:r>
              <a:rPr lang="en-US" baseline="0" dirty="0"/>
              <a:t>Sometimes expensive to find a spot where a row can be inserted.</a:t>
            </a:r>
          </a:p>
          <a:p>
            <a:pPr marL="381762" lvl="1" indent="-171450">
              <a:buFont typeface="Arial" panose="020B0604020202020204" pitchFamily="34" charset="0"/>
              <a:buChar char="•"/>
            </a:pPr>
            <a:r>
              <a:rPr lang="en-US" b="1" dirty="0"/>
              <a:t>Data pages are not linked</a:t>
            </a:r>
            <a:r>
              <a:rPr lang="en-US" dirty="0"/>
              <a:t>, </a:t>
            </a:r>
            <a:r>
              <a:rPr lang="en-US" u="sng" dirty="0"/>
              <a:t>so sequential access needs to refer to the index allocation map (IAM) pages</a:t>
            </a:r>
            <a:r>
              <a:rPr lang="en-US" u="none" dirty="0"/>
              <a:t>.</a:t>
            </a:r>
          </a:p>
          <a:p>
            <a:r>
              <a:rPr lang="en-US" dirty="0"/>
              <a:t>=============</a:t>
            </a:r>
          </a:p>
          <a:p>
            <a:r>
              <a:rPr lang="en-US" b="1" dirty="0"/>
              <a:t>More Information</a:t>
            </a:r>
          </a:p>
          <a:p>
            <a:r>
              <a:rPr lang="en-US" dirty="0"/>
              <a:t>=============</a:t>
            </a:r>
          </a:p>
          <a:p>
            <a:r>
              <a:rPr lang="en-US" sz="882" b="0" i="0" kern="1200" baseline="0" dirty="0">
                <a:solidFill>
                  <a:schemeClr val="tx1"/>
                </a:solidFill>
                <a:effectLst/>
                <a:latin typeface="+mn-lt"/>
                <a:ea typeface="+mn-ea"/>
                <a:cs typeface="+mn-cs"/>
              </a:rPr>
              <a:t>A heap is a table without a clustered index. </a:t>
            </a:r>
            <a:r>
              <a:rPr lang="en-US" sz="882" b="1" i="0" kern="1200" baseline="0" dirty="0">
                <a:solidFill>
                  <a:schemeClr val="tx1"/>
                </a:solidFill>
                <a:effectLst/>
                <a:latin typeface="+mn-lt"/>
                <a:ea typeface="+mn-ea"/>
                <a:cs typeface="+mn-cs"/>
              </a:rPr>
              <a:t>One or more nonclustered indexes can be created on tables stored as a heap</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Data is stored in the heap without specifying an order</a:t>
            </a:r>
            <a:r>
              <a:rPr lang="en-US" sz="882" b="0" i="0" kern="1200" baseline="0" dirty="0">
                <a:solidFill>
                  <a:schemeClr val="tx1"/>
                </a:solidFill>
                <a:effectLst/>
                <a:latin typeface="+mn-lt"/>
                <a:ea typeface="+mn-ea"/>
                <a:cs typeface="+mn-cs"/>
              </a:rPr>
              <a:t>. Usually data is </a:t>
            </a:r>
            <a:r>
              <a:rPr lang="en-US" sz="882" b="0" i="0" u="sng" kern="1200" baseline="0" dirty="0">
                <a:solidFill>
                  <a:schemeClr val="tx1"/>
                </a:solidFill>
                <a:effectLst/>
                <a:latin typeface="+mn-lt"/>
                <a:ea typeface="+mn-ea"/>
                <a:cs typeface="+mn-cs"/>
              </a:rPr>
              <a:t>initially stored in the order in which the rows are inserted into the tabl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a:t>
            </a:r>
            <a:r>
              <a:rPr lang="en-US" sz="882" b="0" i="0" kern="1200" baseline="0" dirty="0">
                <a:solidFill>
                  <a:schemeClr val="tx1"/>
                </a:solidFill>
                <a:effectLst/>
                <a:latin typeface="+mn-lt"/>
                <a:ea typeface="+mn-ea"/>
                <a:cs typeface="+mn-cs"/>
              </a:rPr>
              <a:t> the Database Engine </a:t>
            </a:r>
            <a:r>
              <a:rPr lang="en-US" sz="882" b="0" i="0" u="sng" kern="1200" baseline="0" dirty="0">
                <a:solidFill>
                  <a:schemeClr val="tx1"/>
                </a:solidFill>
                <a:effectLst/>
                <a:latin typeface="+mn-lt"/>
                <a:ea typeface="+mn-ea"/>
                <a:cs typeface="+mn-cs"/>
              </a:rPr>
              <a:t>can move data around in the heap to store the rows efficiently</a:t>
            </a:r>
            <a:r>
              <a:rPr lang="en-US" sz="882" b="0" i="0" kern="1200" baseline="0" dirty="0">
                <a:solidFill>
                  <a:schemeClr val="tx1"/>
                </a:solidFill>
                <a:effectLst/>
                <a:latin typeface="+mn-lt"/>
                <a:ea typeface="+mn-ea"/>
                <a:cs typeface="+mn-cs"/>
              </a:rPr>
              <a:t>; so the data </a:t>
            </a:r>
            <a:r>
              <a:rPr lang="en-US" sz="882" b="0" i="0" u="sng" kern="1200" baseline="0" dirty="0">
                <a:solidFill>
                  <a:schemeClr val="tx1"/>
                </a:solidFill>
                <a:effectLst/>
                <a:latin typeface="+mn-lt"/>
                <a:ea typeface="+mn-ea"/>
                <a:cs typeface="+mn-cs"/>
              </a:rPr>
              <a:t>order cannot be predicted</a:t>
            </a:r>
            <a:r>
              <a:rPr lang="en-US" sz="882" b="0" i="0" u="none"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rPr>
              <a:t>To guarantee the order of rows returned from a heap, you must use the </a:t>
            </a:r>
            <a:r>
              <a:rPr lang="en-US" sz="882" b="1" i="0" kern="1200" baseline="0" dirty="0">
                <a:solidFill>
                  <a:schemeClr val="tx1"/>
                </a:solidFill>
                <a:effectLst/>
                <a:latin typeface="+mn-lt"/>
                <a:ea typeface="+mn-ea"/>
                <a:cs typeface="+mn-cs"/>
              </a:rPr>
              <a:t>ORDER BY</a:t>
            </a:r>
            <a:r>
              <a:rPr lang="en-US" sz="882" b="0" i="0" kern="1200" baseline="0" dirty="0">
                <a:solidFill>
                  <a:schemeClr val="tx1"/>
                </a:solidFill>
                <a:effectLst/>
                <a:latin typeface="+mn-lt"/>
                <a:ea typeface="+mn-ea"/>
                <a:cs typeface="+mn-cs"/>
              </a:rPr>
              <a:t> clause. To specify the order for storage of the rows, create a clustered index on the table, so that the table is not a heap.</a:t>
            </a:r>
          </a:p>
          <a:p>
            <a:r>
              <a:rPr lang="en-US" sz="882" b="1" i="0" kern="1200" baseline="0" dirty="0">
                <a:solidFill>
                  <a:schemeClr val="tx1"/>
                </a:solidFill>
                <a:effectLst/>
                <a:latin typeface="+mn-lt"/>
                <a:ea typeface="+mn-ea"/>
                <a:cs typeface="+mn-cs"/>
              </a:rPr>
              <a:t>When Not to Use a Heap</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 data is frequently returned in a sorted order. A clustered index on the sorting column could avoid the sorting oper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 data is frequently grouped together. Data must be sorted before it is grouped, and a clustered index on the sorting column could avoid the sorting oper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ranges of data are frequently queried from the table. A clustered index on the range column will avoid sorting the entire heap.</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re are no nonclustered indexes and the table is large. In a heap, all rows of the heap must be read to find any row.</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13770981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M05L04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pPr marL="0" marR="0" lvl="0" indent="0" algn="l" defTabSz="914400" rtl="0" eaLnBrk="1" fontAlgn="auto" latinLnBrk="0" hangingPunct="1">
              <a:lnSpc>
                <a:spcPct val="90000"/>
              </a:lnSpc>
              <a:spcBef>
                <a:spcPts val="333"/>
              </a:spcBef>
              <a:spcAft>
                <a:spcPts val="0"/>
              </a:spcAft>
              <a:buClrTx/>
              <a:buSzTx/>
              <a:buFontTx/>
              <a:buNone/>
              <a:tabLst/>
              <a:defRPr/>
            </a:pPr>
            <a:r>
              <a:rPr lang="en-US"/>
              <a:t>Link to lab: Use electronic material to complete the lab exercise “</a:t>
            </a:r>
            <a:r>
              <a:rPr lang="en-US" sz="1800" b="1">
                <a:solidFill>
                  <a:srgbClr val="000000"/>
                </a:solidFill>
                <a:latin typeface="Consolas" panose="020B0609020204030204" pitchFamily="49" charset="0"/>
              </a:rPr>
              <a:t>ColumnStore Index Performance</a:t>
            </a:r>
            <a:r>
              <a:rPr lang="en-US"/>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415860181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20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To perform aggregate functions on large datasets efficiently. To compress data.</a:t>
            </a:r>
          </a:p>
          <a:p>
            <a:pPr marL="228600" indent="-228600">
              <a:buAutoNum type="arabicPeriod"/>
            </a:pPr>
            <a:r>
              <a:rPr lang="en-US"/>
              <a:t>Segments allow the optimizer to have the storage engine eliminate data that is not required to satisfy the query.</a:t>
            </a:r>
          </a:p>
          <a:p>
            <a:pPr marL="228600" indent="-228600">
              <a:buAutoNum type="arabicPeriod"/>
            </a:pPr>
            <a:r>
              <a:rPr lang="en-US"/>
              <a:t>Row groups allow for an optimal number of rows for the column store compression algorithm to be processed.</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0</a:t>
            </a:fld>
            <a:endParaRPr lang="en-US" noProof="0"/>
          </a:p>
        </p:txBody>
      </p:sp>
    </p:spTree>
    <p:extLst>
      <p:ext uri="{BB962C8B-B14F-4D97-AF65-F5344CB8AC3E}">
        <p14:creationId xmlns:p14="http://schemas.microsoft.com/office/powerpoint/2010/main" val="3674517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endParaRPr lang="en-US"/>
          </a:p>
          <a:p>
            <a:pPr marL="381762" lvl="1" indent="-171450">
              <a:buFont typeface="Arial" panose="020B0604020202020204" pitchFamily="34" charset="0"/>
              <a:buChar char="•"/>
            </a:pPr>
            <a:r>
              <a:rPr lang="en-US"/>
              <a:t>Table scans or serial reads of a heap can be performed by scanning the IAM pages to find the extents that are holding pages for the heap.</a:t>
            </a:r>
          </a:p>
          <a:p>
            <a:pPr marL="381762" lvl="1" indent="-171450">
              <a:buFont typeface="Arial" panose="020B0604020202020204" pitchFamily="34" charset="0"/>
              <a:buChar char="•"/>
            </a:pPr>
            <a:r>
              <a:rPr lang="en-US"/>
              <a:t>Because the IAM represents extents in the same order that they exist in the data files, this means that serial heap scans progress sequentially through each file. </a:t>
            </a:r>
          </a:p>
          <a:p>
            <a:pPr marL="381762" lvl="1" indent="-171450">
              <a:buFont typeface="Arial" panose="020B0604020202020204" pitchFamily="34" charset="0"/>
              <a:buChar char="•"/>
            </a:pPr>
            <a:r>
              <a:rPr lang="en-US"/>
              <a:t>Using the IAM pages to set the scan sequence also means that rows from the heap are not typically returned in the order in which they were inserted.</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Queries retrieving data from Heap objects will read all pages on that table. This is a very expensive operation.</a:t>
            </a:r>
          </a:p>
          <a:p>
            <a:pPr marL="171450" indent="-171450">
              <a:buFont typeface="Arial" panose="020B0604020202020204" pitchFamily="34" charset="0"/>
              <a:buChar char="•"/>
            </a:pPr>
            <a:endParaRPr lang="en-US"/>
          </a:p>
          <a:p>
            <a:r>
              <a:rPr lang="en-US"/>
              <a:t>=============</a:t>
            </a:r>
          </a:p>
          <a:p>
            <a:r>
              <a:rPr lang="en-US" b="1"/>
              <a:t>More Information</a:t>
            </a:r>
          </a:p>
          <a:p>
            <a:r>
              <a:rPr lang="en-US"/>
              <a:t>=============</a:t>
            </a:r>
          </a:p>
          <a:p>
            <a:endParaRPr lang="en-US"/>
          </a:p>
          <a:p>
            <a:r>
              <a:rPr lang="en-US"/>
              <a:t>The Diagram in slide illustrates how the SQL Server Database Engine uses IAM pages to retrieve data rows in a single partition heap.</a:t>
            </a:r>
          </a:p>
          <a:p>
            <a:endParaRPr lang="en-US"/>
          </a:p>
          <a:p>
            <a:r>
              <a:rPr lang="en-US" sz="882" b="1" i="0" kern="1200" baseline="0">
                <a:solidFill>
                  <a:schemeClr val="tx1"/>
                </a:solidFill>
                <a:effectLst/>
                <a:latin typeface="+mn-lt"/>
                <a:ea typeface="+mn-ea"/>
                <a:cs typeface="+mn-cs"/>
              </a:rPr>
              <a:t>Depending on the data types in the heap, each heap structure will have one or more allocation units to store and manage the data for a specific partition.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At a minimum, </a:t>
            </a:r>
            <a:r>
              <a:rPr lang="en-US" sz="882" b="0" i="0" u="sng" kern="1200" baseline="0">
                <a:solidFill>
                  <a:schemeClr val="tx1"/>
                </a:solidFill>
                <a:effectLst/>
                <a:latin typeface="+mn-lt"/>
                <a:ea typeface="+mn-ea"/>
                <a:cs typeface="+mn-cs"/>
              </a:rPr>
              <a:t>each heap will have one IN_ROW_DATA allocation unit per partition</a:t>
            </a:r>
            <a:r>
              <a:rPr lang="en-US" sz="882" b="0" i="0" kern="1200" baseline="0">
                <a:solidFill>
                  <a:schemeClr val="tx1"/>
                </a:solidFill>
                <a:effectLst/>
                <a:latin typeface="+mn-lt"/>
                <a:ea typeface="+mn-ea"/>
                <a:cs typeface="+mn-cs"/>
              </a:rPr>
              <a:t>.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The heap </a:t>
            </a:r>
            <a:r>
              <a:rPr lang="en-US" sz="882" b="0" i="0" u="sng" kern="1200" baseline="0">
                <a:solidFill>
                  <a:schemeClr val="tx1"/>
                </a:solidFill>
                <a:effectLst/>
                <a:latin typeface="+mn-lt"/>
                <a:ea typeface="+mn-ea"/>
                <a:cs typeface="+mn-cs"/>
              </a:rPr>
              <a:t>will also have one LOB_DATA allocation unit per partition, </a:t>
            </a:r>
            <a:r>
              <a:rPr lang="en-US" sz="882" b="1" i="0" u="sng" kern="1200" baseline="0">
                <a:solidFill>
                  <a:schemeClr val="tx1"/>
                </a:solidFill>
                <a:effectLst/>
                <a:latin typeface="+mn-lt"/>
                <a:ea typeface="+mn-ea"/>
                <a:cs typeface="+mn-cs"/>
              </a:rPr>
              <a:t>if it contains large object (LOB) columns</a:t>
            </a:r>
            <a:r>
              <a:rPr lang="en-US" sz="882" b="0" i="0" kern="1200" baseline="0">
                <a:solidFill>
                  <a:schemeClr val="tx1"/>
                </a:solidFill>
                <a:effectLst/>
                <a:latin typeface="+mn-lt"/>
                <a:ea typeface="+mn-ea"/>
                <a:cs typeface="+mn-cs"/>
              </a:rPr>
              <a:t>.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It will also </a:t>
            </a:r>
            <a:r>
              <a:rPr lang="en-US" sz="882" b="0" i="0" u="sng" kern="1200" baseline="0">
                <a:solidFill>
                  <a:schemeClr val="tx1"/>
                </a:solidFill>
                <a:effectLst/>
                <a:latin typeface="+mn-lt"/>
                <a:ea typeface="+mn-ea"/>
                <a:cs typeface="+mn-cs"/>
              </a:rPr>
              <a:t>have one ROW_OVERFLOW_DATA allocation unit per partition</a:t>
            </a:r>
            <a:r>
              <a:rPr lang="en-US" sz="882" b="0" i="0" u="none" kern="1200" baseline="0">
                <a:solidFill>
                  <a:schemeClr val="tx1"/>
                </a:solidFill>
                <a:effectLst/>
                <a:latin typeface="+mn-lt"/>
                <a:ea typeface="+mn-ea"/>
                <a:cs typeface="+mn-cs"/>
              </a:rPr>
              <a:t>, </a:t>
            </a:r>
            <a:r>
              <a:rPr lang="en-US" sz="882" b="1" i="0" kern="1200" baseline="0">
                <a:solidFill>
                  <a:schemeClr val="tx1"/>
                </a:solidFill>
                <a:effectLst/>
                <a:latin typeface="+mn-lt"/>
                <a:ea typeface="+mn-ea"/>
                <a:cs typeface="+mn-cs"/>
              </a:rPr>
              <a:t>if it contains variable length columns that exceed the 8,060 byte row size limit.</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The column first_iam_page in the sys.system_internals_allocation_units system view points to the first IAM page in the chain of IAM pages that manage the space allocated to the heap in a specific partition.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SQL Server uses the IAM pages to move through the heap.</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1624261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02263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936790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881250791"/>
      </p:ext>
    </p:extLst>
  </p:cSld>
  <p:clrMapOvr>
    <a:masterClrMapping/>
  </p:clrMapOvr>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355761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7269727"/>
      </p:ext>
    </p:extLst>
  </p:cSld>
  <p:clrMapOvr>
    <a:masterClrMapping/>
  </p:clrMapOvr>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16781148"/>
      </p:ext>
    </p:extLst>
  </p:cSld>
  <p:clrMapOvr>
    <a:masterClrMapping/>
  </p:clrMapOvr>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62733852"/>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45862374"/>
      </p:ext>
    </p:extLst>
  </p:cSld>
  <p:clrMapOvr>
    <a:masterClrMapping/>
  </p:clrMapOvr>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05752780"/>
      </p:ext>
    </p:extLst>
  </p:cSld>
  <p:clrMapOvr>
    <a:masterClrMapping/>
  </p:clrMapOvr>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30649036"/>
      </p:ext>
    </p:extLst>
  </p:cSld>
  <p:clrMapOvr>
    <a:masterClrMapping/>
  </p:clrMapOvr>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5539761"/>
      </p:ext>
    </p:extLst>
  </p:cSld>
  <p:clrMapOvr>
    <a:masterClrMapping/>
  </p:clrMapOvr>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54613553"/>
      </p:ext>
    </p:extLst>
  </p:cSld>
  <p:clrMapOvr>
    <a:masterClrMapping/>
  </p:clrMapOvr>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35537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8367122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6721641"/>
      </p:ext>
    </p:extLst>
  </p:cSld>
  <p:clrMapOvr>
    <a:masterClrMapping/>
  </p:clrMapOvr>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242186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0762577"/>
      </p:ext>
    </p:extLst>
  </p:cSld>
  <p:clrMapOvr>
    <a:masterClrMapping/>
  </p:clrMapOvr>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6374856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207705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1676271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8369758"/>
      </p:ext>
    </p:extLst>
  </p:cSld>
  <p:clrMapOvr>
    <a:masterClrMapping/>
  </p:clrMapOvr>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F9085E81-4490-F4FD-4DF1-865944E49B81}"/>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3572297"/>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4DDA17A5-DB07-D459-2D47-A865CB4B4115}"/>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2719767"/>
      </p:ext>
    </p:extLst>
  </p:cSld>
  <p:clrMapOvr>
    <a:masterClrMapping/>
  </p:clrMapOvr>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491966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94152"/>
      </p:ext>
    </p:extLst>
  </p:cSld>
  <p:clrMapOvr>
    <a:masterClrMapping/>
  </p:clrMapOvr>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53056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206930"/>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336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3278114-C5A6-212B-0976-8AF5FF5AE838}"/>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87520966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41EF0D38-554F-01D1-7999-00EB3399F1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5749306"/>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76824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662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7666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23901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635779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78680638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550733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78824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3208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6995192"/>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36212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0139581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4839012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989588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002198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436271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87404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88187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78358920"/>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7163205"/>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9076900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52931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5332756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85953956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286444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1791505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151474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1176177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5957056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928700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433987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44514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888873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3744176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2416499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293060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4406345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186926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5893974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898986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6291126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236862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89265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22353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6280101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7B8420E5-9465-5E4D-A43C-4E3002B22E97}"/>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720127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747863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223924"/>
      </p:ext>
    </p:extLst>
  </p:cSld>
  <p:clrMapOvr>
    <a:masterClrMapping/>
  </p:clrMapOvr>
  <p:transition>
    <p:fade/>
  </p:transition>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277440"/>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229233016"/>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a:extLst>
              <a:ext uri="{FF2B5EF4-FFF2-40B4-BE49-F238E27FC236}">
                <a16:creationId xmlns:a16="http://schemas.microsoft.com/office/drawing/2014/main" id="{5A1C0299-4948-A8E9-0DB0-B8B7F450D9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667882531"/>
      </p:ext>
    </p:extLst>
  </p:cSld>
  <p:clrMapOvr>
    <a:masterClrMapping/>
  </p:clrMapOvr>
  <p:transition>
    <p:fade/>
  </p:transition>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754178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898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3612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7511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59696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015668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848367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168513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128266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1118887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4895793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7985736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4312310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3051903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77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1322268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71155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3888079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0354644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493705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07955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7326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51358096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456965622"/>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7873288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80427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74210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3494502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44996828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271887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469720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198044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0390253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1731762"/>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3116044"/>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919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5355316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5493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5231242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112240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328572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3862862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255208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029600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857916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586893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131531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4951420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96305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2424185"/>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52056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321570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769178"/>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133335"/>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6206540"/>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85743483"/>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725733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3934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32578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531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80894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66602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81277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396869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2245178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47742629"/>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5347469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58963594"/>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814151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345965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719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1336623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310388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170108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05754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10638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32345046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02988760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48894648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5624347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0983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17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1353132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9327768"/>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933758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5513130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22916855"/>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242724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2439369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92570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0462977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5548790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808243"/>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3976138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9231220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374260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62385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9458199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416019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889502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5952020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9187714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159258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5254841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361753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132544"/>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1137738"/>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96857413"/>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6725385"/>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30760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662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70771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60710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55394788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070808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5381283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6072666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5222088"/>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116125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547410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7035320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2196760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4181018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312860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851245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0211910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460655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211956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64874799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1383631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2626529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7208931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97487207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12635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0971858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572960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7357257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0190251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72495561"/>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68250983"/>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9857229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8753837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575555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677369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040324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74877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847545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697666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735518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1279719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13572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8419318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9000959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0688931"/>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47675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81986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430909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68532"/>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317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6176986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740669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042434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1"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26426" y="222583"/>
            <a:ext cx="5555966" cy="758022"/>
          </a:xfrm>
          <a:prstGeom prst="rect">
            <a:avLst/>
          </a:prstGeom>
        </p:spPr>
        <p:txBody>
          <a:bodyPr vert="horz" wrap="square" lIns="0" tIns="164592" rIns="0" bIns="0" rtlCol="0" anchor="t">
            <a:noAutofit/>
          </a:bodyPr>
          <a:lstStyle>
            <a:lvl1pPr>
              <a:defRPr sz="3400"/>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4"/>
            <a:ext cx="555596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400"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14565843"/>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306321073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23577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6777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841295"/>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9908498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04069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046966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461665"/>
          </a:xfrm>
          <a:prstGeom prst="rect">
            <a:avLst/>
          </a:prstGeom>
        </p:spPr>
        <p:txBody>
          <a:bodyPr/>
          <a:lstStyle>
            <a:lvl1pPr>
              <a:defRPr>
                <a:solidFill>
                  <a:schemeClr val="tx2"/>
                </a:solidFill>
              </a:defRPr>
            </a:lvl1pPr>
          </a:lstStyle>
          <a:p>
            <a:r>
              <a:rPr lang="en-US"/>
              <a:t>Click to edit Master title style</a:t>
            </a:r>
            <a:endParaRPr lang="en-GB"/>
          </a:p>
        </p:txBody>
      </p:sp>
      <p:sp>
        <p:nvSpPr>
          <p:cNvPr id="3" name="Text Placeholder 2"/>
          <p:cNvSpPr>
            <a:spLocks noGrp="1"/>
          </p:cNvSpPr>
          <p:nvPr>
            <p:ph type="body" idx="1"/>
          </p:nvPr>
        </p:nvSpPr>
        <p:spPr>
          <a:xfrm>
            <a:off x="839789" y="1437441"/>
            <a:ext cx="5157787" cy="1067634"/>
          </a:xfrm>
          <a:prstGeom prst="rect">
            <a:avLst/>
          </a:prstGeom>
        </p:spPr>
        <p:txBody>
          <a:bodyPr anchor="b"/>
          <a:lstStyle>
            <a:lvl1pPr marL="0" indent="0">
              <a:buNone/>
              <a:defRPr sz="3200" b="1">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4"/>
            <a:ext cx="5157787" cy="2595214"/>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prstGeom prst="rect">
            <a:avLst/>
          </a:prstGeom>
        </p:spPr>
        <p:txBody>
          <a:bodyPr anchor="b">
            <a:noAutofit/>
          </a:bodyPr>
          <a:lstStyle>
            <a:lvl1pPr marL="0" indent="0">
              <a:buNone/>
              <a:defRPr sz="3200" b="1">
                <a:latin typeface="+mj-lt"/>
              </a:defRPr>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4"/>
            <a:ext cx="5183188" cy="259521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p>
            <a:pPr defTabSz="914367">
              <a:defRPr/>
            </a:pPr>
            <a:r>
              <a:rPr lang="en-GB" sz="1765">
                <a:solidFill>
                  <a:srgbClr val="505050"/>
                </a:solidFill>
              </a:rPr>
              <a:t>© Microsoft 2014</a:t>
            </a:r>
          </a:p>
        </p:txBody>
      </p:sp>
      <p:sp>
        <p:nvSpPr>
          <p:cNvPr id="9" name="Slide Number Placeholder 8"/>
          <p:cNvSpPr>
            <a:spLocks noGrp="1"/>
          </p:cNvSpPr>
          <p:nvPr>
            <p:ph type="sldNum" sz="quarter" idx="12"/>
          </p:nvPr>
        </p:nvSpPr>
        <p:spPr/>
        <p:txBody>
          <a:bodyPr/>
          <a:lstStyle/>
          <a:p>
            <a:pPr defTabSz="914367">
              <a:defRPr/>
            </a:pPr>
            <a:fld id="{D75E92BD-1670-425B-83DE-6D52607E5D57}" type="slidenum">
              <a:rPr lang="en-GB" sz="1765" smtClean="0">
                <a:solidFill>
                  <a:srgbClr val="505050"/>
                </a:solidFill>
              </a:rPr>
              <a:pPr defTabSz="914367">
                <a:defRPr/>
              </a:pPr>
              <a:t>‹#›</a:t>
            </a:fld>
            <a:endParaRPr lang="en-GB" sz="1765">
              <a:solidFill>
                <a:srgbClr val="505050"/>
              </a:solidFill>
            </a:endParaRPr>
          </a:p>
        </p:txBody>
      </p:sp>
    </p:spTree>
    <p:extLst>
      <p:ext uri="{BB962C8B-B14F-4D97-AF65-F5344CB8AC3E}">
        <p14:creationId xmlns:p14="http://schemas.microsoft.com/office/powerpoint/2010/main" val="19740692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947824"/>
          </a:xfrm>
        </p:spPr>
        <p:txBody>
          <a:bodyPr wrap="square" lIns="0" tIns="0" rIns="0" bIns="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indent="0">
              <a:lnSpc>
                <a:spcPct val="110000"/>
              </a:lnSpc>
              <a:spcBef>
                <a:spcPts val="0"/>
              </a:spcBef>
              <a:spcAft>
                <a:spcPts val="600"/>
              </a:spcAft>
              <a:buNone/>
              <a:defRPr sz="1600">
                <a:solidFill>
                  <a:srgbClr val="000000"/>
                </a:solidFill>
              </a:defRPr>
            </a:lvl2pPr>
            <a:lvl3pPr marL="0" indent="0">
              <a:lnSpc>
                <a:spcPct val="110000"/>
              </a:lnSpc>
              <a:spcBef>
                <a:spcPts val="0"/>
              </a:spcBef>
              <a:spcAft>
                <a:spcPts val="600"/>
              </a:spcAft>
              <a:buNone/>
              <a:defRPr sz="1400">
                <a:solidFill>
                  <a:srgbClr val="000000"/>
                </a:solidFill>
                <a:latin typeface="+mn-lt"/>
              </a:defRPr>
            </a:lvl3pPr>
            <a:lvl4pPr marL="672161" indent="0">
              <a:spcBef>
                <a:spcPts val="0"/>
              </a:spcBef>
              <a:spcAft>
                <a:spcPts val="1273"/>
              </a:spcAft>
              <a:buNone/>
              <a:defRPr sz="1961"/>
            </a:lvl4pPr>
            <a:lvl5pPr marL="896214" indent="0">
              <a:buNone/>
              <a:defRPr/>
            </a:lvl5pPr>
          </a:lstStyle>
          <a:p>
            <a:pPr lvl="0"/>
            <a:r>
              <a:rPr lang="en-US"/>
              <a:t>First level Segoe UI </a:t>
            </a:r>
            <a:r>
              <a:rPr lang="en-US" err="1"/>
              <a:t>Semibold</a:t>
            </a:r>
            <a:r>
              <a:rPr lang="en-US"/>
              <a:t> 18pt</a:t>
            </a:r>
          </a:p>
          <a:p>
            <a:pPr lvl="1"/>
            <a:r>
              <a:rPr lang="en-US"/>
              <a:t>Second level Segoe UI 16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4"/>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4pt</a:t>
            </a:r>
          </a:p>
        </p:txBody>
      </p:sp>
    </p:spTree>
    <p:extLst>
      <p:ext uri="{BB962C8B-B14F-4D97-AF65-F5344CB8AC3E}">
        <p14:creationId xmlns:p14="http://schemas.microsoft.com/office/powerpoint/2010/main" val="311388050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101014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8157021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D3D2B6B-AC11-2B76-1169-C96D6A654F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1561414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9E7A6B8F-D1A1-7D0C-E3AA-991519746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49937582"/>
      </p:ext>
    </p:extLst>
  </p:cSld>
  <p:clrMapOvr>
    <a:masterClrMapping/>
  </p:clrMapOvr>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492CCE05-D8A7-C9AE-5937-8233E8FC47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79527790"/>
      </p:ext>
    </p:extLst>
  </p:cSld>
  <p:clrMapOvr>
    <a:masterClrMapping/>
  </p:clrMapOvr>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EFAE415F-FDC4-A9C2-5496-7B3AE34C87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9084887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2C96D63-E62D-1C0D-749E-255E0F38B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5796634"/>
      </p:ext>
    </p:extLst>
  </p:cSld>
  <p:clrMapOvr>
    <a:masterClrMapping/>
  </p:clrMapOvr>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712469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654816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58114250"/>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3120516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4362465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8132436"/>
      </p:ext>
    </p:extLst>
  </p:cSld>
  <p:clrMapOvr>
    <a:masterClrMapping/>
  </p:clrMapOvr>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706514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187137284"/>
      </p:ext>
    </p:extLst>
  </p:cSld>
  <p:clrMapOvr>
    <a:masterClrMapping/>
  </p:clrMapOvr>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483245026"/>
      </p:ext>
    </p:extLst>
  </p:cSld>
  <p:clrMapOvr>
    <a:masterClrMapping/>
  </p:clrMapOvr>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6162039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673379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theme" Target="../theme/theme2.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50" Type="http://schemas.openxmlformats.org/officeDocument/2006/relationships/slideLayout" Target="../slideLayouts/slideLayout80.xml"/><Relationship Id="rId55" Type="http://schemas.openxmlformats.org/officeDocument/2006/relationships/tags" Target="../tags/tag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3" Type="http://schemas.openxmlformats.org/officeDocument/2006/relationships/theme" Target="../theme/theme3.xml"/><Relationship Id="rId5" Type="http://schemas.openxmlformats.org/officeDocument/2006/relationships/slideLayout" Target="../slideLayouts/slideLayout35.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56" Type="http://schemas.openxmlformats.org/officeDocument/2006/relationships/tags" Target="../tags/tag4.xml"/><Relationship Id="rId8" Type="http://schemas.openxmlformats.org/officeDocument/2006/relationships/slideLayout" Target="../slideLayouts/slideLayout38.xml"/><Relationship Id="rId51" Type="http://schemas.openxmlformats.org/officeDocument/2006/relationships/slideLayout" Target="../slideLayouts/slideLayout81.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54" Type="http://schemas.openxmlformats.org/officeDocument/2006/relationships/tags" Target="../tags/tag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 Id="rId57" Type="http://schemas.openxmlformats.org/officeDocument/2006/relationships/image" Target="../media/image5.emf"/><Relationship Id="rId10" Type="http://schemas.openxmlformats.org/officeDocument/2006/relationships/slideLayout" Target="../slideLayouts/slideLayout40.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9" Type="http://schemas.openxmlformats.org/officeDocument/2006/relationships/slideLayout" Target="../slideLayouts/slideLayout121.xml"/><Relationship Id="rId21" Type="http://schemas.openxmlformats.org/officeDocument/2006/relationships/slideLayout" Target="../slideLayouts/slideLayout103.xml"/><Relationship Id="rId34" Type="http://schemas.openxmlformats.org/officeDocument/2006/relationships/slideLayout" Target="../slideLayouts/slideLayout116.xml"/><Relationship Id="rId42" Type="http://schemas.openxmlformats.org/officeDocument/2006/relationships/slideLayout" Target="../slideLayouts/slideLayout124.xml"/><Relationship Id="rId47" Type="http://schemas.openxmlformats.org/officeDocument/2006/relationships/slideLayout" Target="../slideLayouts/slideLayout129.xml"/><Relationship Id="rId50" Type="http://schemas.openxmlformats.org/officeDocument/2006/relationships/slideLayout" Target="../slideLayouts/slideLayout132.xml"/><Relationship Id="rId55" Type="http://schemas.openxmlformats.org/officeDocument/2006/relationships/tags" Target="../tags/tag7.xml"/><Relationship Id="rId7" Type="http://schemas.openxmlformats.org/officeDocument/2006/relationships/slideLayout" Target="../slideLayouts/slideLayout8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9" Type="http://schemas.openxmlformats.org/officeDocument/2006/relationships/slideLayout" Target="../slideLayouts/slideLayout111.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37" Type="http://schemas.openxmlformats.org/officeDocument/2006/relationships/slideLayout" Target="../slideLayouts/slideLayout119.xml"/><Relationship Id="rId40" Type="http://schemas.openxmlformats.org/officeDocument/2006/relationships/slideLayout" Target="../slideLayouts/slideLayout122.xml"/><Relationship Id="rId45" Type="http://schemas.openxmlformats.org/officeDocument/2006/relationships/slideLayout" Target="../slideLayouts/slideLayout127.xml"/><Relationship Id="rId53" Type="http://schemas.openxmlformats.org/officeDocument/2006/relationships/tags" Target="../tags/tag5.xml"/><Relationship Id="rId58" Type="http://schemas.openxmlformats.org/officeDocument/2006/relationships/image" Target="../media/image5.emf"/><Relationship Id="rId5" Type="http://schemas.openxmlformats.org/officeDocument/2006/relationships/slideLayout" Target="../slideLayouts/slideLayout87.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slideLayout" Target="../slideLayouts/slideLayout117.xml"/><Relationship Id="rId43" Type="http://schemas.openxmlformats.org/officeDocument/2006/relationships/slideLayout" Target="../slideLayouts/slideLayout125.xml"/><Relationship Id="rId48" Type="http://schemas.openxmlformats.org/officeDocument/2006/relationships/slideLayout" Target="../slideLayouts/slideLayout130.xml"/><Relationship Id="rId56" Type="http://schemas.openxmlformats.org/officeDocument/2006/relationships/tags" Target="../tags/tag8.xml"/><Relationship Id="rId8" Type="http://schemas.openxmlformats.org/officeDocument/2006/relationships/slideLayout" Target="../slideLayouts/slideLayout90.xml"/><Relationship Id="rId51" Type="http://schemas.openxmlformats.org/officeDocument/2006/relationships/slideLayout" Target="../slideLayouts/slideLayout133.xml"/><Relationship Id="rId3" Type="http://schemas.openxmlformats.org/officeDocument/2006/relationships/slideLayout" Target="../slideLayouts/slideLayout85.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38" Type="http://schemas.openxmlformats.org/officeDocument/2006/relationships/slideLayout" Target="../slideLayouts/slideLayout120.xml"/><Relationship Id="rId46" Type="http://schemas.openxmlformats.org/officeDocument/2006/relationships/slideLayout" Target="../slideLayouts/slideLayout128.xml"/><Relationship Id="rId20" Type="http://schemas.openxmlformats.org/officeDocument/2006/relationships/slideLayout" Target="../slideLayouts/slideLayout102.xml"/><Relationship Id="rId41" Type="http://schemas.openxmlformats.org/officeDocument/2006/relationships/slideLayout" Target="../slideLayouts/slideLayout123.xml"/><Relationship Id="rId54" Type="http://schemas.openxmlformats.org/officeDocument/2006/relationships/tags" Target="../tags/tag6.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36" Type="http://schemas.openxmlformats.org/officeDocument/2006/relationships/slideLayout" Target="../slideLayouts/slideLayout118.xml"/><Relationship Id="rId49" Type="http://schemas.openxmlformats.org/officeDocument/2006/relationships/slideLayout" Target="../slideLayouts/slideLayout131.xml"/><Relationship Id="rId57" Type="http://schemas.openxmlformats.org/officeDocument/2006/relationships/tags" Target="../tags/tag9.xml"/><Relationship Id="rId10" Type="http://schemas.openxmlformats.org/officeDocument/2006/relationships/slideLayout" Target="../slideLayouts/slideLayout92.xml"/><Relationship Id="rId31" Type="http://schemas.openxmlformats.org/officeDocument/2006/relationships/slideLayout" Target="../slideLayouts/slideLayout113.xml"/><Relationship Id="rId44" Type="http://schemas.openxmlformats.org/officeDocument/2006/relationships/slideLayout" Target="../slideLayouts/slideLayout126.xml"/><Relationship Id="rId5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image" Target="../media/image5.emf"/><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tags" Target="../tags/tag11.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tags" Target="../tags/tag10.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image" Target="../media/image1.png"/><Relationship Id="rId8" Type="http://schemas.openxmlformats.org/officeDocument/2006/relationships/slideLayout" Target="../slideLayouts/slideLayout141.xml"/><Relationship Id="rId51" Type="http://schemas.openxmlformats.org/officeDocument/2006/relationships/theme" Target="../theme/theme5.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54" Type="http://schemas.openxmlformats.org/officeDocument/2006/relationships/tags" Target="../tags/tag1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tags" Target="../tags/tag13.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3" Type="http://schemas.openxmlformats.org/officeDocument/2006/relationships/image" Target="../media/image5.emf"/><Relationship Id="rId5" Type="http://schemas.openxmlformats.org/officeDocument/2006/relationships/slideLayout" Target="../slideLayouts/slideLayout188.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tags" Target="../tags/tag15.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8" Type="http://schemas.openxmlformats.org/officeDocument/2006/relationships/slideLayout" Target="../slideLayouts/slideLayout191.xml"/><Relationship Id="rId51" Type="http://schemas.openxmlformats.org/officeDocument/2006/relationships/tags" Target="../tags/tag14.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tags" Target="../tags/tag17.xml"/><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theme" Target="../theme/theme7.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image" Target="../media/image5.emf"/><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tags" Target="../tags/tag18.xml"/><Relationship Id="rId8" Type="http://schemas.openxmlformats.org/officeDocument/2006/relationships/slideLayout" Target="../slideLayouts/slideLayout239.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tags" Target="../tags/tag16.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1" Type="http://schemas.openxmlformats.org/officeDocument/2006/relationships/slideLayout" Target="../slideLayouts/slideLayout232.xml"/><Relationship Id="rId6" Type="http://schemas.openxmlformats.org/officeDocument/2006/relationships/slideLayout" Target="../slideLayouts/slideLayout2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115641875"/>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02544178"/>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34486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 id="2147483866" r:id="rId32"/>
    <p:sldLayoutId id="2147483867" r:id="rId33"/>
    <p:sldLayoutId id="2147483868" r:id="rId34"/>
    <p:sldLayoutId id="2147483869" r:id="rId35"/>
    <p:sldLayoutId id="2147483870" r:id="rId36"/>
    <p:sldLayoutId id="2147483871" r:id="rId37"/>
    <p:sldLayoutId id="2147483872" r:id="rId38"/>
    <p:sldLayoutId id="2147483873" r:id="rId39"/>
    <p:sldLayoutId id="2147483874" r:id="rId40"/>
    <p:sldLayoutId id="2147483875" r:id="rId41"/>
    <p:sldLayoutId id="2147483876" r:id="rId42"/>
    <p:sldLayoutId id="2147483877" r:id="rId43"/>
    <p:sldLayoutId id="2147483878" r:id="rId44"/>
    <p:sldLayoutId id="2147483879" r:id="rId45"/>
    <p:sldLayoutId id="2147483880" r:id="rId46"/>
    <p:sldLayoutId id="2147483881" r:id="rId47"/>
    <p:sldLayoutId id="2147483882" r:id="rId48"/>
    <p:sldLayoutId id="2147483883" r:id="rId49"/>
    <p:sldLayoutId id="2147483885" r:id="rId50"/>
    <p:sldLayoutId id="2147483886" r:id="rId51"/>
    <p:sldLayoutId id="2147483890" r:id="rId52"/>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4AC11C88-7495-5D5A-5554-4F70C0CB1717}"/>
              </a:ext>
              <a:ext uri="{C183D7F6-B498-43B3-948B-1728B52AA6E4}">
                <adec:decorative xmlns:adec="http://schemas.microsoft.com/office/drawing/2017/decorative" val="1"/>
              </a:ext>
            </a:extLst>
          </p:cNvPr>
          <p:cNvSpPr/>
          <p:nvPr userDrawn="1">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970D9AEE-952E-5745-1724-A639123657DA}"/>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8462812"/>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 id="2147483919" r:id="rId28"/>
    <p:sldLayoutId id="2147483920" r:id="rId29"/>
    <p:sldLayoutId id="2147483921" r:id="rId30"/>
    <p:sldLayoutId id="2147483922" r:id="rId31"/>
    <p:sldLayoutId id="2147483923" r:id="rId32"/>
    <p:sldLayoutId id="2147483924" r:id="rId33"/>
    <p:sldLayoutId id="2147483925" r:id="rId34"/>
    <p:sldLayoutId id="2147483926" r:id="rId35"/>
    <p:sldLayoutId id="2147483927" r:id="rId36"/>
    <p:sldLayoutId id="2147483928" r:id="rId37"/>
    <p:sldLayoutId id="2147483929" r:id="rId38"/>
    <p:sldLayoutId id="2147483930" r:id="rId39"/>
    <p:sldLayoutId id="2147483931" r:id="rId40"/>
    <p:sldLayoutId id="2147483932" r:id="rId41"/>
    <p:sldLayoutId id="2147483933" r:id="rId42"/>
    <p:sldLayoutId id="2147483934" r:id="rId43"/>
    <p:sldLayoutId id="2147483935" r:id="rId44"/>
    <p:sldLayoutId id="2147483936" r:id="rId45"/>
    <p:sldLayoutId id="2147483937" r:id="rId46"/>
    <p:sldLayoutId id="2147483744" r:id="rId47"/>
    <p:sldLayoutId id="2147483707" r:id="rId48"/>
    <p:sldLayoutId id="2147483708" r:id="rId49"/>
    <p:sldLayoutId id="2147483737" r:id="rId50"/>
    <p:sldLayoutId id="2147483727" r:id="rId5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AC6C76C2-AECC-BF77-1412-052A09A1A358}"/>
              </a:ext>
            </a:extLst>
          </p:cNvPr>
          <p:cNvPicPr>
            <a:picLocks noChangeAspect="1"/>
          </p:cNvPicPr>
          <p:nvPr userDrawn="1"/>
        </p:nvPicPr>
        <p:blipFill>
          <a:blip r:embed="rId5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03430421"/>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 id="2147484014" r:id="rId28"/>
    <p:sldLayoutId id="2147484015" r:id="rId29"/>
    <p:sldLayoutId id="2147484016" r:id="rId30"/>
    <p:sldLayoutId id="2147484017" r:id="rId31"/>
    <p:sldLayoutId id="2147484018" r:id="rId32"/>
    <p:sldLayoutId id="2147484019" r:id="rId33"/>
    <p:sldLayoutId id="2147484020" r:id="rId34"/>
    <p:sldLayoutId id="2147484021" r:id="rId35"/>
    <p:sldLayoutId id="2147484022" r:id="rId36"/>
    <p:sldLayoutId id="2147484023" r:id="rId37"/>
    <p:sldLayoutId id="2147484024" r:id="rId38"/>
    <p:sldLayoutId id="2147484025" r:id="rId39"/>
    <p:sldLayoutId id="2147484026" r:id="rId40"/>
    <p:sldLayoutId id="2147484027" r:id="rId41"/>
    <p:sldLayoutId id="2147484028" r:id="rId42"/>
    <p:sldLayoutId id="2147484029" r:id="rId43"/>
    <p:sldLayoutId id="2147484030" r:id="rId44"/>
    <p:sldLayoutId id="2147484031" r:id="rId45"/>
    <p:sldLayoutId id="2147484032" r:id="rId46"/>
    <p:sldLayoutId id="2147484033" r:id="rId47"/>
    <p:sldLayoutId id="2147484034" r:id="rId48"/>
    <p:sldLayoutId id="2147484035" r:id="rId49"/>
    <p:sldLayoutId id="2147484036" r:id="rId50"/>
  </p:sldLayoutIdLst>
  <p:transition>
    <p:fade/>
  </p:transition>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802873"/>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 id="2147484070" r:id="rId33"/>
    <p:sldLayoutId id="2147484071" r:id="rId34"/>
    <p:sldLayoutId id="2147484072" r:id="rId35"/>
    <p:sldLayoutId id="2147484073" r:id="rId36"/>
    <p:sldLayoutId id="2147484074" r:id="rId37"/>
    <p:sldLayoutId id="2147484075" r:id="rId38"/>
    <p:sldLayoutId id="2147484076" r:id="rId39"/>
    <p:sldLayoutId id="2147484077" r:id="rId40"/>
    <p:sldLayoutId id="2147484078" r:id="rId41"/>
    <p:sldLayoutId id="2147484079" r:id="rId42"/>
    <p:sldLayoutId id="2147484080" r:id="rId43"/>
    <p:sldLayoutId id="2147484081" r:id="rId44"/>
    <p:sldLayoutId id="2147484082" r:id="rId45"/>
    <p:sldLayoutId id="2147484083" r:id="rId46"/>
    <p:sldLayoutId id="2147484084" r:id="rId47"/>
    <p:sldLayoutId id="2147483889" r:id="rId48"/>
  </p:sldLayoutIdLst>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1882851"/>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 id="2147484115" r:id="rId30"/>
    <p:sldLayoutId id="2147484116" r:id="rId31"/>
    <p:sldLayoutId id="2147484117" r:id="rId32"/>
    <p:sldLayoutId id="2147484118" r:id="rId33"/>
    <p:sldLayoutId id="2147484119" r:id="rId34"/>
    <p:sldLayoutId id="2147484120" r:id="rId35"/>
    <p:sldLayoutId id="2147484121" r:id="rId36"/>
    <p:sldLayoutId id="2147484122" r:id="rId37"/>
    <p:sldLayoutId id="2147484123" r:id="rId38"/>
    <p:sldLayoutId id="2147484124" r:id="rId39"/>
    <p:sldLayoutId id="2147484125" r:id="rId40"/>
    <p:sldLayoutId id="2147484126" r:id="rId41"/>
    <p:sldLayoutId id="2147484127" r:id="rId42"/>
    <p:sldLayoutId id="2147484128" r:id="rId43"/>
    <p:sldLayoutId id="2147484129"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14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Layout" Target="../slideLayouts/slideLayout18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2.xml"/><Relationship Id="rId1" Type="http://schemas.openxmlformats.org/officeDocument/2006/relationships/tags" Target="../tags/tag21.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8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gif"/><Relationship Id="rId1" Type="http://schemas.openxmlformats.org/officeDocument/2006/relationships/slideLayout" Target="../slideLayouts/slideLayout18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9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9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95.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95.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7.xml"/><Relationship Id="rId1" Type="http://schemas.openxmlformats.org/officeDocument/2006/relationships/slideLayout" Target="../slideLayouts/slideLayout9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2.xml"/><Relationship Id="rId1" Type="http://schemas.openxmlformats.org/officeDocument/2006/relationships/tags" Target="../tags/tag22.xml"/><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1.jpeg"/><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0.xml"/><Relationship Id="rId1" Type="http://schemas.openxmlformats.org/officeDocument/2006/relationships/slideLayout" Target="../slideLayouts/slideLayout9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24.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9.png"/><Relationship Id="rId2" Type="http://schemas.openxmlformats.org/officeDocument/2006/relationships/customXml" Target="../../customXml/item8.xml"/><Relationship Id="rId1" Type="http://schemas.openxmlformats.org/officeDocument/2006/relationships/tags" Target="../tags/tag25.xml"/><Relationship Id="rId6" Type="http://schemas.openxmlformats.org/officeDocument/2006/relationships/notesSlide" Target="../notesSlides/notesSlide22.xml"/><Relationship Id="rId5" Type="http://schemas.openxmlformats.org/officeDocument/2006/relationships/slideLayout" Target="../slideLayouts/slideLayout91.xml"/><Relationship Id="rId4" Type="http://schemas.openxmlformats.org/officeDocument/2006/relationships/tags" Target="../tags/tag2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91.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1.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4.xml"/><Relationship Id="rId1" Type="http://schemas.openxmlformats.org/officeDocument/2006/relationships/slideLayout" Target="../slideLayouts/slideLayout9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5.xml"/><Relationship Id="rId1" Type="http://schemas.openxmlformats.org/officeDocument/2006/relationships/slideLayout" Target="../slideLayouts/slideLayout91.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6.xml"/><Relationship Id="rId1" Type="http://schemas.openxmlformats.org/officeDocument/2006/relationships/slideLayout" Target="../slideLayouts/slideLayout9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8.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7.xml"/><Relationship Id="rId1" Type="http://schemas.openxmlformats.org/officeDocument/2006/relationships/slideLayout" Target="../slideLayouts/slideLayout9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91.xml"/><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91.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2.xml"/><Relationship Id="rId1" Type="http://schemas.openxmlformats.org/officeDocument/2006/relationships/tags" Target="../tags/tag27.xml"/><Relationship Id="rId4" Type="http://schemas.openxmlformats.org/officeDocument/2006/relationships/image" Target="../media/image23.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41.jpeg"/><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9.png"/><Relationship Id="rId2" Type="http://schemas.openxmlformats.org/officeDocument/2006/relationships/customXml" Target="../../customXml/item10.xml"/><Relationship Id="rId1" Type="http://schemas.openxmlformats.org/officeDocument/2006/relationships/tags" Target="../tags/tag30.xml"/><Relationship Id="rId6" Type="http://schemas.openxmlformats.org/officeDocument/2006/relationships/notesSlide" Target="../notesSlides/notesSlide32.xml"/><Relationship Id="rId5" Type="http://schemas.openxmlformats.org/officeDocument/2006/relationships/slideLayout" Target="../slideLayouts/slideLayout91.xml"/><Relationship Id="rId4" Type="http://schemas.openxmlformats.org/officeDocument/2006/relationships/tags" Target="../tags/tag31.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3.xml"/><Relationship Id="rId1" Type="http://schemas.openxmlformats.org/officeDocument/2006/relationships/slideLayout" Target="../slideLayouts/slideLayout9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4.xml"/><Relationship Id="rId1" Type="http://schemas.openxmlformats.org/officeDocument/2006/relationships/slideLayout" Target="../slideLayouts/slideLayout9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9.png"/><Relationship Id="rId2" Type="http://schemas.openxmlformats.org/officeDocument/2006/relationships/customXml" Target="../../customXml/item6.xml"/><Relationship Id="rId1" Type="http://schemas.openxmlformats.org/officeDocument/2006/relationships/tags" Target="../tags/tag19.xml"/><Relationship Id="rId6" Type="http://schemas.openxmlformats.org/officeDocument/2006/relationships/notesSlide" Target="../notesSlides/notesSlide4.xml"/><Relationship Id="rId5" Type="http://schemas.openxmlformats.org/officeDocument/2006/relationships/slideLayout" Target="../slideLayouts/slideLayout91.xml"/><Relationship Id="rId4" Type="http://schemas.openxmlformats.org/officeDocument/2006/relationships/tags" Target="../tags/tag20.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6.xml"/><Relationship Id="rId1" Type="http://schemas.openxmlformats.org/officeDocument/2006/relationships/slideLayout" Target="../slideLayouts/slideLayout91.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7.xml"/><Relationship Id="rId1" Type="http://schemas.openxmlformats.org/officeDocument/2006/relationships/slideLayout" Target="../slideLayouts/slideLayout91.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8.xml"/><Relationship Id="rId1" Type="http://schemas.openxmlformats.org/officeDocument/2006/relationships/slideLayout" Target="../slideLayouts/slideLayout91.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0.xml"/><Relationship Id="rId1" Type="http://schemas.openxmlformats.org/officeDocument/2006/relationships/slideLayout" Target="../slideLayouts/slideLayout91.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2.xml"/><Relationship Id="rId1" Type="http://schemas.openxmlformats.org/officeDocument/2006/relationships/tags" Target="../tags/tag32.xml"/><Relationship Id="rId4" Type="http://schemas.openxmlformats.org/officeDocument/2006/relationships/image" Target="../media/image23.jpe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6.png"/><Relationship Id="rId4" Type="http://schemas.openxmlformats.org/officeDocument/2006/relationships/notesSlide" Target="../notesSlides/notesSlide4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1.jpeg"/><Relationship Id="rId4" Type="http://schemas.openxmlformats.org/officeDocument/2006/relationships/notesSlide" Target="../notesSlides/notesSlide4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4.xml"/><Relationship Id="rId1" Type="http://schemas.openxmlformats.org/officeDocument/2006/relationships/slideLayout" Target="../slideLayouts/slideLayout96.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9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9.png"/><Relationship Id="rId2" Type="http://schemas.openxmlformats.org/officeDocument/2006/relationships/customXml" Target="../../customXml/item12.xml"/><Relationship Id="rId1" Type="http://schemas.openxmlformats.org/officeDocument/2006/relationships/tags" Target="../tags/tag37.xml"/><Relationship Id="rId6" Type="http://schemas.openxmlformats.org/officeDocument/2006/relationships/notesSlide" Target="../notesSlides/notesSlide45.xml"/><Relationship Id="rId5" Type="http://schemas.openxmlformats.org/officeDocument/2006/relationships/slideLayout" Target="../slideLayouts/slideLayout91.xml"/><Relationship Id="rId4" Type="http://schemas.openxmlformats.org/officeDocument/2006/relationships/tags" Target="../tags/tag38.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6.xml"/><Relationship Id="rId1" Type="http://schemas.openxmlformats.org/officeDocument/2006/relationships/slideLayout" Target="../slideLayouts/slideLayout91.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1.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0.xml"/><Relationship Id="rId1" Type="http://schemas.openxmlformats.org/officeDocument/2006/relationships/slideLayout" Target="../slideLayouts/slideLayout91.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1.xml"/><Relationship Id="rId1" Type="http://schemas.openxmlformats.org/officeDocument/2006/relationships/slideLayout" Target="../slideLayouts/slideLayout91.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2.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9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1.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4.xml"/><Relationship Id="rId1" Type="http://schemas.openxmlformats.org/officeDocument/2006/relationships/slideLayout" Target="../slideLayouts/slideLayout91.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55.xml"/><Relationship Id="rId1" Type="http://schemas.openxmlformats.org/officeDocument/2006/relationships/slideLayout" Target="../slideLayouts/slideLayout91.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56.xml"/><Relationship Id="rId1" Type="http://schemas.openxmlformats.org/officeDocument/2006/relationships/slideLayout" Target="../slideLayouts/slideLayout91.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6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57.xml"/><Relationship Id="rId1" Type="http://schemas.openxmlformats.org/officeDocument/2006/relationships/slideLayout" Target="../slideLayouts/slideLayout91.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6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58.xml"/><Relationship Id="rId1" Type="http://schemas.openxmlformats.org/officeDocument/2006/relationships/slideLayout" Target="../slideLayouts/slideLayout91.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 Id="rId9" Type="http://schemas.openxmlformats.org/officeDocument/2006/relationships/image" Target="../media/image50.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02.xml"/><Relationship Id="rId1" Type="http://schemas.openxmlformats.org/officeDocument/2006/relationships/tags" Target="../tags/tag39.xml"/><Relationship Id="rId4" Type="http://schemas.openxmlformats.org/officeDocument/2006/relationships/image" Target="../media/image23.jpe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46.png"/><Relationship Id="rId4" Type="http://schemas.openxmlformats.org/officeDocument/2006/relationships/notesSlide" Target="../notesSlides/notesSlide60.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41.jpeg"/><Relationship Id="rId4" Type="http://schemas.openxmlformats.org/officeDocument/2006/relationships/notesSlide" Target="../notesSlides/notesSlide61.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62.xml"/><Relationship Id="rId1" Type="http://schemas.openxmlformats.org/officeDocument/2006/relationships/slideLayout" Target="../slideLayouts/slideLayout96.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71.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9.png"/><Relationship Id="rId2" Type="http://schemas.openxmlformats.org/officeDocument/2006/relationships/customXml" Target="../../customXml/item14.xml"/><Relationship Id="rId1" Type="http://schemas.openxmlformats.org/officeDocument/2006/relationships/tags" Target="../tags/tag44.xml"/><Relationship Id="rId6" Type="http://schemas.openxmlformats.org/officeDocument/2006/relationships/notesSlide" Target="../notesSlides/notesSlide63.xml"/><Relationship Id="rId5" Type="http://schemas.openxmlformats.org/officeDocument/2006/relationships/slideLayout" Target="../slideLayouts/slideLayout91.xml"/><Relationship Id="rId4" Type="http://schemas.openxmlformats.org/officeDocument/2006/relationships/tags" Target="../tags/tag4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2.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8.xml"/><Relationship Id="rId1" Type="http://schemas.openxmlformats.org/officeDocument/2006/relationships/tags" Target="../tags/tag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91.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69.xml"/><Relationship Id="rId1" Type="http://schemas.openxmlformats.org/officeDocument/2006/relationships/slideLayout" Target="../slideLayouts/slideLayout191.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78.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70.xml"/><Relationship Id="rId1" Type="http://schemas.openxmlformats.org/officeDocument/2006/relationships/slideLayout" Target="../slideLayouts/slideLayout191.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71.xml"/><Relationship Id="rId1" Type="http://schemas.openxmlformats.org/officeDocument/2006/relationships/slideLayout" Target="../slideLayouts/slideLayout230.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9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72.xml"/><Relationship Id="rId1" Type="http://schemas.openxmlformats.org/officeDocument/2006/relationships/slideLayout" Target="../slideLayouts/slideLayout230.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73.xml"/><Relationship Id="rId1" Type="http://schemas.openxmlformats.org/officeDocument/2006/relationships/slideLayout" Target="../slideLayouts/slideLayout90.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8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notesSlide" Target="../notesSlides/notesSlide74.xml"/><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slideLayout" Target="../slideLayouts/slideLayout191.xml"/><Relationship Id="rId1" Type="http://schemas.openxmlformats.org/officeDocument/2006/relationships/tags" Target="../tags/tag47.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s>
</file>

<file path=ppt/slides/_rels/slide83.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diagramQuickStyle" Target="../diagrams/quickStyle36.xml"/><Relationship Id="rId3" Type="http://schemas.openxmlformats.org/officeDocument/2006/relationships/notesSlide" Target="../notesSlides/notesSlide75.xml"/><Relationship Id="rId21" Type="http://schemas.openxmlformats.org/officeDocument/2006/relationships/diagramData" Target="../diagrams/data37.xml"/><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diagramLayout" Target="../diagrams/layout36.xml"/><Relationship Id="rId25" Type="http://schemas.microsoft.com/office/2007/relationships/diagramDrawing" Target="../diagrams/drawing37.xml"/><Relationship Id="rId2" Type="http://schemas.openxmlformats.org/officeDocument/2006/relationships/slideLayout" Target="../slideLayouts/slideLayout191.xml"/><Relationship Id="rId16" Type="http://schemas.openxmlformats.org/officeDocument/2006/relationships/diagramData" Target="../diagrams/data36.xml"/><Relationship Id="rId20" Type="http://schemas.microsoft.com/office/2007/relationships/diagramDrawing" Target="../diagrams/drawing36.xml"/><Relationship Id="rId1" Type="http://schemas.openxmlformats.org/officeDocument/2006/relationships/tags" Target="../tags/tag48.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diagramColors" Target="../diagrams/colors37.xml"/><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diagramQuickStyle" Target="../diagrams/quickStyle37.xml"/><Relationship Id="rId10" Type="http://schemas.openxmlformats.org/officeDocument/2006/relationships/image" Target="../media/image57.png"/><Relationship Id="rId19" Type="http://schemas.openxmlformats.org/officeDocument/2006/relationships/diagramColors" Target="../diagrams/colors36.xml"/><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diagramLayout" Target="../diagrams/layout37.xml"/></Relationships>
</file>

<file path=ppt/slides/_rels/slide8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diagramQuickStyle" Target="../diagrams/quickStyle38.xml"/><Relationship Id="rId3" Type="http://schemas.openxmlformats.org/officeDocument/2006/relationships/notesSlide" Target="../notesSlides/notesSlide76.xml"/><Relationship Id="rId21" Type="http://schemas.openxmlformats.org/officeDocument/2006/relationships/diagramData" Target="../diagrams/data39.xml"/><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diagramLayout" Target="../diagrams/layout38.xml"/><Relationship Id="rId25" Type="http://schemas.microsoft.com/office/2007/relationships/diagramDrawing" Target="../diagrams/drawing39.xml"/><Relationship Id="rId2" Type="http://schemas.openxmlformats.org/officeDocument/2006/relationships/slideLayout" Target="../slideLayouts/slideLayout191.xml"/><Relationship Id="rId16" Type="http://schemas.openxmlformats.org/officeDocument/2006/relationships/diagramData" Target="../diagrams/data38.xml"/><Relationship Id="rId20" Type="http://schemas.microsoft.com/office/2007/relationships/diagramDrawing" Target="../diagrams/drawing38.xml"/><Relationship Id="rId1" Type="http://schemas.openxmlformats.org/officeDocument/2006/relationships/tags" Target="../tags/tag49.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diagramColors" Target="../diagrams/colors39.xml"/><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diagramQuickStyle" Target="../diagrams/quickStyle39.xml"/><Relationship Id="rId10" Type="http://schemas.openxmlformats.org/officeDocument/2006/relationships/image" Target="../media/image57.png"/><Relationship Id="rId19" Type="http://schemas.openxmlformats.org/officeDocument/2006/relationships/diagramColors" Target="../diagrams/colors38.xml"/><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diagramLayout" Target="../diagrams/layout39.xml"/></Relationships>
</file>

<file path=ppt/slides/_rels/slide8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diagramQuickStyle" Target="../diagrams/quickStyle40.xml"/><Relationship Id="rId3" Type="http://schemas.openxmlformats.org/officeDocument/2006/relationships/notesSlide" Target="../notesSlides/notesSlide77.xml"/><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diagramLayout" Target="../diagrams/layout40.xml"/><Relationship Id="rId2" Type="http://schemas.openxmlformats.org/officeDocument/2006/relationships/slideLayout" Target="../slideLayouts/slideLayout191.xml"/><Relationship Id="rId16" Type="http://schemas.openxmlformats.org/officeDocument/2006/relationships/diagramData" Target="../diagrams/data40.xml"/><Relationship Id="rId20" Type="http://schemas.microsoft.com/office/2007/relationships/diagramDrawing" Target="../diagrams/drawing40.xml"/><Relationship Id="rId1" Type="http://schemas.openxmlformats.org/officeDocument/2006/relationships/tags" Target="../tags/tag50.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png"/><Relationship Id="rId19" Type="http://schemas.openxmlformats.org/officeDocument/2006/relationships/diagramColors" Target="../diagrams/colors40.xml"/><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s>
</file>

<file path=ppt/slides/_rels/slide86.xml.rels><?xml version="1.0" encoding="UTF-8" standalone="yes"?>
<Relationships xmlns="http://schemas.openxmlformats.org/package/2006/relationships"><Relationship Id="rId3" Type="http://schemas.openxmlformats.org/officeDocument/2006/relationships/diagramData" Target="../diagrams/data41.xml"/><Relationship Id="rId7" Type="http://schemas.microsoft.com/office/2007/relationships/diagramDrawing" Target="../diagrams/drawing41.xml"/><Relationship Id="rId2" Type="http://schemas.openxmlformats.org/officeDocument/2006/relationships/notesSlide" Target="../notesSlides/notesSlide78.xml"/><Relationship Id="rId1" Type="http://schemas.openxmlformats.org/officeDocument/2006/relationships/slideLayout" Target="../slideLayouts/slideLayout228.xml"/><Relationship Id="rId6" Type="http://schemas.openxmlformats.org/officeDocument/2006/relationships/diagramColors" Target="../diagrams/colors41.xml"/><Relationship Id="rId5" Type="http://schemas.openxmlformats.org/officeDocument/2006/relationships/diagramQuickStyle" Target="../diagrams/quickStyle41.xml"/><Relationship Id="rId4" Type="http://schemas.openxmlformats.org/officeDocument/2006/relationships/diagramLayout" Target="../diagrams/layout41.xml"/></Relationships>
</file>

<file path=ppt/slides/_rels/slide87.xml.rels><?xml version="1.0" encoding="UTF-8" standalone="yes"?>
<Relationships xmlns="http://schemas.openxmlformats.org/package/2006/relationships"><Relationship Id="rId3" Type="http://schemas.openxmlformats.org/officeDocument/2006/relationships/diagramData" Target="../diagrams/data42.xml"/><Relationship Id="rId7" Type="http://schemas.microsoft.com/office/2007/relationships/diagramDrawing" Target="../diagrams/drawing42.xml"/><Relationship Id="rId2" Type="http://schemas.openxmlformats.org/officeDocument/2006/relationships/notesSlide" Target="../notesSlides/notesSlide79.xml"/><Relationship Id="rId1" Type="http://schemas.openxmlformats.org/officeDocument/2006/relationships/slideLayout" Target="../slideLayouts/slideLayout91.xml"/><Relationship Id="rId6" Type="http://schemas.openxmlformats.org/officeDocument/2006/relationships/diagramColors" Target="../diagrams/colors42.xml"/><Relationship Id="rId5" Type="http://schemas.openxmlformats.org/officeDocument/2006/relationships/diagramQuickStyle" Target="../diagrams/quickStyle42.xml"/><Relationship Id="rId4" Type="http://schemas.openxmlformats.org/officeDocument/2006/relationships/diagramLayout" Target="../diagrams/layout42.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46.png"/><Relationship Id="rId4" Type="http://schemas.openxmlformats.org/officeDocument/2006/relationships/notesSlide" Target="../notesSlides/notesSlide80.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41.jpeg"/><Relationship Id="rId4" Type="http://schemas.openxmlformats.org/officeDocument/2006/relationships/notesSlide" Target="../notesSlides/notesSlide81.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10.xml"/><Relationship Id="rId4" Type="http://schemas.openxmlformats.org/officeDocument/2006/relationships/image" Target="../media/image15.png"/></Relationships>
</file>

<file path=ppt/slides/_rels/slide90.xml.rels><?xml version="1.0" encoding="UTF-8" standalone="yes"?>
<Relationships xmlns="http://schemas.openxmlformats.org/package/2006/relationships"><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notesSlide" Target="../notesSlides/notesSlide82.xml"/><Relationship Id="rId1" Type="http://schemas.openxmlformats.org/officeDocument/2006/relationships/slideLayout" Target="../slideLayouts/slideLayout96.xml"/><Relationship Id="rId6" Type="http://schemas.openxmlformats.org/officeDocument/2006/relationships/diagramColors" Target="../diagrams/colors43.xml"/><Relationship Id="rId5" Type="http://schemas.openxmlformats.org/officeDocument/2006/relationships/diagramQuickStyle" Target="../diagrams/quickStyle43.xml"/><Relationship Id="rId4" Type="http://schemas.openxmlformats.org/officeDocument/2006/relationships/diagramLayout" Target="../diagrams/layout4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a:t>SQL Server Index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5</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t>Clustered Indexes</a:t>
            </a:r>
          </a:p>
        </p:txBody>
      </p:sp>
      <p:graphicFrame>
        <p:nvGraphicFramePr>
          <p:cNvPr id="4" name="Diagram 3">
            <a:extLst>
              <a:ext uri="{FF2B5EF4-FFF2-40B4-BE49-F238E27FC236}">
                <a16:creationId xmlns:a16="http://schemas.microsoft.com/office/drawing/2014/main" id="{B3909D50-ACB2-47A5-A429-0624B0D4F7F5}"/>
              </a:ext>
            </a:extLst>
          </p:cNvPr>
          <p:cNvGraphicFramePr/>
          <p:nvPr>
            <p:extLst>
              <p:ext uri="{D42A27DB-BD31-4B8C-83A1-F6EECF244321}">
                <p14:modId xmlns:p14="http://schemas.microsoft.com/office/powerpoint/2010/main" val="241859699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053955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44F0C0-800C-4CF4-B37B-B6BE787F6327}"/>
              </a:ext>
            </a:extLst>
          </p:cNvPr>
          <p:cNvPicPr>
            <a:picLocks/>
          </p:cNvPicPr>
          <p:nvPr/>
        </p:nvPicPr>
        <p:blipFill>
          <a:blip r:embed="rId2"/>
          <a:stretch>
            <a:fillRect/>
          </a:stretch>
        </p:blipFill>
        <p:spPr>
          <a:xfrm>
            <a:off x="2872135" y="818311"/>
            <a:ext cx="7708392" cy="5698009"/>
          </a:xfrm>
          <a:prstGeom prst="rect">
            <a:avLst/>
          </a:prstGeom>
        </p:spPr>
      </p:pic>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Clustered Index Structure</a:t>
            </a:r>
          </a:p>
        </p:txBody>
      </p:sp>
      <p:sp>
        <p:nvSpPr>
          <p:cNvPr id="7" name="Rectangle 6">
            <a:extLst>
              <a:ext uri="{FF2B5EF4-FFF2-40B4-BE49-F238E27FC236}">
                <a16:creationId xmlns:a16="http://schemas.microsoft.com/office/drawing/2014/main" id="{0D9C03E4-2EF0-4C26-AD8F-E84CBE562A02}"/>
              </a:ext>
            </a:extLst>
          </p:cNvPr>
          <p:cNvSpPr/>
          <p:nvPr/>
        </p:nvSpPr>
        <p:spPr bwMode="auto">
          <a:xfrm>
            <a:off x="2714889" y="4740258"/>
            <a:ext cx="7956459"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657489" y="2940645"/>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Contains Data Pages</a:t>
            </a:r>
          </a:p>
        </p:txBody>
      </p:sp>
    </p:spTree>
    <p:extLst>
      <p:ext uri="{BB962C8B-B14F-4D97-AF65-F5344CB8AC3E}">
        <p14:creationId xmlns:p14="http://schemas.microsoft.com/office/powerpoint/2010/main" val="3393039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Examining index metadata</a:t>
            </a:r>
            <a:br>
              <a:rPr lang="en-US" b="1"/>
            </a:br>
            <a:r>
              <a:rPr lang="en-US" b="1"/>
              <a:t>and Building a B-Tree</a:t>
            </a:r>
          </a:p>
          <a:p>
            <a:pPr marL="342900" indent="-342900">
              <a:buFont typeface="Arial" panose="020B0604020202020204" pitchFamily="34" charset="0"/>
              <a:buChar char="•"/>
            </a:pPr>
            <a:r>
              <a:rPr lang="en-US" sz="2000"/>
              <a:t>This demonstration reviews index, partition, and allocation unit metadata.</a:t>
            </a:r>
          </a:p>
          <a:p>
            <a:pPr marL="342900" indent="-342900">
              <a:buFont typeface="Arial" panose="020B0604020202020204" pitchFamily="34" charset="0"/>
              <a:buChar char="•"/>
            </a:pPr>
            <a:r>
              <a:rPr lang="en-US" sz="2000"/>
              <a:t>Show how a B-Tree begins to form as rows are added to a table.</a:t>
            </a:r>
          </a:p>
          <a:p>
            <a:endParaRPr lang="en-US"/>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Segoe UI Semibold" panose="020B0702040204020203" pitchFamily="34" charset="0"/>
              </a:rPr>
              <a:t>Non-Clustered Indexes</a:t>
            </a:r>
          </a:p>
        </p:txBody>
      </p:sp>
      <p:graphicFrame>
        <p:nvGraphicFramePr>
          <p:cNvPr id="3" name="Diagram 2">
            <a:extLst>
              <a:ext uri="{FF2B5EF4-FFF2-40B4-BE49-F238E27FC236}">
                <a16:creationId xmlns:a16="http://schemas.microsoft.com/office/drawing/2014/main" id="{F9DF2724-B7D1-4FAD-9393-A5E7D8A68177}"/>
              </a:ext>
            </a:extLst>
          </p:cNvPr>
          <p:cNvGraphicFramePr/>
          <p:nvPr>
            <p:extLst>
              <p:ext uri="{D42A27DB-BD31-4B8C-83A1-F6EECF244321}">
                <p14:modId xmlns:p14="http://schemas.microsoft.com/office/powerpoint/2010/main" val="3762797519"/>
              </p:ext>
            </p:extLst>
          </p:nvPr>
        </p:nvGraphicFramePr>
        <p:xfrm>
          <a:off x="536159" y="1080054"/>
          <a:ext cx="11655841" cy="51335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04645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2" name="Picture 1">
            <a:extLst>
              <a:ext uri="{FF2B5EF4-FFF2-40B4-BE49-F238E27FC236}">
                <a16:creationId xmlns:a16="http://schemas.microsoft.com/office/drawing/2014/main" id="{7A523028-BB65-4A28-9C15-20C240F83C28}"/>
              </a:ext>
            </a:extLst>
          </p:cNvPr>
          <p:cNvPicPr>
            <a:picLocks/>
          </p:cNvPicPr>
          <p:nvPr/>
        </p:nvPicPr>
        <p:blipFill>
          <a:blip r:embed="rId2"/>
          <a:stretch>
            <a:fillRect/>
          </a:stretch>
        </p:blipFill>
        <p:spPr>
          <a:xfrm>
            <a:off x="3558517" y="861087"/>
            <a:ext cx="7708392" cy="5735638"/>
          </a:xfrm>
          <a:prstGeom prst="rect">
            <a:avLst/>
          </a:prstGeom>
        </p:spPr>
      </p:pic>
      <p:sp>
        <p:nvSpPr>
          <p:cNvPr id="7" name="Rectangle 6">
            <a:extLst>
              <a:ext uri="{FF2B5EF4-FFF2-40B4-BE49-F238E27FC236}">
                <a16:creationId xmlns:a16="http://schemas.microsoft.com/office/drawing/2014/main" id="{0D9C03E4-2EF0-4C26-AD8F-E84CBE562A02}"/>
              </a:ext>
            </a:extLst>
          </p:cNvPr>
          <p:cNvSpPr/>
          <p:nvPr/>
        </p:nvSpPr>
        <p:spPr bwMode="auto">
          <a:xfrm>
            <a:off x="3416440" y="2960742"/>
            <a:ext cx="6501283"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with Corners Rounded 10">
            <a:extLst>
              <a:ext uri="{FF2B5EF4-FFF2-40B4-BE49-F238E27FC236}">
                <a16:creationId xmlns:a16="http://schemas.microsoft.com/office/drawing/2014/main" id="{8F02C398-A786-4A99-ABBA-416321573C88}"/>
              </a:ext>
            </a:extLst>
          </p:cNvPr>
          <p:cNvSpPr/>
          <p:nvPr/>
        </p:nvSpPr>
        <p:spPr bwMode="auto">
          <a:xfrm>
            <a:off x="807418" y="4907644"/>
            <a:ext cx="2057400" cy="1590801"/>
          </a:xfrm>
          <a:prstGeom prst="wedgeRoundRectCallout">
            <a:avLst>
              <a:gd name="adj1" fmla="val 88754"/>
              <a:gd name="adj2" fmla="val 4171"/>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Base Table (Heap or Clustered Index</a:t>
            </a: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901358" y="1509197"/>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has Pointers to Base Table</a:t>
            </a:r>
          </a:p>
        </p:txBody>
      </p:sp>
      <p:pic>
        <p:nvPicPr>
          <p:cNvPr id="10" name="Picture 9">
            <a:extLst>
              <a:ext uri="{FF2B5EF4-FFF2-40B4-BE49-F238E27FC236}">
                <a16:creationId xmlns:a16="http://schemas.microsoft.com/office/drawing/2014/main" id="{78BC7ED4-ABD6-4CEC-8430-B09329190721}"/>
              </a:ext>
            </a:extLst>
          </p:cNvPr>
          <p:cNvPicPr>
            <a:picLocks noChangeAspect="1"/>
          </p:cNvPicPr>
          <p:nvPr/>
        </p:nvPicPr>
        <p:blipFill>
          <a:blip r:embed="rId3"/>
          <a:stretch>
            <a:fillRect/>
          </a:stretch>
        </p:blipFill>
        <p:spPr>
          <a:xfrm>
            <a:off x="4073015" y="749331"/>
            <a:ext cx="3859598" cy="485143"/>
          </a:xfrm>
          <a:prstGeom prst="rect">
            <a:avLst/>
          </a:prstGeom>
        </p:spPr>
      </p:pic>
    </p:spTree>
    <p:extLst>
      <p:ext uri="{BB962C8B-B14F-4D97-AF65-F5344CB8AC3E}">
        <p14:creationId xmlns:p14="http://schemas.microsoft.com/office/powerpoint/2010/main" val="3750919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Clustered vs Nonclustered Index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xfrm>
            <a:off x="655637" y="786383"/>
            <a:ext cx="10880725" cy="461665"/>
          </a:xfrm>
        </p:spPr>
        <p:txBody>
          <a:bodyPr>
            <a:normAutofit/>
          </a:bodyPr>
          <a:lstStyle/>
          <a:p>
            <a:r>
              <a:rPr lang="en-US"/>
              <a:t>An index is an on-disk structure associated with a table or view that speeds retrieval of rows.</a:t>
            </a:r>
          </a:p>
        </p:txBody>
      </p:sp>
      <p:graphicFrame>
        <p:nvGraphicFramePr>
          <p:cNvPr id="7" name="Content Placeholder 3">
            <a:extLst>
              <a:ext uri="{FF2B5EF4-FFF2-40B4-BE49-F238E27FC236}">
                <a16:creationId xmlns:a16="http://schemas.microsoft.com/office/drawing/2014/main" id="{CF7C7A3B-A65D-40B2-92A1-6E44F518C1B2}"/>
              </a:ext>
            </a:extLst>
          </p:cNvPr>
          <p:cNvGraphicFramePr>
            <a:graphicFrameLocks noGrp="1"/>
          </p:cNvGraphicFramePr>
          <p:nvPr>
            <p:ph sz="quarter" idx="13"/>
            <p:extLst>
              <p:ext uri="{D42A27DB-BD31-4B8C-83A1-F6EECF244321}">
                <p14:modId xmlns:p14="http://schemas.microsoft.com/office/powerpoint/2010/main" val="413849274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22934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Bookmark Lookup or RID lookup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prstGeom prst="rect">
            <a:avLst/>
          </a:prstGeom>
        </p:spPr>
        <p:txBody>
          <a:bodyPr>
            <a:normAutofit/>
          </a:bodyPr>
          <a:lstStyle/>
          <a:p>
            <a:pPr>
              <a:lnSpc>
                <a:spcPct val="90000"/>
              </a:lnSpc>
            </a:pPr>
            <a:r>
              <a:rPr lang="en-US" sz="1600" dirty="0"/>
              <a:t>Occurs when SQL uses a nonclustered index to satisfy all or some of a query’s predicates, but it doesn’t contain all the information needed to cover the query. </a:t>
            </a:r>
          </a:p>
        </p:txBody>
      </p:sp>
      <p:graphicFrame>
        <p:nvGraphicFramePr>
          <p:cNvPr id="6" name="Content Placeholder 5">
            <a:extLst>
              <a:ext uri="{FF2B5EF4-FFF2-40B4-BE49-F238E27FC236}">
                <a16:creationId xmlns:a16="http://schemas.microsoft.com/office/drawing/2014/main" id="{072122DA-A0C2-49BE-8963-1784B342297D}"/>
              </a:ext>
            </a:extLst>
          </p:cNvPr>
          <p:cNvGraphicFramePr>
            <a:graphicFrameLocks noGrp="1"/>
          </p:cNvGraphicFramePr>
          <p:nvPr>
            <p:ph sz="quarter" idx="13"/>
            <p:extLst>
              <p:ext uri="{D42A27DB-BD31-4B8C-83A1-F6EECF244321}">
                <p14:modId xmlns:p14="http://schemas.microsoft.com/office/powerpoint/2010/main" val="1142337219"/>
              </p:ext>
            </p:extLst>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9C17F93E-6131-44F0-95E1-90672E5C6E58}"/>
              </a:ext>
            </a:extLst>
          </p:cNvPr>
          <p:cNvPicPr>
            <a:picLocks noChangeAspect="1"/>
          </p:cNvPicPr>
          <p:nvPr/>
        </p:nvPicPr>
        <p:blipFill>
          <a:blip r:embed="rId8"/>
          <a:stretch>
            <a:fillRect/>
          </a:stretch>
        </p:blipFill>
        <p:spPr>
          <a:xfrm>
            <a:off x="6096000" y="1600200"/>
            <a:ext cx="5211762" cy="2081021"/>
          </a:xfrm>
          <a:prstGeom prst="rect">
            <a:avLst/>
          </a:prstGeom>
        </p:spPr>
      </p:pic>
      <p:pic>
        <p:nvPicPr>
          <p:cNvPr id="11" name="Picture 10">
            <a:extLst>
              <a:ext uri="{FF2B5EF4-FFF2-40B4-BE49-F238E27FC236}">
                <a16:creationId xmlns:a16="http://schemas.microsoft.com/office/drawing/2014/main" id="{BF6803FB-64B5-490D-8B16-9BFEFEC01874}"/>
              </a:ext>
            </a:extLst>
          </p:cNvPr>
          <p:cNvPicPr>
            <a:picLocks noChangeAspect="1"/>
          </p:cNvPicPr>
          <p:nvPr/>
        </p:nvPicPr>
        <p:blipFill>
          <a:blip r:embed="rId9"/>
          <a:stretch>
            <a:fillRect/>
          </a:stretch>
        </p:blipFill>
        <p:spPr>
          <a:xfrm>
            <a:off x="6260052" y="4033373"/>
            <a:ext cx="5044396" cy="1912903"/>
          </a:xfrm>
          <a:prstGeom prst="rect">
            <a:avLst/>
          </a:prstGeom>
        </p:spPr>
      </p:pic>
    </p:spTree>
    <p:extLst>
      <p:ext uri="{BB962C8B-B14F-4D97-AF65-F5344CB8AC3E}">
        <p14:creationId xmlns:p14="http://schemas.microsoft.com/office/powerpoint/2010/main" val="4229513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161504A-FF00-9714-5B11-FC3861BFB7B9}"/>
              </a:ext>
            </a:extLst>
          </p:cNvPr>
          <p:cNvPicPr>
            <a:picLocks noChangeAspect="1"/>
          </p:cNvPicPr>
          <p:nvPr/>
        </p:nvPicPr>
        <p:blipFill>
          <a:blip r:embed="rId3"/>
          <a:stretch>
            <a:fillRect/>
          </a:stretch>
        </p:blipFill>
        <p:spPr>
          <a:xfrm>
            <a:off x="342405" y="1082210"/>
            <a:ext cx="7529682" cy="4693579"/>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Key Lookup </a:t>
            </a:r>
          </a:p>
        </p:txBody>
      </p:sp>
      <p:pic>
        <p:nvPicPr>
          <p:cNvPr id="14" name="Picture 13">
            <a:extLst>
              <a:ext uri="{FF2B5EF4-FFF2-40B4-BE49-F238E27FC236}">
                <a16:creationId xmlns:a16="http://schemas.microsoft.com/office/drawing/2014/main" id="{4578A28C-83E9-4BDA-8959-D317CEC967F7}"/>
              </a:ext>
            </a:extLst>
          </p:cNvPr>
          <p:cNvPicPr>
            <a:picLocks noChangeAspect="1"/>
          </p:cNvPicPr>
          <p:nvPr/>
        </p:nvPicPr>
        <p:blipFill>
          <a:blip r:embed="rId4"/>
          <a:stretch>
            <a:fillRect/>
          </a:stretch>
        </p:blipFill>
        <p:spPr>
          <a:xfrm>
            <a:off x="6478611" y="2020429"/>
            <a:ext cx="5627538" cy="1579099"/>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C1935265-B60C-47DD-ABDD-9FFBADDB8E6F}"/>
              </a:ext>
            </a:extLst>
          </p:cNvPr>
          <p:cNvPicPr>
            <a:picLocks noChangeAspect="1"/>
          </p:cNvPicPr>
          <p:nvPr/>
        </p:nvPicPr>
        <p:blipFill>
          <a:blip r:embed="rId5"/>
          <a:stretch>
            <a:fillRect/>
          </a:stretch>
        </p:blipFill>
        <p:spPr>
          <a:xfrm>
            <a:off x="6478611" y="4009867"/>
            <a:ext cx="5679523" cy="15552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98669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Non-Clustered Index with Included Column </a:t>
            </a:r>
          </a:p>
        </p:txBody>
      </p:sp>
      <p:pic>
        <p:nvPicPr>
          <p:cNvPr id="5" name="Picture 4">
            <a:extLst>
              <a:ext uri="{FF2B5EF4-FFF2-40B4-BE49-F238E27FC236}">
                <a16:creationId xmlns:a16="http://schemas.microsoft.com/office/drawing/2014/main" id="{79AAAB00-C121-4460-B53A-44B7D9A425CA}"/>
              </a:ext>
            </a:extLst>
          </p:cNvPr>
          <p:cNvPicPr>
            <a:picLocks noChangeAspect="1"/>
          </p:cNvPicPr>
          <p:nvPr/>
        </p:nvPicPr>
        <p:blipFill>
          <a:blip r:embed="rId3"/>
          <a:stretch>
            <a:fillRect/>
          </a:stretch>
        </p:blipFill>
        <p:spPr>
          <a:xfrm>
            <a:off x="465666" y="1618515"/>
            <a:ext cx="9164329" cy="294363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244818" y="3467168"/>
            <a:ext cx="6823166" cy="2189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198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Included columns for non-clustered indexes</a:t>
            </a:r>
          </a:p>
        </p:txBody>
      </p:sp>
      <p:graphicFrame>
        <p:nvGraphicFramePr>
          <p:cNvPr id="14" name="Content Placeholder 3">
            <a:extLst>
              <a:ext uri="{FF2B5EF4-FFF2-40B4-BE49-F238E27FC236}">
                <a16:creationId xmlns:a16="http://schemas.microsoft.com/office/drawing/2014/main" id="{5A678193-540D-4760-9964-3541B6B737B9}"/>
              </a:ext>
            </a:extLst>
          </p:cNvPr>
          <p:cNvGraphicFramePr>
            <a:graphicFrameLocks noGrp="1"/>
          </p:cNvGraphicFramePr>
          <p:nvPr>
            <p:ph sz="quarter" idx="13"/>
            <p:extLst>
              <p:ext uri="{D42A27DB-BD31-4B8C-83A1-F6EECF244321}">
                <p14:modId xmlns:p14="http://schemas.microsoft.com/office/powerpoint/2010/main" val="49495899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9675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Index Internals </a:t>
            </a:r>
          </a:p>
          <a:p>
            <a:r>
              <a:rPr lang="en-US" dirty="0"/>
              <a:t>Lesson 2: Index Strategy</a:t>
            </a:r>
          </a:p>
          <a:p>
            <a:r>
              <a:rPr lang="en-US" dirty="0"/>
              <a:t>Lesson 3: Partitioned Tables and Indexes</a:t>
            </a:r>
          </a:p>
          <a:p>
            <a:r>
              <a:rPr lang="en-US" dirty="0"/>
              <a:t>Lesson 5: Index Monitoring and Fragmentation</a:t>
            </a:r>
          </a:p>
          <a:p>
            <a:r>
              <a:rPr lang="en-US" dirty="0"/>
              <a:t>Lesson 4: Columnstore Indexes</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b="1">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Access Methods</a:t>
            </a:r>
          </a:p>
          <a:p>
            <a:r>
              <a:rPr lang="en-US"/>
              <a:t>Demonstrate seeks, scans, and lookup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117416934"/>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328669148"/>
              </p:ext>
            </p:extLst>
          </p:nvPr>
        </p:nvGraphicFramePr>
        <p:xfrm>
          <a:off x="655638" y="1408113"/>
          <a:ext cx="10880725" cy="2883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en-US" dirty="0"/>
              <a:t>Lesson 2: Index Strategy</a:t>
            </a:r>
          </a:p>
        </p:txBody>
      </p:sp>
    </p:spTree>
    <p:extLst>
      <p:ext uri="{BB962C8B-B14F-4D97-AF65-F5344CB8AC3E}">
        <p14:creationId xmlns:p14="http://schemas.microsoft.com/office/powerpoint/2010/main" val="289400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est practices associated with clustered index design.</a:t>
            </a:r>
          </a:p>
          <a:p>
            <a:r>
              <a:rPr lang="en-US" dirty="0"/>
              <a:t>Consider factors involved in designing a nonclustered indexing strategy.</a:t>
            </a:r>
          </a:p>
          <a:p>
            <a:r>
              <a:rPr lang="en-US" dirty="0"/>
              <a:t>Explain how an indexing strategy can reduce logical reads.</a:t>
            </a:r>
          </a:p>
          <a:p>
            <a:r>
              <a:rPr lang="en-US" dirty="0"/>
              <a:t>Describe use of Filter indexes and Indexed views.</a:t>
            </a:r>
          </a:p>
          <a:p>
            <a:r>
              <a:rPr lang="en-US" dirty="0"/>
              <a:t>Explain the role of Fill factor.</a:t>
            </a:r>
          </a:p>
          <a:p>
            <a:r>
              <a:rPr lang="en-US" dirty="0"/>
              <a:t>Use a technique to reduce the fragmentation.</a:t>
            </a:r>
          </a:p>
          <a:p>
            <a:r>
              <a:rPr lang="en-US" dirty="0"/>
              <a:t>Apply Index Compression.</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1530D-2006-4450-8F92-3E1216E9B206}"/>
              </a:ext>
            </a:extLst>
          </p:cNvPr>
          <p:cNvSpPr>
            <a:spLocks noGrp="1"/>
          </p:cNvSpPr>
          <p:nvPr>
            <p:ph type="title"/>
          </p:nvPr>
        </p:nvSpPr>
        <p:spPr/>
        <p:txBody>
          <a:bodyPr/>
          <a:lstStyle/>
          <a:p>
            <a:r>
              <a:rPr lang="en-US" dirty="0"/>
              <a:t>Characteristics of a Good Clustering Key</a:t>
            </a:r>
          </a:p>
        </p:txBody>
      </p:sp>
      <p:graphicFrame>
        <p:nvGraphicFramePr>
          <p:cNvPr id="7" name="Diagram 6">
            <a:extLst>
              <a:ext uri="{FF2B5EF4-FFF2-40B4-BE49-F238E27FC236}">
                <a16:creationId xmlns:a16="http://schemas.microsoft.com/office/drawing/2014/main" id="{E6AB22AD-0705-4A95-903A-B4CDB0CA03E0}"/>
              </a:ext>
            </a:extLst>
          </p:cNvPr>
          <p:cNvGraphicFramePr/>
          <p:nvPr>
            <p:extLst>
              <p:ext uri="{D42A27DB-BD31-4B8C-83A1-F6EECF244321}">
                <p14:modId xmlns:p14="http://schemas.microsoft.com/office/powerpoint/2010/main" val="2761835907"/>
              </p:ext>
            </p:extLst>
          </p:nvPr>
        </p:nvGraphicFramePr>
        <p:xfrm>
          <a:off x="655638" y="1365935"/>
          <a:ext cx="11010498" cy="47535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97703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Best Practices for Clustered index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The primary goal of any indexing strategy is to make queries faster</a:t>
            </a:r>
          </a:p>
          <a:p>
            <a:endParaRPr lang="en-US"/>
          </a:p>
        </p:txBody>
      </p:sp>
      <p:graphicFrame>
        <p:nvGraphicFramePr>
          <p:cNvPr id="7" name="Content Placeholder 6">
            <a:extLst>
              <a:ext uri="{FF2B5EF4-FFF2-40B4-BE49-F238E27FC236}">
                <a16:creationId xmlns:a16="http://schemas.microsoft.com/office/drawing/2014/main" id="{FBCEAB35-8B70-4C96-9DA5-8813406D2B2C}"/>
              </a:ext>
            </a:extLst>
          </p:cNvPr>
          <p:cNvGraphicFramePr>
            <a:graphicFrameLocks noGrp="1"/>
          </p:cNvGraphicFramePr>
          <p:nvPr>
            <p:ph sz="quarter" idx="13"/>
            <p:extLst>
              <p:ext uri="{D42A27DB-BD31-4B8C-83A1-F6EECF244321}">
                <p14:modId xmlns:p14="http://schemas.microsoft.com/office/powerpoint/2010/main" val="1353538675"/>
              </p:ext>
            </p:extLst>
          </p:nvPr>
        </p:nvGraphicFramePr>
        <p:xfrm>
          <a:off x="522023" y="1433565"/>
          <a:ext cx="10880726" cy="4927041"/>
        </p:xfrm>
        <a:graphic>
          <a:graphicData uri="http://schemas.openxmlformats.org/drawingml/2006/table">
            <a:tbl>
              <a:tblPr/>
              <a:tblGrid>
                <a:gridCol w="3587753">
                  <a:extLst>
                    <a:ext uri="{9D8B030D-6E8A-4147-A177-3AD203B41FA5}">
                      <a16:colId xmlns:a16="http://schemas.microsoft.com/office/drawing/2014/main" val="1236326162"/>
                    </a:ext>
                  </a:extLst>
                </a:gridCol>
                <a:gridCol w="1382923">
                  <a:extLst>
                    <a:ext uri="{9D8B030D-6E8A-4147-A177-3AD203B41FA5}">
                      <a16:colId xmlns:a16="http://schemas.microsoft.com/office/drawing/2014/main" val="1030117984"/>
                    </a:ext>
                  </a:extLst>
                </a:gridCol>
                <a:gridCol w="1249745">
                  <a:extLst>
                    <a:ext uri="{9D8B030D-6E8A-4147-A177-3AD203B41FA5}">
                      <a16:colId xmlns:a16="http://schemas.microsoft.com/office/drawing/2014/main" val="3107741756"/>
                    </a:ext>
                  </a:extLst>
                </a:gridCol>
                <a:gridCol w="1477108">
                  <a:extLst>
                    <a:ext uri="{9D8B030D-6E8A-4147-A177-3AD203B41FA5}">
                      <a16:colId xmlns:a16="http://schemas.microsoft.com/office/drawing/2014/main" val="3382048757"/>
                    </a:ext>
                  </a:extLst>
                </a:gridCol>
                <a:gridCol w="1607736">
                  <a:extLst>
                    <a:ext uri="{9D8B030D-6E8A-4147-A177-3AD203B41FA5}">
                      <a16:colId xmlns:a16="http://schemas.microsoft.com/office/drawing/2014/main" val="1577839061"/>
                    </a:ext>
                  </a:extLst>
                </a:gridCol>
                <a:gridCol w="1575461">
                  <a:extLst>
                    <a:ext uri="{9D8B030D-6E8A-4147-A177-3AD203B41FA5}">
                      <a16:colId xmlns:a16="http://schemas.microsoft.com/office/drawing/2014/main" val="2405618192"/>
                    </a:ext>
                  </a:extLst>
                </a:gridCol>
              </a:tblGrid>
              <a:tr h="1222941">
                <a:tc>
                  <a:txBody>
                    <a:bodyPr/>
                    <a:lstStyle/>
                    <a:p>
                      <a:pPr algn="ctr" fontAlgn="b"/>
                      <a:r>
                        <a:rPr lang="en-US" sz="2000" b="1" i="0" u="none" strike="noStrike" baseline="0" dirty="0">
                          <a:solidFill>
                            <a:srgbClr val="FFFFFF"/>
                          </a:solidFill>
                          <a:effectLst/>
                          <a:latin typeface="Segoe UI" panose="020B0502040204020203" pitchFamily="34" charset="0"/>
                        </a:rPr>
                        <a:t>Best Practice</a:t>
                      </a:r>
                    </a:p>
                  </a:txBody>
                  <a:tcPr marL="4763" marR="4763" marT="4763"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Seeks, not scans</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Avoid key lookups</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Get most rows on the index page</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Get most rows on the data page</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Avoid page splits</a:t>
                      </a:r>
                    </a:p>
                  </a:txBody>
                  <a:tcPr marL="4763" marR="4763" marT="4763"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F497D"/>
                    </a:solidFill>
                  </a:tcPr>
                </a:tc>
                <a:extLst>
                  <a:ext uri="{0D108BD9-81ED-4DB2-BD59-A6C34878D82A}">
                    <a16:rowId xmlns:a16="http://schemas.microsoft.com/office/drawing/2014/main" val="1296013491"/>
                  </a:ext>
                </a:extLst>
              </a:tr>
              <a:tr h="740820">
                <a:tc>
                  <a:txBody>
                    <a:bodyPr/>
                    <a:lstStyle/>
                    <a:p>
                      <a:pPr algn="l" fontAlgn="b"/>
                      <a:r>
                        <a:rPr lang="en-US" sz="1800" b="0" i="0" u="none" strike="noStrike" dirty="0">
                          <a:solidFill>
                            <a:srgbClr val="000000"/>
                          </a:solidFill>
                          <a:effectLst/>
                          <a:latin typeface="Segoe UI" panose="020B0502040204020203" pitchFamily="34" charset="0"/>
                        </a:rPr>
                        <a:t> Use frequently searched value</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extLst>
                  <a:ext uri="{0D108BD9-81ED-4DB2-BD59-A6C34878D82A}">
                    <a16:rowId xmlns:a16="http://schemas.microsoft.com/office/drawing/2014/main" val="2204514242"/>
                  </a:ext>
                </a:extLst>
              </a:tr>
              <a:tr h="740820">
                <a:tc>
                  <a:txBody>
                    <a:bodyPr/>
                    <a:lstStyle/>
                    <a:p>
                      <a:pPr algn="l" fontAlgn="b"/>
                      <a:r>
                        <a:rPr lang="en-US" sz="1800" b="0" i="0" u="none" strike="noStrike">
                          <a:solidFill>
                            <a:srgbClr val="000000"/>
                          </a:solidFill>
                          <a:effectLst/>
                          <a:latin typeface="Segoe UI" panose="020B0502040204020203" pitchFamily="34" charset="0"/>
                        </a:rPr>
                        <a:t> Use narrow key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2044695732"/>
                  </a:ext>
                </a:extLst>
              </a:tr>
              <a:tr h="740820">
                <a:tc>
                  <a:txBody>
                    <a:bodyPr/>
                    <a:lstStyle/>
                    <a:p>
                      <a:pPr algn="l" fontAlgn="b"/>
                      <a:r>
                        <a:rPr lang="en-US" sz="1800" b="0" i="0" u="none" strike="noStrike">
                          <a:solidFill>
                            <a:srgbClr val="000000"/>
                          </a:solidFill>
                          <a:effectLst/>
                          <a:latin typeface="Segoe UI" panose="020B0502040204020203" pitchFamily="34" charset="0"/>
                        </a:rPr>
                        <a:t> Use unique value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extLst>
                  <a:ext uri="{0D108BD9-81ED-4DB2-BD59-A6C34878D82A}">
                    <a16:rowId xmlns:a16="http://schemas.microsoft.com/office/drawing/2014/main" val="507477959"/>
                  </a:ext>
                </a:extLst>
              </a:tr>
              <a:tr h="740820">
                <a:tc>
                  <a:txBody>
                    <a:bodyPr/>
                    <a:lstStyle/>
                    <a:p>
                      <a:pPr algn="l" fontAlgn="b"/>
                      <a:r>
                        <a:rPr lang="en-US" sz="1800" b="0" i="0" u="none" strike="noStrike" dirty="0">
                          <a:solidFill>
                            <a:srgbClr val="000000"/>
                          </a:solidFill>
                          <a:effectLst/>
                          <a:latin typeface="Segoe UI" panose="020B0502040204020203" pitchFamily="34" charset="0"/>
                        </a:rPr>
                        <a:t> Use static value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3216396517"/>
                  </a:ext>
                </a:extLst>
              </a:tr>
              <a:tr h="740820">
                <a:tc>
                  <a:txBody>
                    <a:bodyPr/>
                    <a:lstStyle/>
                    <a:p>
                      <a:pPr algn="l" fontAlgn="b"/>
                      <a:r>
                        <a:rPr lang="en-US" sz="1800" b="0" i="0" u="none" strike="noStrike">
                          <a:solidFill>
                            <a:srgbClr val="000000"/>
                          </a:solidFill>
                          <a:effectLst/>
                          <a:latin typeface="Segoe UI" panose="020B0502040204020203" pitchFamily="34" charset="0"/>
                        </a:rPr>
                        <a:t> Use ascending or descending key</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1660405691"/>
                  </a:ext>
                </a:extLst>
              </a:tr>
            </a:tbl>
          </a:graphicData>
        </a:graphic>
      </p:graphicFrame>
    </p:spTree>
    <p:extLst>
      <p:ext uri="{BB962C8B-B14F-4D97-AF65-F5344CB8AC3E}">
        <p14:creationId xmlns:p14="http://schemas.microsoft.com/office/powerpoint/2010/main" val="41878103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lustered Index vs Primary key considerations</a:t>
            </a:r>
          </a:p>
        </p:txBody>
      </p:sp>
      <p:graphicFrame>
        <p:nvGraphicFramePr>
          <p:cNvPr id="6" name="Content Placeholder 5">
            <a:extLst>
              <a:ext uri="{FF2B5EF4-FFF2-40B4-BE49-F238E27FC236}">
                <a16:creationId xmlns:a16="http://schemas.microsoft.com/office/drawing/2014/main" id="{FE39FBFC-2347-4F5C-9A5B-6BC4070C7FFE}"/>
              </a:ext>
            </a:extLst>
          </p:cNvPr>
          <p:cNvGraphicFramePr>
            <a:graphicFrameLocks noGrp="1"/>
          </p:cNvGraphicFramePr>
          <p:nvPr>
            <p:ph sz="quarter" idx="13"/>
            <p:extLst>
              <p:ext uri="{D42A27DB-BD31-4B8C-83A1-F6EECF244321}">
                <p14:modId xmlns:p14="http://schemas.microsoft.com/office/powerpoint/2010/main" val="42533293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180026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Strategy</a:t>
            </a:r>
          </a:p>
        </p:txBody>
      </p:sp>
      <p:graphicFrame>
        <p:nvGraphicFramePr>
          <p:cNvPr id="5" name="Content Placeholder 4">
            <a:extLst>
              <a:ext uri="{FF2B5EF4-FFF2-40B4-BE49-F238E27FC236}">
                <a16:creationId xmlns:a16="http://schemas.microsoft.com/office/drawing/2014/main" id="{25A6B57F-352F-4FDB-9602-F090C817F748}"/>
              </a:ext>
            </a:extLst>
          </p:cNvPr>
          <p:cNvGraphicFramePr>
            <a:graphicFrameLocks noGrp="1"/>
          </p:cNvGraphicFramePr>
          <p:nvPr>
            <p:ph sz="quarter" idx="13"/>
            <p:extLst>
              <p:ext uri="{D42A27DB-BD31-4B8C-83A1-F6EECF244321}">
                <p14:modId xmlns:p14="http://schemas.microsoft.com/office/powerpoint/2010/main" val="1824121565"/>
              </p:ext>
            </p:extLst>
          </p:nvPr>
        </p:nvGraphicFramePr>
        <p:xfrm>
          <a:off x="655638" y="1124607"/>
          <a:ext cx="10880726" cy="5413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ingle Vs Multi-column indexes</a:t>
            </a:r>
          </a:p>
        </p:txBody>
      </p:sp>
      <p:graphicFrame>
        <p:nvGraphicFramePr>
          <p:cNvPr id="5" name="Content Placeholder 4">
            <a:extLst>
              <a:ext uri="{FF2B5EF4-FFF2-40B4-BE49-F238E27FC236}">
                <a16:creationId xmlns:a16="http://schemas.microsoft.com/office/drawing/2014/main" id="{5D7438D8-5693-4DB1-95DC-55A0C8D2FCF2}"/>
              </a:ext>
            </a:extLst>
          </p:cNvPr>
          <p:cNvGraphicFramePr>
            <a:graphicFrameLocks noGrp="1"/>
          </p:cNvGraphicFramePr>
          <p:nvPr>
            <p:ph sz="quarter" idx="13"/>
            <p:extLst>
              <p:ext uri="{D42A27DB-BD31-4B8C-83A1-F6EECF244321}">
                <p14:modId xmlns:p14="http://schemas.microsoft.com/office/powerpoint/2010/main" val="325632519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50101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dex Internals </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ulti-Column Indexing Access </a:t>
            </a:r>
          </a:p>
        </p:txBody>
      </p:sp>
      <p:graphicFrame>
        <p:nvGraphicFramePr>
          <p:cNvPr id="6" name="Content Placeholder 5">
            <a:extLst>
              <a:ext uri="{FF2B5EF4-FFF2-40B4-BE49-F238E27FC236}">
                <a16:creationId xmlns:a16="http://schemas.microsoft.com/office/drawing/2014/main" id="{C6DD82E5-4CD6-4965-867A-3C9E652E2635}"/>
              </a:ext>
            </a:extLst>
          </p:cNvPr>
          <p:cNvGraphicFramePr>
            <a:graphicFrameLocks noGrp="1"/>
          </p:cNvGraphicFramePr>
          <p:nvPr>
            <p:ph sz="quarter" idx="13"/>
            <p:extLst>
              <p:ext uri="{D42A27DB-BD31-4B8C-83A1-F6EECF244321}">
                <p14:modId xmlns:p14="http://schemas.microsoft.com/office/powerpoint/2010/main" val="188883654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1033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eek Predicates) </a:t>
            </a:r>
          </a:p>
        </p:txBody>
      </p:sp>
      <p:pic>
        <p:nvPicPr>
          <p:cNvPr id="7" name="Picture 6">
            <a:extLst>
              <a:ext uri="{FF2B5EF4-FFF2-40B4-BE49-F238E27FC236}">
                <a16:creationId xmlns:a16="http://schemas.microsoft.com/office/drawing/2014/main" id="{4F878944-C4B7-BC2F-9E98-8B98557F50E2}"/>
              </a:ext>
            </a:extLst>
          </p:cNvPr>
          <p:cNvPicPr>
            <a:picLocks noChangeAspect="1"/>
          </p:cNvPicPr>
          <p:nvPr/>
        </p:nvPicPr>
        <p:blipFill>
          <a:blip r:embed="rId3"/>
          <a:stretch>
            <a:fillRect/>
          </a:stretch>
        </p:blipFill>
        <p:spPr>
          <a:xfrm>
            <a:off x="885265" y="3459027"/>
            <a:ext cx="4444515" cy="2689081"/>
          </a:xfrm>
          <a:prstGeom prst="rect">
            <a:avLst/>
          </a:prstGeom>
          <a:ln>
            <a:noFill/>
          </a:ln>
          <a:effectLst>
            <a:outerShdw blurRad="190500" algn="tl" rotWithShape="0">
              <a:srgbClr val="000000">
                <a:alpha val="70000"/>
              </a:srgbClr>
            </a:outerShdw>
          </a:effectLst>
        </p:spPr>
      </p:pic>
      <p:sp>
        <p:nvSpPr>
          <p:cNvPr id="8" name="TextBox 7">
            <a:extLst>
              <a:ext uri="{FF2B5EF4-FFF2-40B4-BE49-F238E27FC236}">
                <a16:creationId xmlns:a16="http://schemas.microsoft.com/office/drawing/2014/main" id="{3D88253D-B09A-7FD9-F797-A2685B451CEC}"/>
              </a:ext>
            </a:extLst>
          </p:cNvPr>
          <p:cNvSpPr txBox="1"/>
          <p:nvPr/>
        </p:nvSpPr>
        <p:spPr>
          <a:xfrm>
            <a:off x="885264" y="1276165"/>
            <a:ext cx="4444515" cy="1384995"/>
          </a:xfrm>
          <a:prstGeom prst="rect">
            <a:avLst/>
          </a:prstGeom>
          <a:noFill/>
        </p:spPr>
        <p:txBody>
          <a:bodyPr wrap="square" lIns="0" tIns="0" rIns="0" bIns="0" rtlCol="0">
            <a:spAutoFit/>
          </a:bodyPr>
          <a:lstStyle/>
          <a:p>
            <a:r>
              <a:rPr lang="en-US" sz="1800" dirty="0">
                <a:solidFill>
                  <a:srgbClr val="008000"/>
                </a:solidFill>
                <a:latin typeface="Consolas" panose="020B0609020204030204" pitchFamily="49" charset="0"/>
              </a:rPr>
              <a:t>--</a:t>
            </a:r>
            <a:r>
              <a:rPr lang="en-US" dirty="0">
                <a:solidFill>
                  <a:srgbClr val="008000"/>
                </a:solidFill>
                <a:latin typeface="Consolas" panose="020B0609020204030204" pitchFamily="49" charset="0"/>
              </a:rPr>
              <a:t>Single value </a:t>
            </a:r>
            <a:r>
              <a:rPr lang="en-US" sz="1800" dirty="0">
                <a:solidFill>
                  <a:srgbClr val="008000"/>
                </a:solidFill>
                <a:latin typeface="Consolas" panose="020B0609020204030204" pitchFamily="49" charset="0"/>
              </a:rPr>
              <a:t>performs Index Seek.</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endParaRPr lang="en-US" sz="1800" dirty="0">
              <a:solidFill>
                <a:srgbClr val="000000"/>
              </a:solidFill>
              <a:latin typeface="Consolas" panose="020B0609020204030204" pitchFamily="49" charset="0"/>
            </a:endParaRPr>
          </a:p>
        </p:txBody>
      </p:sp>
      <p:pic>
        <p:nvPicPr>
          <p:cNvPr id="10" name="Picture 9">
            <a:extLst>
              <a:ext uri="{FF2B5EF4-FFF2-40B4-BE49-F238E27FC236}">
                <a16:creationId xmlns:a16="http://schemas.microsoft.com/office/drawing/2014/main" id="{EB68024D-575D-BC99-C86E-4637A28C994F}"/>
              </a:ext>
            </a:extLst>
          </p:cNvPr>
          <p:cNvPicPr>
            <a:picLocks noChangeAspect="1"/>
          </p:cNvPicPr>
          <p:nvPr/>
        </p:nvPicPr>
        <p:blipFill>
          <a:blip r:embed="rId4"/>
          <a:stretch>
            <a:fillRect/>
          </a:stretch>
        </p:blipFill>
        <p:spPr>
          <a:xfrm>
            <a:off x="6701883" y="3429000"/>
            <a:ext cx="4444515" cy="2689081"/>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F72DD28C-2E27-9637-93CF-1A2E8EEE3496}"/>
              </a:ext>
            </a:extLst>
          </p:cNvPr>
          <p:cNvSpPr txBox="1"/>
          <p:nvPr/>
        </p:nvSpPr>
        <p:spPr>
          <a:xfrm>
            <a:off x="6283997" y="1243203"/>
            <a:ext cx="5737674" cy="1754326"/>
          </a:xfrm>
          <a:prstGeom prst="rect">
            <a:avLst/>
          </a:prstGeom>
          <a:noFill/>
        </p:spPr>
        <p:txBody>
          <a:bodyPr wrap="square">
            <a:spAutoFit/>
          </a:bodyPr>
          <a:lstStyle/>
          <a:p>
            <a:r>
              <a:rPr lang="en-US" sz="1800" dirty="0">
                <a:solidFill>
                  <a:srgbClr val="008000"/>
                </a:solidFill>
                <a:latin typeface="Consolas" panose="020B0609020204030204" pitchFamily="49" charset="0"/>
              </a:rPr>
              <a:t>--Index Seek on both columns</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Search condition in same order as Index.</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885264" y="5338482"/>
            <a:ext cx="4444515" cy="809626"/>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701883" y="4933668"/>
            <a:ext cx="4444515" cy="121443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22214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77BC58-3294-4452-5A1F-889D4990BFFB}"/>
              </a:ext>
            </a:extLst>
          </p:cNvPr>
          <p:cNvPicPr>
            <a:picLocks noChangeAspect="1"/>
          </p:cNvPicPr>
          <p:nvPr/>
        </p:nvPicPr>
        <p:blipFill>
          <a:blip r:embed="rId3"/>
          <a:stretch>
            <a:fillRect/>
          </a:stretch>
        </p:blipFill>
        <p:spPr>
          <a:xfrm>
            <a:off x="6468036" y="3373647"/>
            <a:ext cx="5371759" cy="2752761"/>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3D34C608-32A1-6A48-4946-B2AE9EC0A68A}"/>
              </a:ext>
            </a:extLst>
          </p:cNvPr>
          <p:cNvPicPr>
            <a:picLocks noChangeAspect="1"/>
          </p:cNvPicPr>
          <p:nvPr/>
        </p:nvPicPr>
        <p:blipFill>
          <a:blip r:embed="rId4"/>
          <a:stretch>
            <a:fillRect/>
          </a:stretch>
        </p:blipFill>
        <p:spPr>
          <a:xfrm>
            <a:off x="655638" y="3182028"/>
            <a:ext cx="4713065" cy="3331831"/>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ulti-Column Indexing Access (Scan Predicates) </a:t>
            </a:r>
          </a:p>
        </p:txBody>
      </p:sp>
      <p:sp>
        <p:nvSpPr>
          <p:cNvPr id="8" name="TextBox 7">
            <a:extLst>
              <a:ext uri="{FF2B5EF4-FFF2-40B4-BE49-F238E27FC236}">
                <a16:creationId xmlns:a16="http://schemas.microsoft.com/office/drawing/2014/main" id="{3D88253D-B09A-7FD9-F797-A2685B451CEC}"/>
              </a:ext>
            </a:extLst>
          </p:cNvPr>
          <p:cNvSpPr txBox="1"/>
          <p:nvPr/>
        </p:nvSpPr>
        <p:spPr>
          <a:xfrm>
            <a:off x="655638" y="1150870"/>
            <a:ext cx="5022740" cy="1661993"/>
          </a:xfrm>
          <a:prstGeom prst="rect">
            <a:avLst/>
          </a:prstGeom>
          <a:noFill/>
        </p:spPr>
        <p:txBody>
          <a:bodyPr wrap="square" lIns="0" tIns="0" rIns="0" bIns="0" rtlCol="0">
            <a:spAutoFit/>
          </a:bodyPr>
          <a:lstStyle/>
          <a:p>
            <a:r>
              <a:rPr lang="en-US" sz="1800" dirty="0">
                <a:solidFill>
                  <a:srgbClr val="008000"/>
                </a:solidFill>
                <a:latin typeface="Consolas" panose="020B0609020204030204" pitchFamily="49" charset="0"/>
              </a:rPr>
              <a:t>--Index Seek on first column</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fter seek, will scan second colum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PostalCode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98011'</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City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Bothell'</a:t>
            </a:r>
            <a:endParaRPr lang="en-US" sz="1800" dirty="0">
              <a:solidFill>
                <a:srgbClr val="000000"/>
              </a:solidFill>
              <a:latin typeface="Consolas" panose="020B0609020204030204" pitchFamily="49" charset="0"/>
            </a:endParaRPr>
          </a:p>
        </p:txBody>
      </p:sp>
      <p:sp>
        <p:nvSpPr>
          <p:cNvPr id="12" name="TextBox 11">
            <a:extLst>
              <a:ext uri="{FF2B5EF4-FFF2-40B4-BE49-F238E27FC236}">
                <a16:creationId xmlns:a16="http://schemas.microsoft.com/office/drawing/2014/main" id="{F72DD28C-2E27-9637-93CF-1A2E8EEE3496}"/>
              </a:ext>
            </a:extLst>
          </p:cNvPr>
          <p:cNvSpPr txBox="1"/>
          <p:nvPr/>
        </p:nvSpPr>
        <p:spPr>
          <a:xfrm>
            <a:off x="6283997" y="1012349"/>
            <a:ext cx="5737674" cy="1754326"/>
          </a:xfrm>
          <a:prstGeom prst="rect">
            <a:avLst/>
          </a:prstGeom>
          <a:noFill/>
        </p:spPr>
        <p:txBody>
          <a:bodyPr wrap="square">
            <a:spAutoFit/>
          </a:bodyPr>
          <a:lstStyle/>
          <a:p>
            <a:r>
              <a:rPr lang="en-US" sz="1800" dirty="0">
                <a:solidFill>
                  <a:srgbClr val="008000"/>
                </a:solidFill>
                <a:latin typeface="Consolas" panose="020B0609020204030204" pitchFamily="49" charset="0"/>
              </a:rPr>
              <a:t>--Search condition not in same order as Index.</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Performs Index Sca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City</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StateProvince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PostalCode</a:t>
            </a: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Person</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Address</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WHERE</a:t>
            </a:r>
            <a:r>
              <a:rPr lang="en-US" sz="1800" dirty="0">
                <a:solidFill>
                  <a:srgbClr val="000000"/>
                </a:solidFill>
                <a:latin typeface="Consolas" panose="020B0609020204030204" pitchFamily="49" charset="0"/>
              </a:rPr>
              <a:t> StateProvinceID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79</a:t>
            </a:r>
          </a:p>
        </p:txBody>
      </p:sp>
      <p:sp>
        <p:nvSpPr>
          <p:cNvPr id="13" name="Rectangle 12">
            <a:extLst>
              <a:ext uri="{FF2B5EF4-FFF2-40B4-BE49-F238E27FC236}">
                <a16:creationId xmlns:a16="http://schemas.microsoft.com/office/drawing/2014/main" id="{CBBD148D-3D60-70E2-4764-2B0A961D3428}"/>
              </a:ext>
            </a:extLst>
          </p:cNvPr>
          <p:cNvSpPr/>
          <p:nvPr/>
        </p:nvSpPr>
        <p:spPr bwMode="auto">
          <a:xfrm>
            <a:off x="655638" y="5642609"/>
            <a:ext cx="4713065" cy="871249"/>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852449D-4ECE-CFAD-EB17-92E5BE9D936A}"/>
              </a:ext>
            </a:extLst>
          </p:cNvPr>
          <p:cNvSpPr/>
          <p:nvPr/>
        </p:nvSpPr>
        <p:spPr bwMode="auto">
          <a:xfrm>
            <a:off x="6468036" y="3373647"/>
            <a:ext cx="5371759" cy="1263907"/>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Arrow: Curved Up 5">
            <a:extLst>
              <a:ext uri="{FF2B5EF4-FFF2-40B4-BE49-F238E27FC236}">
                <a16:creationId xmlns:a16="http://schemas.microsoft.com/office/drawing/2014/main" id="{802AB1A5-0DAD-70EE-F8C7-D3159191B384}"/>
              </a:ext>
            </a:extLst>
          </p:cNvPr>
          <p:cNvSpPr/>
          <p:nvPr/>
        </p:nvSpPr>
        <p:spPr bwMode="auto">
          <a:xfrm rot="16200000">
            <a:off x="4541249" y="4390544"/>
            <a:ext cx="1936538" cy="1438835"/>
          </a:xfrm>
          <a:prstGeom prst="curvedUpArrow">
            <a:avLst/>
          </a:prstGeom>
          <a:solidFill>
            <a:srgbClr val="D83B01"/>
          </a:solidFill>
          <a:ln w="381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24285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0C0"/>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Analyzing Index Usage</a:t>
            </a:r>
          </a:p>
          <a:p>
            <a:r>
              <a:rPr lang="en-US"/>
              <a:t>Show how index usage patterns can help identify index and query improvement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7111549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231562" cy="604798"/>
          </a:xfrm>
        </p:spPr>
        <p:txBody>
          <a:bodyPr/>
          <a:lstStyle/>
          <a:p>
            <a:r>
              <a:rPr lang="en-US" dirty="0"/>
              <a:t>Lesson 3: Partitioned Tables and Indexes</a:t>
            </a:r>
          </a:p>
        </p:txBody>
      </p:sp>
    </p:spTree>
    <p:extLst>
      <p:ext uri="{BB962C8B-B14F-4D97-AF65-F5344CB8AC3E}">
        <p14:creationId xmlns:p14="http://schemas.microsoft.com/office/powerpoint/2010/main" val="574958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Partition Concepts.</a:t>
            </a:r>
          </a:p>
          <a:p>
            <a:r>
              <a:rPr lang="en-US"/>
              <a:t>Explain benefits of partitioning.</a:t>
            </a:r>
          </a:p>
          <a:p>
            <a:r>
              <a:rPr lang="en-US"/>
              <a:t>Distinguish between aligned vs non-aligned indexes.</a:t>
            </a:r>
          </a:p>
          <a:p>
            <a:r>
              <a:rPr lang="en-US"/>
              <a:t>Manage partitions.</a:t>
            </a:r>
          </a:p>
          <a:p>
            <a:r>
              <a:rPr lang="en-US"/>
              <a:t>Apply Partition performance guidelin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What is Partition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a:t>“Horizontal Partition”</a:t>
            </a:r>
          </a:p>
        </p:txBody>
      </p:sp>
      <p:graphicFrame>
        <p:nvGraphicFramePr>
          <p:cNvPr id="5" name="Content Placeholder 4">
            <a:extLst>
              <a:ext uri="{FF2B5EF4-FFF2-40B4-BE49-F238E27FC236}">
                <a16:creationId xmlns:a16="http://schemas.microsoft.com/office/drawing/2014/main" id="{1F83612F-0834-42B2-AA7B-98B8BAB0DB29}"/>
              </a:ext>
            </a:extLst>
          </p:cNvPr>
          <p:cNvGraphicFramePr>
            <a:graphicFrameLocks noGrp="1"/>
          </p:cNvGraphicFramePr>
          <p:nvPr>
            <p:ph sz="quarter" idx="13"/>
            <p:extLst>
              <p:ext uri="{D42A27DB-BD31-4B8C-83A1-F6EECF244321}">
                <p14:modId xmlns:p14="http://schemas.microsoft.com/office/powerpoint/2010/main" val="1912422147"/>
              </p:ext>
            </p:extLst>
          </p:nvPr>
        </p:nvGraphicFramePr>
        <p:xfrm>
          <a:off x="655638" y="1408115"/>
          <a:ext cx="10880726" cy="29560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88382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rtitioning benefits</a:t>
            </a:r>
          </a:p>
        </p:txBody>
      </p:sp>
      <p:graphicFrame>
        <p:nvGraphicFramePr>
          <p:cNvPr id="5" name="Content Placeholder 4">
            <a:extLst>
              <a:ext uri="{FF2B5EF4-FFF2-40B4-BE49-F238E27FC236}">
                <a16:creationId xmlns:a16="http://schemas.microsoft.com/office/drawing/2014/main" id="{1F83612F-0834-42B2-AA7B-98B8BAB0DB29}"/>
              </a:ext>
            </a:extLst>
          </p:cNvPr>
          <p:cNvGraphicFramePr>
            <a:graphicFrameLocks noGrp="1"/>
          </p:cNvGraphicFramePr>
          <p:nvPr>
            <p:ph sz="quarter" idx="13"/>
            <p:extLst>
              <p:ext uri="{D42A27DB-BD31-4B8C-83A1-F6EECF244321}">
                <p14:modId xmlns:p14="http://schemas.microsoft.com/office/powerpoint/2010/main" val="313950475"/>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98267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orizontal Partitioning</a:t>
            </a:r>
          </a:p>
        </p:txBody>
      </p:sp>
      <p:graphicFrame>
        <p:nvGraphicFramePr>
          <p:cNvPr id="5" name="Table 4">
            <a:extLst>
              <a:ext uri="{FF2B5EF4-FFF2-40B4-BE49-F238E27FC236}">
                <a16:creationId xmlns:a16="http://schemas.microsoft.com/office/drawing/2014/main" id="{DCE5E71F-379E-4954-9132-0BB3291328BA}"/>
              </a:ext>
            </a:extLst>
          </p:cNvPr>
          <p:cNvGraphicFramePr>
            <a:graphicFrameLocks noGrp="1"/>
          </p:cNvGraphicFramePr>
          <p:nvPr>
            <p:extLst>
              <p:ext uri="{D42A27DB-BD31-4B8C-83A1-F6EECF244321}">
                <p14:modId xmlns:p14="http://schemas.microsoft.com/office/powerpoint/2010/main" val="1853589860"/>
              </p:ext>
            </p:extLst>
          </p:nvPr>
        </p:nvGraphicFramePr>
        <p:xfrm>
          <a:off x="2356573" y="1438607"/>
          <a:ext cx="8747127" cy="1593505"/>
        </p:xfrm>
        <a:graphic>
          <a:graphicData uri="http://schemas.openxmlformats.org/drawingml/2006/table">
            <a:tbl>
              <a:tblPr/>
              <a:tblGrid>
                <a:gridCol w="935319">
                  <a:extLst>
                    <a:ext uri="{9D8B030D-6E8A-4147-A177-3AD203B41FA5}">
                      <a16:colId xmlns:a16="http://schemas.microsoft.com/office/drawing/2014/main" val="20000"/>
                    </a:ext>
                  </a:extLst>
                </a:gridCol>
                <a:gridCol w="1164374">
                  <a:extLst>
                    <a:ext uri="{9D8B030D-6E8A-4147-A177-3AD203B41FA5}">
                      <a16:colId xmlns:a16="http://schemas.microsoft.com/office/drawing/2014/main" val="20001"/>
                    </a:ext>
                  </a:extLst>
                </a:gridCol>
                <a:gridCol w="1088022">
                  <a:extLst>
                    <a:ext uri="{9D8B030D-6E8A-4147-A177-3AD203B41FA5}">
                      <a16:colId xmlns:a16="http://schemas.microsoft.com/office/drawing/2014/main" val="20002"/>
                    </a:ext>
                  </a:extLst>
                </a:gridCol>
                <a:gridCol w="1589085">
                  <a:extLst>
                    <a:ext uri="{9D8B030D-6E8A-4147-A177-3AD203B41FA5}">
                      <a16:colId xmlns:a16="http://schemas.microsoft.com/office/drawing/2014/main" val="20003"/>
                    </a:ext>
                  </a:extLst>
                </a:gridCol>
                <a:gridCol w="801700">
                  <a:extLst>
                    <a:ext uri="{9D8B030D-6E8A-4147-A177-3AD203B41FA5}">
                      <a16:colId xmlns:a16="http://schemas.microsoft.com/office/drawing/2014/main" val="20004"/>
                    </a:ext>
                  </a:extLst>
                </a:gridCol>
                <a:gridCol w="1431609">
                  <a:extLst>
                    <a:ext uri="{9D8B030D-6E8A-4147-A177-3AD203B41FA5}">
                      <a16:colId xmlns:a16="http://schemas.microsoft.com/office/drawing/2014/main" val="20005"/>
                    </a:ext>
                  </a:extLst>
                </a:gridCol>
                <a:gridCol w="1737018">
                  <a:extLst>
                    <a:ext uri="{9D8B030D-6E8A-4147-A177-3AD203B41FA5}">
                      <a16:colId xmlns:a16="http://schemas.microsoft.com/office/drawing/2014/main" val="20006"/>
                    </a:ext>
                  </a:extLst>
                </a:gridCol>
              </a:tblGrid>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chemeClr val="bg1"/>
                          </a:solidFill>
                          <a:effectLst/>
                          <a:latin typeface="Calibri" panose="020F0502020204030204" pitchFamily="34" charset="0"/>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10000"/>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9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3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61889">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6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307904">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7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9</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6" name="Left Brace 5">
            <a:extLst>
              <a:ext uri="{FF2B5EF4-FFF2-40B4-BE49-F238E27FC236}">
                <a16:creationId xmlns:a16="http://schemas.microsoft.com/office/drawing/2014/main" id="{3779145C-9AB9-41EC-A703-B54F1E21FADC}"/>
              </a:ext>
            </a:extLst>
          </p:cNvPr>
          <p:cNvSpPr/>
          <p:nvPr/>
        </p:nvSpPr>
        <p:spPr>
          <a:xfrm>
            <a:off x="1439608" y="1447800"/>
            <a:ext cx="846392" cy="1499720"/>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30C654CF-1DDD-42C7-9C10-DBDEDCE4635D}"/>
              </a:ext>
            </a:extLst>
          </p:cNvPr>
          <p:cNvSpPr txBox="1"/>
          <p:nvPr/>
        </p:nvSpPr>
        <p:spPr>
          <a:xfrm>
            <a:off x="615863" y="1384783"/>
            <a:ext cx="944874" cy="1693722"/>
          </a:xfrm>
          <a:prstGeom prst="rect">
            <a:avLst/>
          </a:prstGeom>
          <a:noFill/>
        </p:spPr>
        <p:txBody>
          <a:bodyPr vert="vert270"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Table without </a:t>
            </a:r>
          </a:p>
          <a:p>
            <a:pPr>
              <a:lnSpc>
                <a:spcPct val="90000"/>
              </a:lnSpc>
              <a:spcAft>
                <a:spcPts val="600"/>
              </a:spcAft>
            </a:pPr>
            <a:r>
              <a:rPr lang="en-US">
                <a:gradFill>
                  <a:gsLst>
                    <a:gs pos="2917">
                      <a:schemeClr val="tx1"/>
                    </a:gs>
                    <a:gs pos="30000">
                      <a:schemeClr val="tx1"/>
                    </a:gs>
                  </a:gsLst>
                  <a:lin ang="5400000" scaled="0"/>
                </a:gradFill>
              </a:rPr>
              <a:t>   Partition</a:t>
            </a:r>
          </a:p>
        </p:txBody>
      </p:sp>
      <p:graphicFrame>
        <p:nvGraphicFramePr>
          <p:cNvPr id="8" name="Table 7">
            <a:extLst>
              <a:ext uri="{FF2B5EF4-FFF2-40B4-BE49-F238E27FC236}">
                <a16:creationId xmlns:a16="http://schemas.microsoft.com/office/drawing/2014/main" id="{BC3C6B05-FDF7-403C-98DC-34030C3EF7D0}"/>
              </a:ext>
            </a:extLst>
          </p:cNvPr>
          <p:cNvGraphicFramePr>
            <a:graphicFrameLocks noGrp="1"/>
          </p:cNvGraphicFramePr>
          <p:nvPr>
            <p:extLst>
              <p:ext uri="{D42A27DB-BD31-4B8C-83A1-F6EECF244321}">
                <p14:modId xmlns:p14="http://schemas.microsoft.com/office/powerpoint/2010/main" val="1521307507"/>
              </p:ext>
            </p:extLst>
          </p:nvPr>
        </p:nvGraphicFramePr>
        <p:xfrm>
          <a:off x="2356573" y="5058610"/>
          <a:ext cx="8747127" cy="1107465"/>
        </p:xfrm>
        <a:graphic>
          <a:graphicData uri="http://schemas.openxmlformats.org/drawingml/2006/table">
            <a:tbl>
              <a:tblPr/>
              <a:tblGrid>
                <a:gridCol w="935317">
                  <a:extLst>
                    <a:ext uri="{9D8B030D-6E8A-4147-A177-3AD203B41FA5}">
                      <a16:colId xmlns:a16="http://schemas.microsoft.com/office/drawing/2014/main" val="20000"/>
                    </a:ext>
                  </a:extLst>
                </a:gridCol>
                <a:gridCol w="1164374">
                  <a:extLst>
                    <a:ext uri="{9D8B030D-6E8A-4147-A177-3AD203B41FA5}">
                      <a16:colId xmlns:a16="http://schemas.microsoft.com/office/drawing/2014/main" val="20001"/>
                    </a:ext>
                  </a:extLst>
                </a:gridCol>
                <a:gridCol w="1088022">
                  <a:extLst>
                    <a:ext uri="{9D8B030D-6E8A-4147-A177-3AD203B41FA5}">
                      <a16:colId xmlns:a16="http://schemas.microsoft.com/office/drawing/2014/main" val="20002"/>
                    </a:ext>
                  </a:extLst>
                </a:gridCol>
                <a:gridCol w="1589085">
                  <a:extLst>
                    <a:ext uri="{9D8B030D-6E8A-4147-A177-3AD203B41FA5}">
                      <a16:colId xmlns:a16="http://schemas.microsoft.com/office/drawing/2014/main" val="20003"/>
                    </a:ext>
                  </a:extLst>
                </a:gridCol>
                <a:gridCol w="801701">
                  <a:extLst>
                    <a:ext uri="{9D8B030D-6E8A-4147-A177-3AD203B41FA5}">
                      <a16:colId xmlns:a16="http://schemas.microsoft.com/office/drawing/2014/main" val="20004"/>
                    </a:ext>
                  </a:extLst>
                </a:gridCol>
                <a:gridCol w="1431608">
                  <a:extLst>
                    <a:ext uri="{9D8B030D-6E8A-4147-A177-3AD203B41FA5}">
                      <a16:colId xmlns:a16="http://schemas.microsoft.com/office/drawing/2014/main" val="20005"/>
                    </a:ext>
                  </a:extLst>
                </a:gridCol>
                <a:gridCol w="1737020">
                  <a:extLst>
                    <a:ext uri="{9D8B030D-6E8A-4147-A177-3AD203B41FA5}">
                      <a16:colId xmlns:a16="http://schemas.microsoft.com/office/drawing/2014/main" val="20006"/>
                    </a:ext>
                  </a:extLst>
                </a:gridCol>
              </a:tblGrid>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4</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7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59</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graphicFrame>
        <p:nvGraphicFramePr>
          <p:cNvPr id="9" name="Table 8">
            <a:extLst>
              <a:ext uri="{FF2B5EF4-FFF2-40B4-BE49-F238E27FC236}">
                <a16:creationId xmlns:a16="http://schemas.microsoft.com/office/drawing/2014/main" id="{527799E6-8803-4CE5-9182-59F31723A187}"/>
              </a:ext>
            </a:extLst>
          </p:cNvPr>
          <p:cNvGraphicFramePr>
            <a:graphicFrameLocks noGrp="1"/>
          </p:cNvGraphicFramePr>
          <p:nvPr>
            <p:extLst>
              <p:ext uri="{D42A27DB-BD31-4B8C-83A1-F6EECF244321}">
                <p14:modId xmlns:p14="http://schemas.microsoft.com/office/powerpoint/2010/main" val="2354174145"/>
              </p:ext>
            </p:extLst>
          </p:nvPr>
        </p:nvGraphicFramePr>
        <p:xfrm>
          <a:off x="2356573" y="3548589"/>
          <a:ext cx="8747127" cy="1107465"/>
        </p:xfrm>
        <a:graphic>
          <a:graphicData uri="http://schemas.openxmlformats.org/drawingml/2006/table">
            <a:tbl>
              <a:tblPr/>
              <a:tblGrid>
                <a:gridCol w="976213">
                  <a:extLst>
                    <a:ext uri="{9D8B030D-6E8A-4147-A177-3AD203B41FA5}">
                      <a16:colId xmlns:a16="http://schemas.microsoft.com/office/drawing/2014/main" val="20000"/>
                    </a:ext>
                  </a:extLst>
                </a:gridCol>
                <a:gridCol w="1158279">
                  <a:extLst>
                    <a:ext uri="{9D8B030D-6E8A-4147-A177-3AD203B41FA5}">
                      <a16:colId xmlns:a16="http://schemas.microsoft.com/office/drawing/2014/main" val="20001"/>
                    </a:ext>
                  </a:extLst>
                </a:gridCol>
                <a:gridCol w="1082326">
                  <a:extLst>
                    <a:ext uri="{9D8B030D-6E8A-4147-A177-3AD203B41FA5}">
                      <a16:colId xmlns:a16="http://schemas.microsoft.com/office/drawing/2014/main" val="20002"/>
                    </a:ext>
                  </a:extLst>
                </a:gridCol>
                <a:gridCol w="1580766">
                  <a:extLst>
                    <a:ext uri="{9D8B030D-6E8A-4147-A177-3AD203B41FA5}">
                      <a16:colId xmlns:a16="http://schemas.microsoft.com/office/drawing/2014/main" val="20003"/>
                    </a:ext>
                  </a:extLst>
                </a:gridCol>
                <a:gridCol w="797504">
                  <a:extLst>
                    <a:ext uri="{9D8B030D-6E8A-4147-A177-3AD203B41FA5}">
                      <a16:colId xmlns:a16="http://schemas.microsoft.com/office/drawing/2014/main" val="20004"/>
                    </a:ext>
                  </a:extLst>
                </a:gridCol>
                <a:gridCol w="1424114">
                  <a:extLst>
                    <a:ext uri="{9D8B030D-6E8A-4147-A177-3AD203B41FA5}">
                      <a16:colId xmlns:a16="http://schemas.microsoft.com/office/drawing/2014/main" val="20005"/>
                    </a:ext>
                  </a:extLst>
                </a:gridCol>
                <a:gridCol w="1727925">
                  <a:extLst>
                    <a:ext uri="{9D8B030D-6E8A-4147-A177-3AD203B41FA5}">
                      <a16:colId xmlns:a16="http://schemas.microsoft.com/office/drawing/2014/main" val="20006"/>
                    </a:ext>
                  </a:extLst>
                </a:gridCol>
              </a:tblGrid>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OrderDate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CustomerKey</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SalesOrderNumber</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UnitPrice</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ExtendedAmoun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kern="1200">
                          <a:solidFill>
                            <a:schemeClr val="bg1"/>
                          </a:solidFill>
                          <a:effectLst/>
                          <a:latin typeface="Calibri" panose="020F0502020204030204" pitchFamily="34" charset="0"/>
                          <a:ea typeface="+mn-ea"/>
                          <a:cs typeface="+mn-cs"/>
                        </a:rPr>
                        <a:t>ProductStandardCost</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91</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36</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915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1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005092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8163</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SO442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3578.27</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0" i="0" u="none" strike="noStrike">
                          <a:solidFill>
                            <a:srgbClr val="000000"/>
                          </a:solidFill>
                          <a:effectLst/>
                          <a:latin typeface="Calibri" panose="020F0502020204030204" pitchFamily="34" charset="0"/>
                        </a:rPr>
                        <a:t>2171.2942</a:t>
                      </a:r>
                    </a:p>
                  </a:txBody>
                  <a:tcPr marL="9715" marR="9715" marT="971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0" name="Left Brace 9">
            <a:extLst>
              <a:ext uri="{FF2B5EF4-FFF2-40B4-BE49-F238E27FC236}">
                <a16:creationId xmlns:a16="http://schemas.microsoft.com/office/drawing/2014/main" id="{857D04A3-4225-4CAD-9923-E442B91D41CB}"/>
              </a:ext>
            </a:extLst>
          </p:cNvPr>
          <p:cNvSpPr/>
          <p:nvPr/>
        </p:nvSpPr>
        <p:spPr>
          <a:xfrm>
            <a:off x="1918447" y="3581400"/>
            <a:ext cx="443753" cy="1072667"/>
          </a:xfrm>
          <a:prstGeom prst="leftBrace">
            <a:avLst/>
          </a:prstGeom>
          <a:solidFill>
            <a:schemeClr val="bg1"/>
          </a:solidFill>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86466A35-4250-43C7-9AFA-8705D6BCCAD1}"/>
              </a:ext>
            </a:extLst>
          </p:cNvPr>
          <p:cNvSpPr txBox="1"/>
          <p:nvPr/>
        </p:nvSpPr>
        <p:spPr>
          <a:xfrm>
            <a:off x="711966" y="3833318"/>
            <a:ext cx="618631" cy="2394445"/>
          </a:xfrm>
          <a:prstGeom prst="rect">
            <a:avLst/>
          </a:prstGeom>
          <a:noFill/>
        </p:spPr>
        <p:txBody>
          <a:bodyPr vert="vert270"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Table with Partition</a:t>
            </a:r>
          </a:p>
        </p:txBody>
      </p:sp>
      <p:sp>
        <p:nvSpPr>
          <p:cNvPr id="12" name="TextBox 11">
            <a:extLst>
              <a:ext uri="{FF2B5EF4-FFF2-40B4-BE49-F238E27FC236}">
                <a16:creationId xmlns:a16="http://schemas.microsoft.com/office/drawing/2014/main" id="{DDB37279-B470-4821-9BA2-61396995270E}"/>
              </a:ext>
            </a:extLst>
          </p:cNvPr>
          <p:cNvSpPr txBox="1"/>
          <p:nvPr/>
        </p:nvSpPr>
        <p:spPr>
          <a:xfrm>
            <a:off x="1456882" y="3621086"/>
            <a:ext cx="563231" cy="1110817"/>
          </a:xfrm>
          <a:prstGeom prst="rect">
            <a:avLst/>
          </a:prstGeom>
          <a:noFill/>
        </p:spPr>
        <p:txBody>
          <a:bodyPr vert="vert270" wrap="squar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Partition 1</a:t>
            </a:r>
          </a:p>
        </p:txBody>
      </p:sp>
      <p:sp>
        <p:nvSpPr>
          <p:cNvPr id="15" name="TextBox 14">
            <a:extLst>
              <a:ext uri="{FF2B5EF4-FFF2-40B4-BE49-F238E27FC236}">
                <a16:creationId xmlns:a16="http://schemas.microsoft.com/office/drawing/2014/main" id="{2555B7D4-A2C9-4639-9918-BCBBE3EF6941}"/>
              </a:ext>
            </a:extLst>
          </p:cNvPr>
          <p:cNvSpPr txBox="1"/>
          <p:nvPr/>
        </p:nvSpPr>
        <p:spPr>
          <a:xfrm>
            <a:off x="3199418" y="3066787"/>
            <a:ext cx="1371466" cy="489365"/>
          </a:xfrm>
          <a:prstGeom prst="rect">
            <a:avLst/>
          </a:prstGeom>
          <a:noFill/>
        </p:spPr>
        <p:txBody>
          <a:bodyPr wrap="none" lIns="182880" tIns="146304" rIns="182880" bIns="146304" rtlCol="0">
            <a:spAutoFit/>
          </a:bodyPr>
          <a:lstStyle/>
          <a:p>
            <a:pPr>
              <a:lnSpc>
                <a:spcPct val="90000"/>
              </a:lnSpc>
              <a:spcAft>
                <a:spcPts val="600"/>
              </a:spcAft>
            </a:pPr>
            <a:r>
              <a:rPr lang="en-US" sz="1400" dirty="0"/>
              <a:t>Partition Key</a:t>
            </a:r>
          </a:p>
        </p:txBody>
      </p:sp>
      <p:sp>
        <p:nvSpPr>
          <p:cNvPr id="16" name="Left Brace 15">
            <a:extLst>
              <a:ext uri="{FF2B5EF4-FFF2-40B4-BE49-F238E27FC236}">
                <a16:creationId xmlns:a16="http://schemas.microsoft.com/office/drawing/2014/main" id="{7BFAF9B8-7D7B-410F-9E76-6A9599664DE5}"/>
              </a:ext>
            </a:extLst>
          </p:cNvPr>
          <p:cNvSpPr/>
          <p:nvPr/>
        </p:nvSpPr>
        <p:spPr>
          <a:xfrm rot="16200000">
            <a:off x="3791131" y="2841978"/>
            <a:ext cx="171689" cy="1143001"/>
          </a:xfrm>
          <a:prstGeom prst="leftBrace">
            <a:avLst/>
          </a:prstGeom>
          <a:ln>
            <a:headEnd type="none"/>
            <a:tailEnd type="none"/>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17" name="Flowchart: Process 16">
            <a:extLst>
              <a:ext uri="{FF2B5EF4-FFF2-40B4-BE49-F238E27FC236}">
                <a16:creationId xmlns:a16="http://schemas.microsoft.com/office/drawing/2014/main" id="{644C4E98-405F-4DBE-8494-54B6FE7E538C}"/>
              </a:ext>
            </a:extLst>
          </p:cNvPr>
          <p:cNvSpPr/>
          <p:nvPr/>
        </p:nvSpPr>
        <p:spPr bwMode="auto">
          <a:xfrm>
            <a:off x="3352800" y="3886200"/>
            <a:ext cx="1143000" cy="697810"/>
          </a:xfrm>
          <a:prstGeom prst="flowChartProcess">
            <a:avLst/>
          </a:prstGeom>
          <a:solidFill>
            <a:srgbClr val="D83B01">
              <a:alpha val="1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Flowchart: Process 18">
            <a:extLst>
              <a:ext uri="{FF2B5EF4-FFF2-40B4-BE49-F238E27FC236}">
                <a16:creationId xmlns:a16="http://schemas.microsoft.com/office/drawing/2014/main" id="{E25F8932-AECC-4F7E-A34D-4F1BB866C5CD}"/>
              </a:ext>
            </a:extLst>
          </p:cNvPr>
          <p:cNvSpPr/>
          <p:nvPr/>
        </p:nvSpPr>
        <p:spPr bwMode="auto">
          <a:xfrm>
            <a:off x="3352800" y="5410200"/>
            <a:ext cx="1143000" cy="628848"/>
          </a:xfrm>
          <a:prstGeom prst="flowChartProcess">
            <a:avLst/>
          </a:prstGeom>
          <a:solidFill>
            <a:srgbClr val="D83B01">
              <a:alpha val="10196"/>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03B9A0B4-8622-4DD1-9358-F4C9F2083E85}"/>
              </a:ext>
            </a:extLst>
          </p:cNvPr>
          <p:cNvSpPr txBox="1"/>
          <p:nvPr/>
        </p:nvSpPr>
        <p:spPr>
          <a:xfrm>
            <a:off x="1470345" y="5153461"/>
            <a:ext cx="563231" cy="1110817"/>
          </a:xfrm>
          <a:prstGeom prst="rect">
            <a:avLst/>
          </a:prstGeom>
          <a:noFill/>
        </p:spPr>
        <p:txBody>
          <a:bodyPr vert="vert270" wrap="non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Partition 2</a:t>
            </a:r>
          </a:p>
        </p:txBody>
      </p:sp>
      <p:sp>
        <p:nvSpPr>
          <p:cNvPr id="25" name="Left Brace 24">
            <a:extLst>
              <a:ext uri="{FF2B5EF4-FFF2-40B4-BE49-F238E27FC236}">
                <a16:creationId xmlns:a16="http://schemas.microsoft.com/office/drawing/2014/main" id="{71AA5982-CFCC-48E7-AADE-9B03E548C44A}"/>
              </a:ext>
            </a:extLst>
          </p:cNvPr>
          <p:cNvSpPr/>
          <p:nvPr/>
        </p:nvSpPr>
        <p:spPr>
          <a:xfrm>
            <a:off x="1241129" y="3548588"/>
            <a:ext cx="443753" cy="267917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Left Brace 25">
            <a:extLst>
              <a:ext uri="{FF2B5EF4-FFF2-40B4-BE49-F238E27FC236}">
                <a16:creationId xmlns:a16="http://schemas.microsoft.com/office/drawing/2014/main" id="{BE1F24C5-F47E-4E54-A0F2-F06D69897193}"/>
              </a:ext>
            </a:extLst>
          </p:cNvPr>
          <p:cNvSpPr/>
          <p:nvPr/>
        </p:nvSpPr>
        <p:spPr>
          <a:xfrm>
            <a:off x="1963660" y="5076008"/>
            <a:ext cx="398540" cy="1072667"/>
          </a:xfrm>
          <a:prstGeom prst="leftBrace">
            <a:avLst>
              <a:gd name="adj1" fmla="val 8333"/>
              <a:gd name="adj2" fmla="val 50000"/>
            </a:avLst>
          </a:prstGeom>
          <a:solidFill>
            <a:schemeClr val="bg1"/>
          </a:solidFill>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33819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differences between heap and clustered objects.</a:t>
            </a:r>
          </a:p>
          <a:p>
            <a:r>
              <a:rPr lang="en-US" dirty="0"/>
              <a:t>Describe B-Trees, and why they are beneficial.</a:t>
            </a:r>
          </a:p>
          <a:p>
            <a:r>
              <a:rPr lang="en-US" dirty="0"/>
              <a:t>Understand the differences between clustered and non-clustered indexes.</a:t>
            </a:r>
          </a:p>
          <a:p>
            <a:r>
              <a:rPr lang="en-US" dirty="0"/>
              <a:t>Describe the different methods by which data structures are accessed.</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able Partitioning Concepts</a:t>
            </a:r>
          </a:p>
        </p:txBody>
      </p:sp>
      <p:graphicFrame>
        <p:nvGraphicFramePr>
          <p:cNvPr id="5" name="Content Placeholder 4">
            <a:extLst>
              <a:ext uri="{FF2B5EF4-FFF2-40B4-BE49-F238E27FC236}">
                <a16:creationId xmlns:a16="http://schemas.microsoft.com/office/drawing/2014/main" id="{09902D76-AF24-4822-BD55-215875E1D268}"/>
              </a:ext>
            </a:extLst>
          </p:cNvPr>
          <p:cNvGraphicFramePr>
            <a:graphicFrameLocks noGrp="1"/>
          </p:cNvGraphicFramePr>
          <p:nvPr>
            <p:ph sz="quarter" idx="13"/>
            <p:extLst>
              <p:ext uri="{D42A27DB-BD31-4B8C-83A1-F6EECF244321}">
                <p14:modId xmlns:p14="http://schemas.microsoft.com/office/powerpoint/2010/main" val="3914653886"/>
              </p:ext>
            </p:extLst>
          </p:nvPr>
        </p:nvGraphicFramePr>
        <p:xfrm>
          <a:off x="655638" y="1408113"/>
          <a:ext cx="10880726" cy="48098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26697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ligned vs </a:t>
            </a:r>
            <a:r>
              <a:rPr lang="en-US" b="1"/>
              <a:t>Non-aligned </a:t>
            </a:r>
            <a:r>
              <a:rPr lang="en-US"/>
              <a:t>indexes</a:t>
            </a:r>
          </a:p>
        </p:txBody>
      </p:sp>
      <p:graphicFrame>
        <p:nvGraphicFramePr>
          <p:cNvPr id="5" name="Content Placeholder 4">
            <a:extLst>
              <a:ext uri="{FF2B5EF4-FFF2-40B4-BE49-F238E27FC236}">
                <a16:creationId xmlns:a16="http://schemas.microsoft.com/office/drawing/2014/main" id="{6F1B5E90-CEBF-4537-91EB-AC0DBCBA5210}"/>
              </a:ext>
            </a:extLst>
          </p:cNvPr>
          <p:cNvGraphicFramePr>
            <a:graphicFrameLocks noGrp="1"/>
          </p:cNvGraphicFramePr>
          <p:nvPr>
            <p:ph sz="quarter" idx="13"/>
            <p:extLst>
              <p:ext uri="{D42A27DB-BD31-4B8C-83A1-F6EECF244321}">
                <p14:modId xmlns:p14="http://schemas.microsoft.com/office/powerpoint/2010/main" val="406134337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03687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Indexes on Partitioned Table</a:t>
            </a:r>
          </a:p>
        </p:txBody>
      </p:sp>
      <p:graphicFrame>
        <p:nvGraphicFramePr>
          <p:cNvPr id="6" name="Content Placeholder 5">
            <a:extLst>
              <a:ext uri="{FF2B5EF4-FFF2-40B4-BE49-F238E27FC236}">
                <a16:creationId xmlns:a16="http://schemas.microsoft.com/office/drawing/2014/main" id="{18B894D6-E22E-4CFC-A540-F16B2A407F36}"/>
              </a:ext>
            </a:extLst>
          </p:cNvPr>
          <p:cNvGraphicFramePr>
            <a:graphicFrameLocks noGrp="1"/>
          </p:cNvGraphicFramePr>
          <p:nvPr>
            <p:ph sz="quarter" idx="13"/>
            <p:extLst>
              <p:ext uri="{D42A27DB-BD31-4B8C-83A1-F6EECF244321}">
                <p14:modId xmlns:p14="http://schemas.microsoft.com/office/powerpoint/2010/main" val="2747248457"/>
              </p:ext>
            </p:extLst>
          </p:nvPr>
        </p:nvGraphicFramePr>
        <p:xfrm>
          <a:off x="655638" y="1408114"/>
          <a:ext cx="10880726" cy="4002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6CB2FA83-0DB2-4D69-AEAC-E1C657B6D68D}"/>
              </a:ext>
            </a:extLst>
          </p:cNvPr>
          <p:cNvSpPr/>
          <p:nvPr/>
        </p:nvSpPr>
        <p:spPr>
          <a:xfrm>
            <a:off x="655635" y="5725208"/>
            <a:ext cx="10880725" cy="692817"/>
          </a:xfrm>
          <a:prstGeom prst="rect">
            <a:avLst/>
          </a:prstGeom>
          <a:ln>
            <a:solidFill>
              <a:schemeClr val="accent1"/>
            </a:solidFill>
          </a:ln>
          <a:effectLst/>
        </p:spPr>
        <p:txBody>
          <a:bodyPr wrap="square">
            <a:noAutofit/>
          </a:bodyPr>
          <a:lstStyle/>
          <a:p>
            <a:r>
              <a:rPr lang="en-US">
                <a:solidFill>
                  <a:srgbClr val="0A1FE4"/>
                </a:solidFill>
                <a:latin typeface="Consolas" panose="020B0609020204030204" pitchFamily="49" charset="0"/>
              </a:rPr>
              <a:t>CREATE [CLUSTERED] INDEX</a:t>
            </a:r>
            <a:r>
              <a:rPr lang="en-US">
                <a:latin typeface="Consolas" panose="020B0609020204030204" pitchFamily="49" charset="0"/>
              </a:rPr>
              <a:t> … </a:t>
            </a:r>
            <a:r>
              <a:rPr lang="en-US">
                <a:solidFill>
                  <a:srgbClr val="0A1FE4"/>
                </a:solidFill>
                <a:latin typeface="Consolas" panose="020B0609020204030204" pitchFamily="49" charset="0"/>
              </a:rPr>
              <a:t>ON </a:t>
            </a:r>
            <a:r>
              <a:rPr lang="en-US">
                <a:latin typeface="Consolas" panose="020B0609020204030204" pitchFamily="49" charset="0"/>
              </a:rPr>
              <a:t>{partition_scheme_name ( column_name ) }</a:t>
            </a:r>
          </a:p>
        </p:txBody>
      </p:sp>
    </p:spTree>
    <p:extLst>
      <p:ext uri="{BB962C8B-B14F-4D97-AF65-F5344CB8AC3E}">
        <p14:creationId xmlns:p14="http://schemas.microsoft.com/office/powerpoint/2010/main" val="1729373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rtitioned table and index sample</a:t>
            </a:r>
          </a:p>
        </p:txBody>
      </p:sp>
      <p:sp>
        <p:nvSpPr>
          <p:cNvPr id="6" name="Rectangle 5">
            <a:extLst>
              <a:ext uri="{FF2B5EF4-FFF2-40B4-BE49-F238E27FC236}">
                <a16:creationId xmlns:a16="http://schemas.microsoft.com/office/drawing/2014/main" id="{5BEE3541-3FB8-4584-8442-720F972358C6}"/>
              </a:ext>
            </a:extLst>
          </p:cNvPr>
          <p:cNvSpPr/>
          <p:nvPr/>
        </p:nvSpPr>
        <p:spPr>
          <a:xfrm>
            <a:off x="655636" y="1447800"/>
            <a:ext cx="10880725" cy="4819650"/>
          </a:xfrm>
          <a:prstGeom prst="rect">
            <a:avLst/>
          </a:prstGeom>
          <a:ln>
            <a:solidFill>
              <a:schemeClr val="accent1"/>
            </a:solidFill>
          </a:ln>
          <a:effectLst/>
        </p:spPr>
        <p:txBody>
          <a:bodyPr wrap="square">
            <a:noAutofit/>
          </a:bodyPr>
          <a:lstStyle/>
          <a:p>
            <a:r>
              <a:rPr lang="en-US">
                <a:solidFill>
                  <a:schemeClr val="accent4"/>
                </a:solidFill>
                <a:latin typeface="Consolas" panose="020B0609020204030204" pitchFamily="49" charset="0"/>
              </a:rPr>
              <a:t>-- Creating a partition function with four partitions  </a:t>
            </a:r>
          </a:p>
          <a:p>
            <a:r>
              <a:rPr lang="en-US">
                <a:solidFill>
                  <a:srgbClr val="0A1FE4"/>
                </a:solidFill>
                <a:latin typeface="Consolas" panose="020B0609020204030204" pitchFamily="49" charset="0"/>
              </a:rPr>
              <a:t>CREATE PARTITION FUNCTION </a:t>
            </a:r>
            <a:r>
              <a:rPr lang="en-US">
                <a:latin typeface="Consolas" panose="020B0609020204030204" pitchFamily="49" charset="0"/>
              </a:rPr>
              <a:t>myRangePF1 (</a:t>
            </a:r>
            <a:r>
              <a:rPr lang="en-US">
                <a:solidFill>
                  <a:srgbClr val="0A1FE4"/>
                </a:solidFill>
                <a:latin typeface="Consolas" panose="020B0609020204030204" pitchFamily="49" charset="0"/>
              </a:rPr>
              <a:t>int</a:t>
            </a:r>
            <a:r>
              <a:rPr lang="en-US">
                <a:latin typeface="Consolas" panose="020B0609020204030204" pitchFamily="49" charset="0"/>
              </a:rPr>
              <a:t>)  </a:t>
            </a:r>
          </a:p>
          <a:p>
            <a:r>
              <a:rPr lang="en-US">
                <a:solidFill>
                  <a:srgbClr val="0A1FE4"/>
                </a:solidFill>
                <a:latin typeface="Consolas" panose="020B0609020204030204" pitchFamily="49" charset="0"/>
              </a:rPr>
              <a:t>    AS RANGE </a:t>
            </a:r>
            <a:r>
              <a:rPr lang="en-US">
                <a:solidFill>
                  <a:schemeClr val="tx1">
                    <a:lumMod val="50000"/>
                    <a:lumOff val="50000"/>
                  </a:schemeClr>
                </a:solidFill>
                <a:latin typeface="Consolas" panose="020B0609020204030204" pitchFamily="49" charset="0"/>
              </a:rPr>
              <a:t>LEFT</a:t>
            </a:r>
            <a:r>
              <a:rPr lang="en-US">
                <a:latin typeface="Consolas" panose="020B0609020204030204" pitchFamily="49" charset="0"/>
              </a:rPr>
              <a:t> </a:t>
            </a:r>
            <a:r>
              <a:rPr lang="en-US">
                <a:solidFill>
                  <a:srgbClr val="0A1FE4"/>
                </a:solidFill>
                <a:latin typeface="Consolas" panose="020B0609020204030204" pitchFamily="49" charset="0"/>
              </a:rPr>
              <a:t>FOR VALUES </a:t>
            </a:r>
            <a:r>
              <a:rPr lang="en-US">
                <a:latin typeface="Consolas" panose="020B0609020204030204" pitchFamily="49" charset="0"/>
              </a:rPr>
              <a:t>(1, 100, 1000) ;  </a:t>
            </a:r>
          </a:p>
          <a:p>
            <a:r>
              <a:rPr lang="en-US">
                <a:solidFill>
                  <a:srgbClr val="0A1FE4"/>
                </a:solidFill>
                <a:latin typeface="Consolas" panose="020B0609020204030204" pitchFamily="49" charset="0"/>
              </a:rPr>
              <a:t>GO </a:t>
            </a:r>
            <a:r>
              <a:rPr lang="en-US">
                <a:latin typeface="Consolas" panose="020B0609020204030204" pitchFamily="49" charset="0"/>
              </a:rPr>
              <a:t> </a:t>
            </a:r>
          </a:p>
          <a:p>
            <a:r>
              <a:rPr lang="en-US">
                <a:solidFill>
                  <a:schemeClr val="accent4"/>
                </a:solidFill>
                <a:latin typeface="Consolas" panose="020B0609020204030204" pitchFamily="49" charset="0"/>
              </a:rPr>
              <a:t>-- Creates a partition scheme that applies myRangePF1 to the four filegroups</a:t>
            </a:r>
          </a:p>
          <a:p>
            <a:r>
              <a:rPr lang="en-US">
                <a:solidFill>
                  <a:srgbClr val="0A1FE4"/>
                </a:solidFill>
                <a:latin typeface="Consolas" panose="020B0609020204030204" pitchFamily="49" charset="0"/>
              </a:rPr>
              <a:t>CREATE PARTITION SCHEME </a:t>
            </a:r>
            <a:r>
              <a:rPr lang="en-US">
                <a:latin typeface="Consolas" panose="020B0609020204030204" pitchFamily="49" charset="0"/>
              </a:rPr>
              <a:t>myRangePS1  </a:t>
            </a:r>
          </a:p>
          <a:p>
            <a:r>
              <a:rPr lang="en-US">
                <a:solidFill>
                  <a:srgbClr val="0A1FE4"/>
                </a:solidFill>
                <a:latin typeface="Consolas" panose="020B0609020204030204" pitchFamily="49" charset="0"/>
              </a:rPr>
              <a:t>    AS PARTITION </a:t>
            </a:r>
            <a:r>
              <a:rPr lang="en-US">
                <a:latin typeface="Consolas" panose="020B0609020204030204" pitchFamily="49" charset="0"/>
              </a:rPr>
              <a:t>myRangePF1  </a:t>
            </a:r>
          </a:p>
          <a:p>
            <a:r>
              <a:rPr lang="en-US">
                <a:latin typeface="Consolas" panose="020B0609020204030204" pitchFamily="49" charset="0"/>
              </a:rPr>
              <a:t>    </a:t>
            </a:r>
            <a:r>
              <a:rPr lang="en-US">
                <a:solidFill>
                  <a:srgbClr val="0A1FE4"/>
                </a:solidFill>
                <a:latin typeface="Consolas" panose="020B0609020204030204" pitchFamily="49" charset="0"/>
              </a:rPr>
              <a:t>TO</a:t>
            </a:r>
            <a:r>
              <a:rPr lang="en-US">
                <a:latin typeface="Consolas" panose="020B0609020204030204" pitchFamily="49" charset="0"/>
              </a:rPr>
              <a:t> (test1fg, test2fg, test3fg, test4fg) ;  </a:t>
            </a:r>
          </a:p>
          <a:p>
            <a:r>
              <a:rPr lang="en-US">
                <a:solidFill>
                  <a:srgbClr val="0A1FE4"/>
                </a:solidFill>
                <a:latin typeface="Consolas" panose="020B0609020204030204" pitchFamily="49" charset="0"/>
              </a:rPr>
              <a:t>GO</a:t>
            </a:r>
            <a:r>
              <a:rPr lang="en-US">
                <a:latin typeface="Consolas" panose="020B0609020204030204" pitchFamily="49" charset="0"/>
              </a:rPr>
              <a:t>  </a:t>
            </a:r>
          </a:p>
          <a:p>
            <a:r>
              <a:rPr lang="en-US">
                <a:solidFill>
                  <a:schemeClr val="accent4"/>
                </a:solidFill>
                <a:latin typeface="Consolas" panose="020B0609020204030204" pitchFamily="49" charset="0"/>
              </a:rPr>
              <a:t>-- Creates a partitioned table that uses myRangePS1 to partition col1 </a:t>
            </a:r>
            <a:r>
              <a:rPr lang="en-US">
                <a:latin typeface="Consolas" panose="020B0609020204030204" pitchFamily="49" charset="0"/>
              </a:rPr>
              <a:t> </a:t>
            </a:r>
          </a:p>
          <a:p>
            <a:r>
              <a:rPr lang="en-US">
                <a:solidFill>
                  <a:srgbClr val="0A1FE4"/>
                </a:solidFill>
                <a:latin typeface="Consolas" panose="020B0609020204030204" pitchFamily="49" charset="0"/>
              </a:rPr>
              <a:t>CREATE TABLE</a:t>
            </a:r>
            <a:r>
              <a:rPr lang="en-US">
                <a:latin typeface="Consolas" panose="020B0609020204030204" pitchFamily="49" charset="0"/>
              </a:rPr>
              <a:t> PartitionTable (col1 </a:t>
            </a:r>
            <a:r>
              <a:rPr lang="en-US">
                <a:solidFill>
                  <a:srgbClr val="0A1FE4"/>
                </a:solidFill>
                <a:latin typeface="Consolas" panose="020B0609020204030204" pitchFamily="49" charset="0"/>
              </a:rPr>
              <a:t>int </a:t>
            </a:r>
            <a:r>
              <a:rPr lang="en-US">
                <a:solidFill>
                  <a:schemeClr val="tx1">
                    <a:lumMod val="50000"/>
                    <a:lumOff val="50000"/>
                  </a:schemeClr>
                </a:solidFill>
                <a:latin typeface="Consolas" panose="020B0609020204030204" pitchFamily="49" charset="0"/>
              </a:rPr>
              <a:t>NOT NULL</a:t>
            </a:r>
            <a:r>
              <a:rPr lang="en-US">
                <a:latin typeface="Consolas" panose="020B0609020204030204" pitchFamily="49" charset="0"/>
              </a:rPr>
              <a:t>, col2 </a:t>
            </a:r>
            <a:r>
              <a:rPr lang="en-US">
                <a:solidFill>
                  <a:srgbClr val="0A1FE4"/>
                </a:solidFill>
                <a:latin typeface="Consolas" panose="020B0609020204030204" pitchFamily="49" charset="0"/>
              </a:rPr>
              <a:t>char</a:t>
            </a:r>
            <a:r>
              <a:rPr lang="en-US">
                <a:latin typeface="Consolas" panose="020B0609020204030204" pitchFamily="49" charset="0"/>
              </a:rPr>
              <a:t>(10))  </a:t>
            </a:r>
          </a:p>
          <a:p>
            <a:r>
              <a:rPr lang="en-US">
                <a:latin typeface="Consolas" panose="020B0609020204030204" pitchFamily="49" charset="0"/>
              </a:rPr>
              <a:t>    ON myRangePS1 (col1) ;  </a:t>
            </a:r>
          </a:p>
          <a:p>
            <a:r>
              <a:rPr lang="en-US">
                <a:solidFill>
                  <a:srgbClr val="0A1FE4"/>
                </a:solidFill>
                <a:latin typeface="Consolas" panose="020B0609020204030204" pitchFamily="49" charset="0"/>
              </a:rPr>
              <a:t>GO</a:t>
            </a:r>
          </a:p>
          <a:p>
            <a:r>
              <a:rPr lang="en-US">
                <a:solidFill>
                  <a:srgbClr val="0A1FE4"/>
                </a:solidFill>
                <a:latin typeface="Consolas" panose="020B0609020204030204" pitchFamily="49" charset="0"/>
              </a:rPr>
              <a:t>CREATE CLUSTERED INDEX </a:t>
            </a:r>
            <a:r>
              <a:rPr lang="en-US">
                <a:latin typeface="Consolas" panose="020B0609020204030204" pitchFamily="49" charset="0"/>
              </a:rPr>
              <a:t>ClusIndxCol1</a:t>
            </a:r>
            <a:r>
              <a:rPr lang="en-US">
                <a:solidFill>
                  <a:srgbClr val="0A1FE4"/>
                </a:solidFill>
                <a:latin typeface="Consolas" panose="020B0609020204030204" pitchFamily="49" charset="0"/>
              </a:rPr>
              <a:t> ON </a:t>
            </a:r>
            <a:r>
              <a:rPr lang="en-US">
                <a:latin typeface="Consolas" panose="020B0609020204030204" pitchFamily="49" charset="0"/>
              </a:rPr>
              <a:t>PartitionTable(col1)</a:t>
            </a:r>
          </a:p>
          <a:p>
            <a:r>
              <a:rPr lang="en-US">
                <a:solidFill>
                  <a:srgbClr val="0A1FE4"/>
                </a:solidFill>
                <a:latin typeface="Consolas" panose="020B0609020204030204" pitchFamily="49" charset="0"/>
              </a:rPr>
              <a:t>ON</a:t>
            </a:r>
            <a:r>
              <a:rPr lang="en-US">
                <a:latin typeface="Consolas" panose="020B0609020204030204" pitchFamily="49" charset="0"/>
              </a:rPr>
              <a:t> myRangePS1(col1)</a:t>
            </a:r>
          </a:p>
          <a:p>
            <a:r>
              <a:rPr lang="en-US">
                <a:solidFill>
                  <a:srgbClr val="0A1FE4"/>
                </a:solidFill>
                <a:latin typeface="Consolas" panose="020B0609020204030204" pitchFamily="49" charset="0"/>
              </a:rPr>
              <a:t>GO</a:t>
            </a:r>
          </a:p>
        </p:txBody>
      </p:sp>
    </p:spTree>
    <p:extLst>
      <p:ext uri="{BB962C8B-B14F-4D97-AF65-F5344CB8AC3E}">
        <p14:creationId xmlns:p14="http://schemas.microsoft.com/office/powerpoint/2010/main" val="37147857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Table Partitioning Operation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Data Movement in table or Partition is done using </a:t>
            </a:r>
            <a:r>
              <a:rPr lang="en-US">
                <a:solidFill>
                  <a:srgbClr val="0A1FE4"/>
                </a:solidFill>
              </a:rPr>
              <a:t>ALTER</a:t>
            </a:r>
            <a:r>
              <a:rPr lang="en-US"/>
              <a:t> …</a:t>
            </a:r>
            <a:r>
              <a:rPr lang="en-US">
                <a:solidFill>
                  <a:srgbClr val="0A1FE4"/>
                </a:solidFill>
              </a:rPr>
              <a:t>SWITCH</a:t>
            </a:r>
            <a:r>
              <a:rPr lang="en-US"/>
              <a:t>/</a:t>
            </a:r>
            <a:r>
              <a:rPr lang="en-US">
                <a:solidFill>
                  <a:srgbClr val="0A1FE4"/>
                </a:solidFill>
              </a:rPr>
              <a:t>MERGE</a:t>
            </a:r>
            <a:r>
              <a:rPr lang="en-US"/>
              <a:t>/</a:t>
            </a:r>
            <a:r>
              <a:rPr lang="en-US">
                <a:solidFill>
                  <a:srgbClr val="0A1FE4"/>
                </a:solidFill>
              </a:rPr>
              <a:t>SPLIT</a:t>
            </a:r>
            <a:endParaRPr lang="en-US"/>
          </a:p>
          <a:p>
            <a:endParaRPr lang="en-US"/>
          </a:p>
        </p:txBody>
      </p:sp>
      <p:graphicFrame>
        <p:nvGraphicFramePr>
          <p:cNvPr id="8" name="Content Placeholder 7">
            <a:extLst>
              <a:ext uri="{FF2B5EF4-FFF2-40B4-BE49-F238E27FC236}">
                <a16:creationId xmlns:a16="http://schemas.microsoft.com/office/drawing/2014/main" id="{E5E48B91-45DE-435E-93ED-AA586BA87830}"/>
              </a:ext>
            </a:extLst>
          </p:cNvPr>
          <p:cNvGraphicFramePr>
            <a:graphicFrameLocks noGrp="1"/>
          </p:cNvGraphicFramePr>
          <p:nvPr>
            <p:ph sz="quarter" idx="13"/>
            <p:extLst>
              <p:ext uri="{D42A27DB-BD31-4B8C-83A1-F6EECF244321}">
                <p14:modId xmlns:p14="http://schemas.microsoft.com/office/powerpoint/2010/main" val="966425958"/>
              </p:ext>
            </p:extLst>
          </p:nvPr>
        </p:nvGraphicFramePr>
        <p:xfrm>
          <a:off x="655638" y="1408114"/>
          <a:ext cx="10880726" cy="2554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D5E76E1-09E0-48F1-B1DE-ABBB0E586ACF}"/>
              </a:ext>
            </a:extLst>
          </p:cNvPr>
          <p:cNvSpPr/>
          <p:nvPr/>
        </p:nvSpPr>
        <p:spPr>
          <a:xfrm>
            <a:off x="673221" y="4038600"/>
            <a:ext cx="10880725" cy="2105298"/>
          </a:xfrm>
          <a:prstGeom prst="rect">
            <a:avLst/>
          </a:prstGeom>
          <a:ln>
            <a:solidFill>
              <a:schemeClr val="accent1"/>
            </a:solidFill>
          </a:ln>
          <a:effectLst/>
        </p:spPr>
        <p:txBody>
          <a:bodyPr wrap="square">
            <a:noAutofit/>
          </a:bodyPr>
          <a:lstStyle/>
          <a:p>
            <a:r>
              <a:rPr lang="en-US" sz="1600">
                <a:solidFill>
                  <a:schemeClr val="accent4"/>
                </a:solidFill>
                <a:latin typeface="Consolas" panose="020B0609020204030204" pitchFamily="49" charset="0"/>
              </a:rPr>
              <a:t>--SWITCH</a:t>
            </a:r>
          </a:p>
          <a:p>
            <a:r>
              <a:rPr lang="en-US" sz="1600">
                <a:solidFill>
                  <a:srgbClr val="0A1FE4"/>
                </a:solidFill>
                <a:latin typeface="Consolas" panose="020B0609020204030204" pitchFamily="49" charset="0"/>
              </a:rPr>
              <a:t>ALTER TABLE </a:t>
            </a:r>
            <a:r>
              <a:rPr lang="en-US" sz="1600">
                <a:latin typeface="Consolas" panose="020B0609020204030204" pitchFamily="49" charset="0"/>
              </a:rPr>
              <a:t>PartitionTable </a:t>
            </a:r>
            <a:r>
              <a:rPr lang="en-US" sz="1600">
                <a:solidFill>
                  <a:srgbClr val="0A1FE4"/>
                </a:solidFill>
                <a:latin typeface="Consolas" panose="020B0609020204030204" pitchFamily="49" charset="0"/>
              </a:rPr>
              <a:t>SWITCH</a:t>
            </a:r>
            <a:r>
              <a:rPr lang="en-US" sz="1600">
                <a:latin typeface="Consolas" panose="020B0609020204030204" pitchFamily="49" charset="0"/>
              </a:rPr>
              <a:t> </a:t>
            </a:r>
            <a:r>
              <a:rPr lang="en-US" sz="1600">
                <a:solidFill>
                  <a:srgbClr val="0A1FE4"/>
                </a:solidFill>
                <a:latin typeface="Consolas" panose="020B0609020204030204" pitchFamily="49" charset="0"/>
              </a:rPr>
              <a:t>PARTITION</a:t>
            </a:r>
            <a:r>
              <a:rPr lang="en-US" sz="1600">
                <a:latin typeface="Consolas" panose="020B0609020204030204" pitchFamily="49" charset="0"/>
              </a:rPr>
              <a:t> 2 TO NonPartitionTable ;</a:t>
            </a:r>
          </a:p>
          <a:p>
            <a:r>
              <a:rPr lang="en-US" sz="1600">
                <a:solidFill>
                  <a:schemeClr val="accent4"/>
                </a:solidFill>
                <a:latin typeface="Consolas" panose="020B0609020204030204" pitchFamily="49" charset="0"/>
              </a:rPr>
              <a:t>--SPLIT </a:t>
            </a:r>
          </a:p>
          <a:p>
            <a:r>
              <a:rPr lang="en-US" sz="1600">
                <a:solidFill>
                  <a:srgbClr val="0A1FE4"/>
                </a:solidFill>
                <a:latin typeface="Consolas" panose="020B0609020204030204" pitchFamily="49" charset="0"/>
              </a:rPr>
              <a:t>CREATE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int</a:t>
            </a:r>
            <a:r>
              <a:rPr lang="en-US" sz="1600">
                <a:latin typeface="Consolas" panose="020B0609020204030204" pitchFamily="49" charset="0"/>
              </a:rPr>
              <a:t>) </a:t>
            </a:r>
            <a:r>
              <a:rPr lang="en-US" sz="1600">
                <a:solidFill>
                  <a:srgbClr val="0A1FE4"/>
                </a:solidFill>
                <a:latin typeface="Consolas" panose="020B0609020204030204" pitchFamily="49" charset="0"/>
              </a:rPr>
              <a:t>AS RANGE LEFT FOR VALUES </a:t>
            </a:r>
            <a:r>
              <a:rPr lang="en-US" sz="1600">
                <a:latin typeface="Consolas" panose="020B0609020204030204" pitchFamily="49" charset="0"/>
              </a:rPr>
              <a:t>( 1, 100, 1000 ); </a:t>
            </a:r>
          </a:p>
          <a:p>
            <a:r>
              <a:rPr lang="en-US" sz="1600">
                <a:solidFill>
                  <a:srgbClr val="0A1FE4"/>
                </a:solidFill>
                <a:latin typeface="Consolas" panose="020B0609020204030204" pitchFamily="49" charset="0"/>
              </a:rPr>
              <a:t>ALTER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SPLIT</a:t>
            </a:r>
            <a:r>
              <a:rPr lang="en-US" sz="1600">
                <a:latin typeface="Consolas" panose="020B0609020204030204" pitchFamily="49" charset="0"/>
              </a:rPr>
              <a:t> </a:t>
            </a:r>
            <a:r>
              <a:rPr lang="en-US" sz="1600">
                <a:solidFill>
                  <a:srgbClr val="0A1FE4"/>
                </a:solidFill>
                <a:latin typeface="Consolas" panose="020B0609020204030204" pitchFamily="49" charset="0"/>
              </a:rPr>
              <a:t>RANGE</a:t>
            </a:r>
            <a:r>
              <a:rPr lang="en-US" sz="1600">
                <a:latin typeface="Consolas" panose="020B0609020204030204" pitchFamily="49" charset="0"/>
              </a:rPr>
              <a:t> (500); </a:t>
            </a:r>
          </a:p>
          <a:p>
            <a:r>
              <a:rPr lang="en-US" sz="1600">
                <a:solidFill>
                  <a:schemeClr val="accent4"/>
                </a:solidFill>
                <a:latin typeface="Consolas" panose="020B0609020204030204" pitchFamily="49" charset="0"/>
              </a:rPr>
              <a:t>--MERGE</a:t>
            </a:r>
          </a:p>
          <a:p>
            <a:r>
              <a:rPr lang="en-US" sz="1600">
                <a:solidFill>
                  <a:srgbClr val="0A1FE4"/>
                </a:solidFill>
                <a:latin typeface="Consolas" panose="020B0609020204030204" pitchFamily="49" charset="0"/>
              </a:rPr>
              <a:t>CREATE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int</a:t>
            </a:r>
            <a:r>
              <a:rPr lang="en-US" sz="1600">
                <a:latin typeface="Consolas" panose="020B0609020204030204" pitchFamily="49" charset="0"/>
              </a:rPr>
              <a:t>) </a:t>
            </a:r>
            <a:r>
              <a:rPr lang="en-US" sz="1600">
                <a:solidFill>
                  <a:srgbClr val="0A1FE4"/>
                </a:solidFill>
                <a:latin typeface="Consolas" panose="020B0609020204030204" pitchFamily="49" charset="0"/>
              </a:rPr>
              <a:t>AS RANGE LEFT FOR VALUES </a:t>
            </a:r>
            <a:r>
              <a:rPr lang="en-US" sz="1600">
                <a:latin typeface="Consolas" panose="020B0609020204030204" pitchFamily="49" charset="0"/>
              </a:rPr>
              <a:t>( 1, 100, 1000 ); </a:t>
            </a:r>
          </a:p>
          <a:p>
            <a:r>
              <a:rPr lang="en-US" sz="1600">
                <a:solidFill>
                  <a:srgbClr val="0A1FE4"/>
                </a:solidFill>
                <a:latin typeface="Consolas" panose="020B0609020204030204" pitchFamily="49" charset="0"/>
              </a:rPr>
              <a:t>ALTER PARTITION FUNCTION </a:t>
            </a:r>
            <a:r>
              <a:rPr lang="en-US" sz="1600">
                <a:latin typeface="Consolas" panose="020B0609020204030204" pitchFamily="49" charset="0"/>
              </a:rPr>
              <a:t>myRangePF1() </a:t>
            </a:r>
            <a:r>
              <a:rPr lang="en-US" sz="1600">
                <a:solidFill>
                  <a:srgbClr val="0A1FE4"/>
                </a:solidFill>
                <a:latin typeface="Consolas" panose="020B0609020204030204" pitchFamily="49" charset="0"/>
              </a:rPr>
              <a:t>MERGE RANGE </a:t>
            </a:r>
            <a:r>
              <a:rPr lang="en-US" sz="1600">
                <a:latin typeface="Consolas" panose="020B0609020204030204" pitchFamily="49" charset="0"/>
              </a:rPr>
              <a:t>(100); </a:t>
            </a:r>
          </a:p>
          <a:p>
            <a:endParaRPr lang="en-US" sz="180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0756601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Partitioning</a:t>
            </a:r>
          </a:p>
          <a:p>
            <a:r>
              <a:rPr lang="en-US"/>
              <a:t>Explore Partition Schemes and Function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SQL Server Partitioning</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Practicing with a sliding partition window </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1523160996"/>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75517470"/>
              </p:ext>
            </p:extLst>
          </p:nvPr>
        </p:nvGraphicFramePr>
        <p:xfrm>
          <a:off x="655638" y="1408114"/>
          <a:ext cx="10880725" cy="26443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079162" cy="604798"/>
          </a:xfrm>
        </p:spPr>
        <p:txBody>
          <a:bodyPr/>
          <a:lstStyle/>
          <a:p>
            <a:r>
              <a:rPr lang="en-US" dirty="0"/>
              <a:t>Lesson 4: Index Monitoring and Fragmentation</a:t>
            </a:r>
          </a:p>
        </p:txBody>
      </p:sp>
    </p:spTree>
    <p:extLst>
      <p:ext uri="{BB962C8B-B14F-4D97-AF65-F5344CB8AC3E}">
        <p14:creationId xmlns:p14="http://schemas.microsoft.com/office/powerpoint/2010/main" val="32650423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D23E433-69B8-4DF9-FA13-71888E60BDC3}"/>
              </a:ext>
            </a:extLst>
          </p:cNvPr>
          <p:cNvSpPr>
            <a:spLocks noGrp="1"/>
          </p:cNvSpPr>
          <p:nvPr>
            <p:ph type="title"/>
          </p:nvPr>
        </p:nvSpPr>
        <p:spPr/>
        <p:txBody>
          <a:bodyPr/>
          <a:lstStyle/>
          <a:p>
            <a:r>
              <a:rPr lang="en-US" dirty="0"/>
              <a:t>What is an Index?</a:t>
            </a:r>
          </a:p>
        </p:txBody>
      </p:sp>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115823110"/>
              </p:ext>
            </p:extLst>
          </p:nvPr>
        </p:nvGraphicFramePr>
        <p:xfrm>
          <a:off x="-142188" y="1499952"/>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See the source image">
            <a:extLst>
              <a:ext uri="{FF2B5EF4-FFF2-40B4-BE49-F238E27FC236}">
                <a16:creationId xmlns:a16="http://schemas.microsoft.com/office/drawing/2014/main" id="{8BA41D22-B8D8-6639-85D9-99600662513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11151" y="1550533"/>
            <a:ext cx="5725212" cy="452142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4704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Monitor index usage.</a:t>
            </a:r>
          </a:p>
          <a:p>
            <a:r>
              <a:rPr lang="en-US"/>
              <a:t>Describe page splits.</a:t>
            </a:r>
          </a:p>
          <a:p>
            <a:r>
              <a:rPr lang="en-US"/>
              <a:t>Understand problems caused by page splits.</a:t>
            </a:r>
          </a:p>
          <a:p>
            <a:r>
              <a:rPr lang="en-US"/>
              <a:t>Monitor index fragmentation and free space.</a:t>
            </a:r>
          </a:p>
          <a:p>
            <a:r>
              <a:rPr lang="en-US"/>
              <a:t>Review options to remove fragmentation and free spac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y to monitor Index usage</a:t>
            </a:r>
          </a:p>
        </p:txBody>
      </p:sp>
      <p:graphicFrame>
        <p:nvGraphicFramePr>
          <p:cNvPr id="7" name="Content Placeholder 6">
            <a:extLst>
              <a:ext uri="{FF2B5EF4-FFF2-40B4-BE49-F238E27FC236}">
                <a16:creationId xmlns:a16="http://schemas.microsoft.com/office/drawing/2014/main" id="{8E814E8D-720B-47C9-8A1F-4441C2B85411}"/>
              </a:ext>
            </a:extLst>
          </p:cNvPr>
          <p:cNvGraphicFramePr>
            <a:graphicFrameLocks noGrp="1"/>
          </p:cNvGraphicFramePr>
          <p:nvPr>
            <p:ph sz="quarter" idx="13"/>
            <p:extLst>
              <p:ext uri="{D42A27DB-BD31-4B8C-83A1-F6EECF244321}">
                <p14:modId xmlns:p14="http://schemas.microsoft.com/office/powerpoint/2010/main" val="3687406344"/>
              </p:ext>
            </p:extLst>
          </p:nvPr>
        </p:nvGraphicFramePr>
        <p:xfrm>
          <a:off x="655638" y="1408114"/>
          <a:ext cx="10880726" cy="46635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4295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lustered Index usage patterns</a:t>
            </a:r>
          </a:p>
        </p:txBody>
      </p:sp>
      <p:graphicFrame>
        <p:nvGraphicFramePr>
          <p:cNvPr id="10" name="Table 5">
            <a:extLst>
              <a:ext uri="{FF2B5EF4-FFF2-40B4-BE49-F238E27FC236}">
                <a16:creationId xmlns:a16="http://schemas.microsoft.com/office/drawing/2014/main" id="{7FC218A8-88B5-4B09-9039-98226F89CDF8}"/>
              </a:ext>
            </a:extLst>
          </p:cNvPr>
          <p:cNvGraphicFramePr>
            <a:graphicFrameLocks noGrp="1"/>
          </p:cNvGraphicFramePr>
          <p:nvPr>
            <p:ph sz="quarter" idx="13"/>
            <p:extLst>
              <p:ext uri="{D42A27DB-BD31-4B8C-83A1-F6EECF244321}">
                <p14:modId xmlns:p14="http://schemas.microsoft.com/office/powerpoint/2010/main" val="3294335331"/>
              </p:ext>
            </p:extLst>
          </p:nvPr>
        </p:nvGraphicFramePr>
        <p:xfrm>
          <a:off x="655638" y="1408113"/>
          <a:ext cx="10880724" cy="4443454"/>
        </p:xfrm>
        <a:graphic>
          <a:graphicData uri="http://schemas.openxmlformats.org/drawingml/2006/table">
            <a:tbl>
              <a:tblPr firstRow="1" bandRow="1">
                <a:tableStyleId>{21E4AEA4-8DFA-4A89-87EB-49C32662AFE0}</a:tableStyleId>
              </a:tblPr>
              <a:tblGrid>
                <a:gridCol w="4754562">
                  <a:extLst>
                    <a:ext uri="{9D8B030D-6E8A-4147-A177-3AD203B41FA5}">
                      <a16:colId xmlns:a16="http://schemas.microsoft.com/office/drawing/2014/main" val="3431258406"/>
                    </a:ext>
                  </a:extLst>
                </a:gridCol>
                <a:gridCol w="6126162">
                  <a:extLst>
                    <a:ext uri="{9D8B030D-6E8A-4147-A177-3AD203B41FA5}">
                      <a16:colId xmlns:a16="http://schemas.microsoft.com/office/drawing/2014/main" val="3006042379"/>
                    </a:ext>
                  </a:extLst>
                </a:gridCol>
              </a:tblGrid>
              <a:tr h="621257">
                <a:tc>
                  <a:txBody>
                    <a:bodyPr/>
                    <a:lstStyle/>
                    <a:p>
                      <a:r>
                        <a:rPr lang="en-US" sz="2400" dirty="0"/>
                        <a:t>Pattern</a:t>
                      </a:r>
                    </a:p>
                  </a:txBody>
                  <a:tcPr marL="93260" marR="93260" marT="46630" marB="46630"/>
                </a:tc>
                <a:tc>
                  <a:txBody>
                    <a:bodyPr/>
                    <a:lstStyle/>
                    <a:p>
                      <a:r>
                        <a:rPr lang="en-US" sz="2400"/>
                        <a:t>Interpretation</a:t>
                      </a:r>
                    </a:p>
                  </a:txBody>
                  <a:tcPr marL="93260" marR="93260" marT="46630" marB="46630"/>
                </a:tc>
                <a:extLst>
                  <a:ext uri="{0D108BD9-81ED-4DB2-BD59-A6C34878D82A}">
                    <a16:rowId xmlns:a16="http://schemas.microsoft.com/office/drawing/2014/main" val="2280401480"/>
                  </a:ext>
                </a:extLst>
              </a:tr>
              <a:tr h="1075357">
                <a:tc>
                  <a:txBody>
                    <a:bodyPr/>
                    <a:lstStyle/>
                    <a:p>
                      <a:pPr lvl="0"/>
                      <a:r>
                        <a:rPr lang="en-US" sz="2400"/>
                        <a:t>Seeks, but no scans</a:t>
                      </a:r>
                    </a:p>
                  </a:txBody>
                  <a:tcPr marL="93260" marR="93260" marT="46630" marB="46630"/>
                </a:tc>
                <a:tc>
                  <a:txBody>
                    <a:bodyPr/>
                    <a:lstStyle/>
                    <a:p>
                      <a:pPr marL="342900" indent="-342900">
                        <a:buFont typeface="Arial" panose="020B0604020202020204" pitchFamily="34" charset="0"/>
                        <a:buChar char="•"/>
                      </a:pPr>
                      <a:r>
                        <a:rPr lang="en-US" sz="2400" dirty="0"/>
                        <a:t>May not need maintenance.  Seeks are not impacted by fragmentation</a:t>
                      </a:r>
                    </a:p>
                  </a:txBody>
                  <a:tcPr marL="93260" marR="93260" marT="46630" marB="46630"/>
                </a:tc>
                <a:extLst>
                  <a:ext uri="{0D108BD9-81ED-4DB2-BD59-A6C34878D82A}">
                    <a16:rowId xmlns:a16="http://schemas.microsoft.com/office/drawing/2014/main" val="858754707"/>
                  </a:ext>
                </a:extLst>
              </a:tr>
              <a:tr h="153491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baseline="0"/>
                        <a:t>Clustered index with High number of scans</a:t>
                      </a:r>
                      <a:endParaRPr lang="en-US" sz="2400"/>
                    </a:p>
                  </a:txBody>
                  <a:tcPr marL="93260" marR="93260" marT="46630" marB="4663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Review missing index recommendation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Consider changing Clustering key.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Simplify queries with complex WHERE clauses</a:t>
                      </a:r>
                    </a:p>
                  </a:txBody>
                  <a:tcPr marL="93260" marR="93260" marT="46630" marB="46630"/>
                </a:tc>
                <a:extLst>
                  <a:ext uri="{0D108BD9-81ED-4DB2-BD59-A6C34878D82A}">
                    <a16:rowId xmlns:a16="http://schemas.microsoft.com/office/drawing/2014/main" val="2761090164"/>
                  </a:ext>
                </a:extLst>
              </a:tr>
              <a:tr h="1075357">
                <a:tc>
                  <a:txBody>
                    <a:bodyPr/>
                    <a:lstStyle/>
                    <a:p>
                      <a:r>
                        <a:rPr lang="en-US" sz="2400" baseline="0"/>
                        <a:t>Clustered index with Low number of seeks and high number of lookups  </a:t>
                      </a:r>
                      <a:endParaRPr lang="en-US" sz="2400"/>
                    </a:p>
                  </a:txBody>
                  <a:tcPr marL="93260" marR="93260" marT="46630" marB="46630"/>
                </a:tc>
                <a:tc>
                  <a:txBody>
                    <a:bodyPr/>
                    <a:lstStyle/>
                    <a:p>
                      <a:pPr marL="285750" indent="-285750">
                        <a:buFont typeface="Arial" panose="020B0604020202020204" pitchFamily="34" charset="0"/>
                        <a:buChar char="•"/>
                      </a:pPr>
                      <a:r>
                        <a:rPr lang="en-US" sz="2400" dirty="0"/>
                        <a:t>May need</a:t>
                      </a:r>
                      <a:r>
                        <a:rPr lang="en-US" sz="2400" baseline="0" dirty="0"/>
                        <a:t> to change Clustering Key</a:t>
                      </a:r>
                    </a:p>
                    <a:p>
                      <a:pPr marL="285750" indent="-285750">
                        <a:buFont typeface="Arial" panose="020B0604020202020204" pitchFamily="34" charset="0"/>
                        <a:buChar char="•"/>
                      </a:pPr>
                      <a:r>
                        <a:rPr lang="en-US" sz="2400" baseline="0" dirty="0">
                          <a:solidFill>
                            <a:schemeClr val="tx1"/>
                          </a:solidFill>
                        </a:rPr>
                        <a:t>Look how often bookmark lookups occur.</a:t>
                      </a:r>
                      <a:endParaRPr lang="en-US" sz="2400" dirty="0">
                        <a:solidFill>
                          <a:schemeClr val="tx1"/>
                        </a:solidFill>
                      </a:endParaRPr>
                    </a:p>
                  </a:txBody>
                  <a:tcPr marL="93260" marR="93260" marT="46630" marB="46630"/>
                </a:tc>
                <a:extLst>
                  <a:ext uri="{0D108BD9-81ED-4DB2-BD59-A6C34878D82A}">
                    <a16:rowId xmlns:a16="http://schemas.microsoft.com/office/drawing/2014/main" val="3610092313"/>
                  </a:ext>
                </a:extLst>
              </a:tr>
            </a:tbl>
          </a:graphicData>
        </a:graphic>
      </p:graphicFrame>
    </p:spTree>
    <p:extLst>
      <p:ext uri="{BB962C8B-B14F-4D97-AF65-F5344CB8AC3E}">
        <p14:creationId xmlns:p14="http://schemas.microsoft.com/office/powerpoint/2010/main" val="25085062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usage patterns</a:t>
            </a:r>
          </a:p>
        </p:txBody>
      </p:sp>
      <p:graphicFrame>
        <p:nvGraphicFramePr>
          <p:cNvPr id="5" name="Table 4">
            <a:extLst>
              <a:ext uri="{FF2B5EF4-FFF2-40B4-BE49-F238E27FC236}">
                <a16:creationId xmlns:a16="http://schemas.microsoft.com/office/drawing/2014/main" id="{D3FE1FB0-9FF4-44EA-99AB-92BAF660D1B8}"/>
              </a:ext>
            </a:extLst>
          </p:cNvPr>
          <p:cNvGraphicFramePr>
            <a:graphicFrameLocks noGrp="1"/>
          </p:cNvGraphicFramePr>
          <p:nvPr>
            <p:extLst>
              <p:ext uri="{D42A27DB-BD31-4B8C-83A1-F6EECF244321}">
                <p14:modId xmlns:p14="http://schemas.microsoft.com/office/powerpoint/2010/main" val="924053813"/>
              </p:ext>
            </p:extLst>
          </p:nvPr>
        </p:nvGraphicFramePr>
        <p:xfrm>
          <a:off x="655635" y="1482728"/>
          <a:ext cx="10880725" cy="4559195"/>
        </p:xfrm>
        <a:graphic>
          <a:graphicData uri="http://schemas.openxmlformats.org/drawingml/2006/table">
            <a:tbl>
              <a:tblPr firstRow="1" bandRow="1">
                <a:tableStyleId>{21E4AEA4-8DFA-4A89-87EB-49C32662AFE0}</a:tableStyleId>
              </a:tblPr>
              <a:tblGrid>
                <a:gridCol w="4983165">
                  <a:extLst>
                    <a:ext uri="{9D8B030D-6E8A-4147-A177-3AD203B41FA5}">
                      <a16:colId xmlns:a16="http://schemas.microsoft.com/office/drawing/2014/main" val="3752103025"/>
                    </a:ext>
                  </a:extLst>
                </a:gridCol>
                <a:gridCol w="5897560">
                  <a:extLst>
                    <a:ext uri="{9D8B030D-6E8A-4147-A177-3AD203B41FA5}">
                      <a16:colId xmlns:a16="http://schemas.microsoft.com/office/drawing/2014/main" val="1247980702"/>
                    </a:ext>
                  </a:extLst>
                </a:gridCol>
              </a:tblGrid>
              <a:tr h="553761">
                <a:tc>
                  <a:txBody>
                    <a:bodyPr/>
                    <a:lstStyle/>
                    <a:p>
                      <a:r>
                        <a:rPr lang="en-US" sz="2400"/>
                        <a:t>Pattern</a:t>
                      </a:r>
                    </a:p>
                  </a:txBody>
                  <a:tcPr marL="93260" marR="93260" marT="46630" marB="46630"/>
                </a:tc>
                <a:tc>
                  <a:txBody>
                    <a:bodyPr/>
                    <a:lstStyle/>
                    <a:p>
                      <a:r>
                        <a:rPr lang="en-US" sz="2400"/>
                        <a:t>Interpretation</a:t>
                      </a:r>
                    </a:p>
                  </a:txBody>
                  <a:tcPr marL="93260" marR="93260" marT="46630" marB="46630"/>
                </a:tc>
                <a:extLst>
                  <a:ext uri="{0D108BD9-81ED-4DB2-BD59-A6C34878D82A}">
                    <a16:rowId xmlns:a16="http://schemas.microsoft.com/office/drawing/2014/main" val="3668449087"/>
                  </a:ext>
                </a:extLst>
              </a:tr>
              <a:tr h="939817">
                <a:tc>
                  <a:txBody>
                    <a:bodyPr/>
                    <a:lstStyle/>
                    <a:p>
                      <a:pPr lvl="0"/>
                      <a:r>
                        <a:rPr lang="en-US" sz="2400"/>
                        <a:t>Seeks, but no scans</a:t>
                      </a:r>
                    </a:p>
                  </a:txBody>
                  <a:tcPr marL="93260" marR="93260" marT="46630" marB="46630"/>
                </a:tc>
                <a:tc>
                  <a:txBody>
                    <a:bodyPr/>
                    <a:lstStyle/>
                    <a:p>
                      <a:pPr marL="285750" indent="-285750">
                        <a:buFont typeface="Arial" panose="020B0604020202020204" pitchFamily="34" charset="0"/>
                        <a:buChar char="•"/>
                      </a:pPr>
                      <a:r>
                        <a:rPr lang="en-US" sz="2400"/>
                        <a:t>May not need maintenance.  </a:t>
                      </a:r>
                    </a:p>
                    <a:p>
                      <a:pPr marL="285750" indent="-285750">
                        <a:buFont typeface="Arial" panose="020B0604020202020204" pitchFamily="34" charset="0"/>
                        <a:buChar char="•"/>
                      </a:pPr>
                      <a:r>
                        <a:rPr lang="en-US" sz="2400"/>
                        <a:t>Seeks are not impacted by fragmentation</a:t>
                      </a:r>
                    </a:p>
                  </a:txBody>
                  <a:tcPr marL="93260" marR="93260" marT="46630" marB="46630"/>
                </a:tc>
                <a:extLst>
                  <a:ext uri="{0D108BD9-81ED-4DB2-BD59-A6C34878D82A}">
                    <a16:rowId xmlns:a16="http://schemas.microsoft.com/office/drawing/2014/main" val="4255939635"/>
                  </a:ext>
                </a:extLst>
              </a:tr>
              <a:tr h="1341453">
                <a:tc>
                  <a:txBody>
                    <a:bodyPr/>
                    <a:lstStyle/>
                    <a:p>
                      <a:pPr lvl="0"/>
                      <a:r>
                        <a:rPr lang="en-US" sz="2400" dirty="0"/>
                        <a:t>Non-Clustered index with High </a:t>
                      </a:r>
                      <a:r>
                        <a:rPr lang="en-US" sz="2400" baseline="0" dirty="0"/>
                        <a:t>number of </a:t>
                      </a:r>
                      <a:r>
                        <a:rPr lang="en-US" sz="2400" dirty="0"/>
                        <a:t>scans</a:t>
                      </a:r>
                    </a:p>
                  </a:txBody>
                  <a:tcPr marL="93260" marR="93260" marT="46630" marB="46630"/>
                </a:tc>
                <a:tc>
                  <a:txBody>
                    <a:bodyPr/>
                    <a:lstStyle/>
                    <a:p>
                      <a:pPr marL="285750" indent="-285750">
                        <a:buFont typeface="Arial" panose="020B0604020202020204" pitchFamily="34" charset="0"/>
                        <a:buChar char="•"/>
                      </a:pPr>
                      <a:r>
                        <a:rPr lang="en-US" sz="2400" baseline="0" dirty="0"/>
                        <a:t>Consider compression.  </a:t>
                      </a:r>
                    </a:p>
                    <a:p>
                      <a:pPr marL="285750" indent="-285750">
                        <a:buFont typeface="Arial" panose="020B0604020202020204" pitchFamily="34" charset="0"/>
                        <a:buChar char="•"/>
                      </a:pPr>
                      <a:r>
                        <a:rPr lang="en-US" sz="2400" baseline="0" dirty="0"/>
                        <a:t>Check for non-SARGable queries. </a:t>
                      </a:r>
                    </a:p>
                    <a:p>
                      <a:pPr marL="285750" indent="-285750">
                        <a:buFont typeface="Arial" panose="020B0604020202020204" pitchFamily="34" charset="0"/>
                        <a:buChar char="•"/>
                      </a:pPr>
                      <a:r>
                        <a:rPr lang="en-US" sz="2400" baseline="0" dirty="0"/>
                        <a:t>Review missing index recommendations</a:t>
                      </a:r>
                    </a:p>
                  </a:txBody>
                  <a:tcPr marL="93260" marR="93260" marT="46630" marB="46630"/>
                </a:tc>
                <a:extLst>
                  <a:ext uri="{0D108BD9-81ED-4DB2-BD59-A6C34878D82A}">
                    <a16:rowId xmlns:a16="http://schemas.microsoft.com/office/drawing/2014/main" val="279648954"/>
                  </a:ext>
                </a:extLst>
              </a:tr>
              <a:tr h="5537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a:t>Index with No/low usage</a:t>
                      </a:r>
                    </a:p>
                  </a:txBody>
                  <a:tcPr marL="93260" marR="93260" marT="46630" marB="46630"/>
                </a:tc>
                <a:tc>
                  <a:txBody>
                    <a:bodyPr/>
                    <a:lstStyle/>
                    <a:p>
                      <a:pPr marL="342900" indent="-342900">
                        <a:buFont typeface="Arial" panose="020B0604020202020204" pitchFamily="34" charset="0"/>
                        <a:buChar char="•"/>
                      </a:pPr>
                      <a:r>
                        <a:rPr lang="en-US" sz="2400"/>
                        <a:t>May be able to drop or disable</a:t>
                      </a:r>
                      <a:r>
                        <a:rPr lang="en-US" sz="2400" baseline="0"/>
                        <a:t> </a:t>
                      </a:r>
                      <a:r>
                        <a:rPr lang="en-US" sz="2400"/>
                        <a:t>index</a:t>
                      </a:r>
                    </a:p>
                  </a:txBody>
                  <a:tcPr marL="93260" marR="93260" marT="46630" marB="46630"/>
                </a:tc>
                <a:extLst>
                  <a:ext uri="{0D108BD9-81ED-4DB2-BD59-A6C34878D82A}">
                    <a16:rowId xmlns:a16="http://schemas.microsoft.com/office/drawing/2014/main" val="1529751204"/>
                  </a:ext>
                </a:extLst>
              </a:tr>
              <a:tr h="91968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dirty="0"/>
                        <a:t>Non-Clustered Index Used at specific times only</a:t>
                      </a:r>
                    </a:p>
                  </a:txBody>
                  <a:tcPr marL="93260" marR="93260" marT="46630" marB="46630"/>
                </a:tc>
                <a:tc>
                  <a:txBody>
                    <a:bodyPr/>
                    <a:lstStyle/>
                    <a:p>
                      <a:pPr marL="342900" indent="-342900">
                        <a:buFont typeface="Arial" panose="020B0604020202020204" pitchFamily="34" charset="0"/>
                        <a:buChar char="•"/>
                      </a:pPr>
                      <a:r>
                        <a:rPr lang="en-US" sz="2400" dirty="0"/>
                        <a:t>May be able to drop index,</a:t>
                      </a:r>
                      <a:r>
                        <a:rPr lang="en-US" sz="2400" baseline="0" dirty="0"/>
                        <a:t> recreate when needed</a:t>
                      </a:r>
                      <a:endParaRPr lang="en-US" sz="2400" dirty="0"/>
                    </a:p>
                  </a:txBody>
                  <a:tcPr marL="93260" marR="93260" marT="46630" marB="46630"/>
                </a:tc>
                <a:extLst>
                  <a:ext uri="{0D108BD9-81ED-4DB2-BD59-A6C34878D82A}">
                    <a16:rowId xmlns:a16="http://schemas.microsoft.com/office/drawing/2014/main" val="2521046871"/>
                  </a:ext>
                </a:extLst>
              </a:tr>
            </a:tbl>
          </a:graphicData>
        </a:graphic>
      </p:graphicFrame>
    </p:spTree>
    <p:extLst>
      <p:ext uri="{BB962C8B-B14F-4D97-AF65-F5344CB8AC3E}">
        <p14:creationId xmlns:p14="http://schemas.microsoft.com/office/powerpoint/2010/main" val="6689745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da-DK" dirty="0">
                <a:solidFill>
                  <a:srgbClr val="107C10"/>
                </a:solidFill>
              </a:rPr>
              <a:t>sys.dm_db_index_usage_stats</a:t>
            </a:r>
            <a:endParaRPr lang="en-US" dirty="0">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lvl="1"/>
            <a:r>
              <a:rPr lang="en-US" sz="2400" dirty="0"/>
              <a:t>Tracks seeks, scans, and lookups</a:t>
            </a:r>
          </a:p>
          <a:p>
            <a:pPr lvl="1"/>
            <a:r>
              <a:rPr lang="en-US" sz="2400" dirty="0"/>
              <a:t>Provides date of last access</a:t>
            </a:r>
          </a:p>
          <a:p>
            <a:pPr lvl="1"/>
            <a:r>
              <a:rPr lang="en-US" sz="2400" dirty="0"/>
              <a:t>Counters are incremented once per query execution</a:t>
            </a:r>
          </a:p>
          <a:p>
            <a:pPr lvl="1"/>
            <a:r>
              <a:rPr lang="en-US" sz="2400" dirty="0"/>
              <a:t>User and system access (such as index rebuilds) are tallied </a:t>
            </a:r>
            <a:r>
              <a:rPr lang="en-US" sz="2400" dirty="0">
                <a:cs typeface="Segoe UI" panose="020B0502040204020203" pitchFamily="34" charset="0"/>
              </a:rPr>
              <a:t>separately</a:t>
            </a:r>
          </a:p>
          <a:p>
            <a:pPr lvl="1"/>
            <a:r>
              <a:rPr lang="en-US" sz="2400" dirty="0"/>
              <a:t>Counters are initialized to at SQL Server (MSSQLSERVER) service is restarts</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638896"/>
            <a:ext cx="10880725" cy="2899064"/>
          </a:xfrm>
          <a:prstGeom prst="rect">
            <a:avLst/>
          </a:prstGeom>
          <a:ln>
            <a:solidFill>
              <a:schemeClr val="accent1"/>
            </a:solidFill>
          </a:ln>
          <a:effectLst/>
        </p:spPr>
        <p:txBody>
          <a:bodyPr wrap="square">
            <a:noAutofit/>
          </a:bodyPr>
          <a:lstStyle/>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35DE"/>
                </a:solidFill>
                <a:latin typeface="Consolas" panose="020B0609020204030204" pitchFamily="49" charset="0"/>
              </a:rPr>
              <a:t>Distinct</a:t>
            </a:r>
            <a:r>
              <a:rPr lang="en-US" sz="1400" dirty="0">
                <a:latin typeface="Consolas" panose="020B0609020204030204" pitchFamily="49" charset="0"/>
              </a:rPr>
              <a:t> </a:t>
            </a:r>
            <a:r>
              <a:rPr lang="en-US" sz="1400" dirty="0">
                <a:solidFill>
                  <a:srgbClr val="9201FF"/>
                </a:solidFill>
                <a:latin typeface="Consolas" panose="020B0609020204030204" pitchFamily="49" charset="0"/>
              </a:rPr>
              <a:t>OBJECT_NAME</a:t>
            </a:r>
            <a:r>
              <a:rPr lang="en-US" sz="1400" dirty="0">
                <a:latin typeface="Consolas" panose="020B0609020204030204" pitchFamily="49" charset="0"/>
              </a:rPr>
              <a:t>(</a:t>
            </a:r>
            <a:r>
              <a:rPr lang="en-US" sz="1400" dirty="0" err="1">
                <a:latin typeface="Consolas" panose="020B0609020204030204" pitchFamily="49" charset="0"/>
              </a:rPr>
              <a:t>Indx.</a:t>
            </a:r>
            <a:r>
              <a:rPr lang="en-US" sz="1400" dirty="0" err="1">
                <a:solidFill>
                  <a:srgbClr val="9201FF"/>
                </a:solidFill>
                <a:latin typeface="Consolas" panose="020B0609020204030204" pitchFamily="49" charset="0"/>
              </a:rPr>
              <a:t>OBJECT_ID</a:t>
            </a:r>
            <a:r>
              <a:rPr lang="en-US" sz="1400" dirty="0">
                <a:latin typeface="Consolas" panose="020B0609020204030204" pitchFamily="49" charset="0"/>
              </a:rPr>
              <a:t>) </a:t>
            </a:r>
            <a:r>
              <a:rPr lang="en-US" sz="1400" dirty="0" err="1">
                <a:latin typeface="Consolas" panose="020B0609020204030204" pitchFamily="49" charset="0"/>
              </a:rPr>
              <a:t>Table_Name</a:t>
            </a:r>
            <a:r>
              <a:rPr lang="en-US" sz="1400" dirty="0">
                <a:latin typeface="Consolas" panose="020B0609020204030204" pitchFamily="49" charset="0"/>
              </a:rPr>
              <a:t>  ,Indx.</a:t>
            </a:r>
            <a:r>
              <a:rPr lang="en-US" sz="1400" dirty="0">
                <a:solidFill>
                  <a:srgbClr val="0A1FE4"/>
                </a:solidFill>
                <a:latin typeface="Consolas" panose="020B0609020204030204" pitchFamily="49" charset="0"/>
              </a:rPr>
              <a:t>name</a:t>
            </a:r>
            <a:r>
              <a:rPr lang="en-US" sz="1400" dirty="0">
                <a:latin typeface="Consolas" panose="020B0609020204030204" pitchFamily="49" charset="0"/>
              </a:rPr>
              <a:t>  </a:t>
            </a:r>
            <a:r>
              <a:rPr lang="en-US" sz="1400" dirty="0" err="1">
                <a:latin typeface="Consolas" panose="020B0609020204030204" pitchFamily="49" charset="0"/>
              </a:rPr>
              <a:t>IndexName</a:t>
            </a:r>
            <a:r>
              <a:rPr lang="en-US" sz="1400" dirty="0">
                <a:latin typeface="Consolas" panose="020B0609020204030204" pitchFamily="49" charset="0"/>
              </a:rPr>
              <a:t>  </a:t>
            </a:r>
          </a:p>
          <a:p>
            <a:r>
              <a:rPr lang="en-US" sz="1400" dirty="0">
                <a:latin typeface="Consolas" panose="020B0609020204030204" pitchFamily="49" charset="0"/>
              </a:rPr>
              <a:t>	,</a:t>
            </a:r>
            <a:r>
              <a:rPr lang="en-US" sz="1400" dirty="0" err="1">
                <a:latin typeface="Consolas" panose="020B0609020204030204" pitchFamily="49" charset="0"/>
              </a:rPr>
              <a:t>Indx.</a:t>
            </a:r>
            <a:r>
              <a:rPr lang="en-US" sz="1400" dirty="0" err="1">
                <a:solidFill>
                  <a:srgbClr val="0A1FE4"/>
                </a:solidFill>
                <a:latin typeface="Consolas" panose="020B0609020204030204" pitchFamily="49" charset="0"/>
              </a:rPr>
              <a:t>type_desc</a:t>
            </a:r>
            <a:r>
              <a:rPr lang="en-US" sz="1400" dirty="0">
                <a:solidFill>
                  <a:srgbClr val="0A1FE4"/>
                </a:solidFill>
                <a:latin typeface="Consolas" panose="020B0609020204030204" pitchFamily="49" charset="0"/>
              </a:rPr>
              <a:t> </a:t>
            </a:r>
            <a:r>
              <a:rPr lang="en-US" sz="1400" dirty="0" err="1">
                <a:latin typeface="Consolas" panose="020B0609020204030204" pitchFamily="49" charset="0"/>
              </a:rPr>
              <a:t>IndexType,Iusg.user_seeks</a:t>
            </a:r>
            <a:r>
              <a:rPr lang="en-US" sz="1400" dirty="0">
                <a:latin typeface="Consolas" panose="020B0609020204030204" pitchFamily="49" charset="0"/>
              </a:rPr>
              <a:t>  </a:t>
            </a:r>
            <a:r>
              <a:rPr lang="en-US" sz="1400" dirty="0" err="1">
                <a:latin typeface="Consolas" panose="020B0609020204030204" pitchFamily="49" charset="0"/>
              </a:rPr>
              <a:t>Seeks,Iusg.user_scans</a:t>
            </a:r>
            <a:r>
              <a:rPr lang="en-US" sz="1400" dirty="0">
                <a:latin typeface="Consolas" panose="020B0609020204030204" pitchFamily="49" charset="0"/>
              </a:rPr>
              <a:t>  Scans </a:t>
            </a:r>
          </a:p>
          <a:p>
            <a:r>
              <a:rPr lang="en-US" sz="1400" dirty="0">
                <a:latin typeface="Consolas" panose="020B0609020204030204" pitchFamily="49" charset="0"/>
              </a:rPr>
              <a:t>	,</a:t>
            </a:r>
            <a:r>
              <a:rPr lang="en-US" sz="1400" dirty="0" err="1">
                <a:latin typeface="Consolas" panose="020B0609020204030204" pitchFamily="49" charset="0"/>
              </a:rPr>
              <a:t>Iusg.user_lookups</a:t>
            </a:r>
            <a:r>
              <a:rPr lang="en-US" sz="1400" dirty="0">
                <a:latin typeface="Consolas" panose="020B0609020204030204" pitchFamily="49" charset="0"/>
              </a:rPr>
              <a:t>  Lookups ,</a:t>
            </a:r>
            <a:r>
              <a:rPr lang="en-US" sz="1400" dirty="0" err="1">
                <a:latin typeface="Consolas" panose="020B0609020204030204" pitchFamily="49" charset="0"/>
              </a:rPr>
              <a:t>Iusg.user_updates</a:t>
            </a:r>
            <a:r>
              <a:rPr lang="en-US" sz="1400" dirty="0">
                <a:latin typeface="Consolas" panose="020B0609020204030204" pitchFamily="49" charset="0"/>
              </a:rPr>
              <a:t> Updates ,</a:t>
            </a:r>
            <a:r>
              <a:rPr lang="en-US" sz="1400" dirty="0" err="1">
                <a:latin typeface="Consolas" panose="020B0609020204030204" pitchFamily="49" charset="0"/>
              </a:rPr>
              <a:t>Iusg.last_user_seek</a:t>
            </a:r>
            <a:r>
              <a:rPr lang="en-US" sz="1400" dirty="0">
                <a:latin typeface="Consolas" panose="020B0609020204030204" pitchFamily="49" charset="0"/>
              </a:rPr>
              <a:t> </a:t>
            </a:r>
            <a:r>
              <a:rPr lang="en-US" sz="1400" dirty="0" err="1">
                <a:latin typeface="Consolas" panose="020B0609020204030204" pitchFamily="49" charset="0"/>
              </a:rPr>
              <a:t>LastSeek</a:t>
            </a:r>
            <a:endParaRPr lang="en-US" sz="1400" dirty="0">
              <a:latin typeface="Consolas" panose="020B0609020204030204" pitchFamily="49" charset="0"/>
            </a:endParaRPr>
          </a:p>
          <a:p>
            <a:r>
              <a:rPr lang="en-US" sz="1400" dirty="0">
                <a:latin typeface="Consolas" panose="020B0609020204030204" pitchFamily="49" charset="0"/>
              </a:rPr>
              <a:t>	,</a:t>
            </a:r>
            <a:r>
              <a:rPr lang="en-US" sz="1400" dirty="0" err="1">
                <a:latin typeface="Consolas" panose="020B0609020204030204" pitchFamily="49" charset="0"/>
              </a:rPr>
              <a:t>Iusg.last_user_scan</a:t>
            </a:r>
            <a:r>
              <a:rPr lang="en-US" sz="1400" dirty="0">
                <a:latin typeface="Consolas" panose="020B0609020204030204" pitchFamily="49" charset="0"/>
              </a:rPr>
              <a:t> </a:t>
            </a:r>
            <a:r>
              <a:rPr lang="en-US" sz="1400" dirty="0" err="1">
                <a:latin typeface="Consolas" panose="020B0609020204030204" pitchFamily="49" charset="0"/>
              </a:rPr>
              <a:t>LastScan,Iusg.last_user_lookup</a:t>
            </a:r>
            <a:r>
              <a:rPr lang="en-US" sz="1400" dirty="0">
                <a:latin typeface="Consolas" panose="020B0609020204030204" pitchFamily="49" charset="0"/>
              </a:rPr>
              <a:t> </a:t>
            </a:r>
            <a:r>
              <a:rPr lang="en-US" sz="1400" dirty="0" err="1">
                <a:latin typeface="Consolas" panose="020B0609020204030204" pitchFamily="49" charset="0"/>
              </a:rPr>
              <a:t>LastLookup</a:t>
            </a:r>
            <a:r>
              <a:rPr lang="en-US" sz="1400" dirty="0">
                <a:latin typeface="Consolas" panose="020B0609020204030204" pitchFamily="49" charset="0"/>
              </a:rPr>
              <a:t> ,</a:t>
            </a:r>
            <a:r>
              <a:rPr lang="en-US" sz="1400" dirty="0" err="1">
                <a:latin typeface="Consolas" panose="020B0609020204030204" pitchFamily="49" charset="0"/>
              </a:rPr>
              <a:t>Iusg.last_user_update</a:t>
            </a:r>
            <a:r>
              <a:rPr lang="en-US" sz="1400" dirty="0">
                <a:latin typeface="Consolas" panose="020B0609020204030204" pitchFamily="49" charset="0"/>
              </a:rPr>
              <a:t> </a:t>
            </a:r>
            <a:r>
              <a:rPr lang="en-US" sz="1400" dirty="0" err="1">
                <a:latin typeface="Consolas" panose="020B0609020204030204" pitchFamily="49" charset="0"/>
              </a:rPr>
              <a:t>LastUpdate</a:t>
            </a:r>
            <a:endParaRPr lang="en-US" sz="1400" dirty="0">
              <a:latin typeface="Consolas" panose="020B0609020204030204" pitchFamily="49" charset="0"/>
            </a:endParaRPr>
          </a:p>
          <a:p>
            <a:r>
              <a:rPr lang="en-US" sz="1400" dirty="0">
                <a:solidFill>
                  <a:srgbClr val="0035DE"/>
                </a:solidFill>
                <a:latin typeface="Consolas" panose="020B0609020204030204" pitchFamily="49" charset="0"/>
              </a:rPr>
              <a:t>FROM</a:t>
            </a:r>
            <a:r>
              <a:rPr lang="en-US" sz="1400" dirty="0">
                <a:latin typeface="Consolas" panose="020B0609020204030204" pitchFamily="49" charset="0"/>
              </a:rPr>
              <a:t> </a:t>
            </a:r>
          </a:p>
          <a:p>
            <a:r>
              <a:rPr lang="en-US" sz="1400" dirty="0">
                <a:solidFill>
                  <a:schemeClr val="accent4"/>
                </a:solidFill>
                <a:latin typeface="Consolas" panose="020B0609020204030204" pitchFamily="49" charset="0"/>
              </a:rPr>
              <a:t>	SYS.INDEXES </a:t>
            </a:r>
            <a:r>
              <a:rPr lang="en-US" sz="1400" dirty="0" err="1">
                <a:latin typeface="Consolas" panose="020B0609020204030204" pitchFamily="49" charset="0"/>
              </a:rPr>
              <a:t>Indx</a:t>
            </a:r>
            <a:endParaRPr lang="en-US" sz="1400" dirty="0">
              <a:latin typeface="Consolas" panose="020B0609020204030204" pitchFamily="49" charset="0"/>
            </a:endParaRPr>
          </a:p>
          <a:p>
            <a:r>
              <a:rPr lang="en-US" sz="1400" dirty="0">
                <a:solidFill>
                  <a:schemeClr val="bg1">
                    <a:lumMod val="50000"/>
                  </a:schemeClr>
                </a:solidFill>
                <a:latin typeface="Consolas" panose="020B0609020204030204" pitchFamily="49" charset="0"/>
              </a:rPr>
              <a:t>	INNER JOIN </a:t>
            </a:r>
            <a:r>
              <a:rPr lang="en-US" sz="1400" dirty="0">
                <a:solidFill>
                  <a:schemeClr val="accent4"/>
                </a:solidFill>
                <a:latin typeface="Consolas" panose="020B0609020204030204" pitchFamily="49" charset="0"/>
              </a:rPr>
              <a:t>SYS.DM_DB_INDEX_USAGE_STATS </a:t>
            </a:r>
            <a:r>
              <a:rPr lang="en-US" sz="1400" dirty="0" err="1">
                <a:latin typeface="Consolas" panose="020B0609020204030204" pitchFamily="49" charset="0"/>
              </a:rPr>
              <a:t>Iusg</a:t>
            </a:r>
            <a:r>
              <a:rPr lang="en-US" sz="1400" dirty="0">
                <a:latin typeface="Consolas" panose="020B0609020204030204" pitchFamily="49" charset="0"/>
              </a:rPr>
              <a:t> </a:t>
            </a:r>
          </a:p>
          <a:p>
            <a:r>
              <a:rPr lang="en-US" sz="1400" dirty="0">
                <a:solidFill>
                  <a:srgbClr val="0A1FE4"/>
                </a:solidFill>
                <a:latin typeface="Consolas" panose="020B0609020204030204" pitchFamily="49" charset="0"/>
              </a:rPr>
              <a:t>		ON</a:t>
            </a:r>
            <a:r>
              <a:rPr lang="en-US" sz="1400" dirty="0">
                <a:latin typeface="Consolas" panose="020B0609020204030204" pitchFamily="49" charset="0"/>
              </a:rPr>
              <a:t> </a:t>
            </a:r>
            <a:r>
              <a:rPr lang="en-US" sz="1400" dirty="0" err="1">
                <a:latin typeface="Consolas" panose="020B0609020204030204" pitchFamily="49" charset="0"/>
              </a:rPr>
              <a:t>Iusg.index_id</a:t>
            </a:r>
            <a:r>
              <a:rPr lang="en-US" sz="1400" dirty="0">
                <a:latin typeface="Consolas" panose="020B0609020204030204" pitchFamily="49" charset="0"/>
              </a:rPr>
              <a:t> = </a:t>
            </a:r>
            <a:r>
              <a:rPr lang="en-US" sz="1400" dirty="0" err="1">
                <a:latin typeface="Consolas" panose="020B0609020204030204" pitchFamily="49" charset="0"/>
              </a:rPr>
              <a:t>Indx.index_id</a:t>
            </a:r>
            <a:r>
              <a:rPr lang="en-US" sz="1400" dirty="0">
                <a:latin typeface="Consolas" panose="020B0609020204030204" pitchFamily="49" charset="0"/>
              </a:rPr>
              <a:t> </a:t>
            </a:r>
            <a:r>
              <a:rPr lang="en-US" sz="1400" dirty="0">
                <a:solidFill>
                  <a:schemeClr val="bg1">
                    <a:lumMod val="50000"/>
                  </a:schemeClr>
                </a:solidFill>
                <a:latin typeface="Consolas" panose="020B0609020204030204" pitchFamily="49" charset="0"/>
              </a:rPr>
              <a:t>AND</a:t>
            </a:r>
            <a:r>
              <a:rPr lang="en-US" sz="1400" dirty="0">
                <a:latin typeface="Consolas" panose="020B0609020204030204" pitchFamily="49" charset="0"/>
              </a:rPr>
              <a:t> </a:t>
            </a:r>
            <a:r>
              <a:rPr lang="en-US" sz="1400" dirty="0" err="1">
                <a:latin typeface="Consolas" panose="020B0609020204030204" pitchFamily="49" charset="0"/>
              </a:rPr>
              <a:t>Iusg.</a:t>
            </a:r>
            <a:r>
              <a:rPr lang="en-US" sz="1400" dirty="0" err="1">
                <a:solidFill>
                  <a:srgbClr val="9201FF"/>
                </a:solidFill>
                <a:latin typeface="Consolas" panose="020B0609020204030204" pitchFamily="49" charset="0"/>
              </a:rPr>
              <a:t>OBJECT_ID</a:t>
            </a:r>
            <a:r>
              <a:rPr lang="en-US" sz="1400" dirty="0">
                <a:solidFill>
                  <a:srgbClr val="9201FF"/>
                </a:solidFill>
                <a:latin typeface="Consolas" panose="020B0609020204030204" pitchFamily="49" charset="0"/>
              </a:rPr>
              <a:t> </a:t>
            </a:r>
            <a:r>
              <a:rPr lang="en-US" sz="1400" dirty="0">
                <a:latin typeface="Consolas" panose="020B0609020204030204" pitchFamily="49" charset="0"/>
              </a:rPr>
              <a:t>= </a:t>
            </a:r>
            <a:r>
              <a:rPr lang="en-US" sz="1400" dirty="0" err="1">
                <a:latin typeface="Consolas" panose="020B0609020204030204" pitchFamily="49" charset="0"/>
              </a:rPr>
              <a:t>Indx.</a:t>
            </a:r>
            <a:r>
              <a:rPr lang="en-US" sz="1400" dirty="0" err="1">
                <a:solidFill>
                  <a:srgbClr val="9201FF"/>
                </a:solidFill>
                <a:latin typeface="Consolas" panose="020B0609020204030204" pitchFamily="49" charset="0"/>
              </a:rPr>
              <a:t>OBJECT_ID</a:t>
            </a:r>
            <a:endParaRPr lang="en-US" sz="1400" dirty="0">
              <a:solidFill>
                <a:srgbClr val="9201FF"/>
              </a:solidFill>
              <a:latin typeface="Consolas" panose="020B0609020204030204" pitchFamily="49" charset="0"/>
            </a:endParaRPr>
          </a:p>
          <a:p>
            <a:r>
              <a:rPr lang="en-US" sz="1400" dirty="0">
                <a:solidFill>
                  <a:schemeClr val="bg1">
                    <a:lumMod val="50000"/>
                  </a:schemeClr>
                </a:solidFill>
                <a:latin typeface="Consolas" panose="020B0609020204030204" pitchFamily="49" charset="0"/>
              </a:rPr>
              <a:t>	INNER JOIN </a:t>
            </a:r>
            <a:r>
              <a:rPr lang="en-US" sz="1400" dirty="0">
                <a:solidFill>
                  <a:schemeClr val="accent4"/>
                </a:solidFill>
                <a:latin typeface="Consolas" panose="020B0609020204030204" pitchFamily="49" charset="0"/>
              </a:rPr>
              <a:t>SYS.DM_DB_PARTITION_STATS </a:t>
            </a:r>
            <a:r>
              <a:rPr lang="en-US" sz="1400" dirty="0" err="1">
                <a:latin typeface="Consolas" panose="020B0609020204030204" pitchFamily="49" charset="0"/>
              </a:rPr>
              <a:t>PrtSts</a:t>
            </a:r>
            <a:r>
              <a:rPr lang="en-US" sz="1400" dirty="0">
                <a:latin typeface="Consolas" panose="020B0609020204030204" pitchFamily="49" charset="0"/>
              </a:rPr>
              <a:t> </a:t>
            </a:r>
          </a:p>
          <a:p>
            <a:r>
              <a:rPr lang="en-US" sz="1400" dirty="0">
                <a:solidFill>
                  <a:srgbClr val="0A1FE4"/>
                </a:solidFill>
                <a:latin typeface="Consolas" panose="020B0609020204030204" pitchFamily="49" charset="0"/>
              </a:rPr>
              <a:t>		ON</a:t>
            </a:r>
            <a:r>
              <a:rPr lang="en-US" sz="1400" dirty="0">
                <a:latin typeface="Consolas" panose="020B0609020204030204" pitchFamily="49" charset="0"/>
              </a:rPr>
              <a:t> </a:t>
            </a:r>
            <a:r>
              <a:rPr lang="en-US" sz="1400" dirty="0" err="1">
                <a:latin typeface="Consolas" panose="020B0609020204030204" pitchFamily="49" charset="0"/>
              </a:rPr>
              <a:t>PrtSts.object_id</a:t>
            </a:r>
            <a:r>
              <a:rPr lang="en-US" sz="1400" dirty="0">
                <a:latin typeface="Consolas" panose="020B0609020204030204" pitchFamily="49" charset="0"/>
              </a:rPr>
              <a:t>=</a:t>
            </a:r>
            <a:r>
              <a:rPr lang="en-US" sz="1400" dirty="0" err="1">
                <a:latin typeface="Consolas" panose="020B0609020204030204" pitchFamily="49" charset="0"/>
              </a:rPr>
              <a:t>Indx.object_id</a:t>
            </a:r>
            <a:endParaRPr lang="en-US" sz="1400" dirty="0">
              <a:latin typeface="Consolas" panose="020B0609020204030204" pitchFamily="49" charset="0"/>
            </a:endParaRPr>
          </a:p>
          <a:p>
            <a:r>
              <a:rPr lang="en-US" sz="1400" dirty="0">
                <a:solidFill>
                  <a:srgbClr val="0A1FE4"/>
                </a:solidFill>
                <a:latin typeface="Consolas" panose="020B0609020204030204" pitchFamily="49" charset="0"/>
              </a:rPr>
              <a:t>WHERE</a:t>
            </a:r>
            <a:r>
              <a:rPr lang="en-US" sz="1400" dirty="0">
                <a:latin typeface="Consolas" panose="020B0609020204030204" pitchFamily="49" charset="0"/>
              </a:rPr>
              <a:t> </a:t>
            </a:r>
          </a:p>
          <a:p>
            <a:r>
              <a:rPr lang="en-US" sz="1400" dirty="0">
                <a:solidFill>
                  <a:srgbClr val="9201FF"/>
                </a:solidFill>
                <a:latin typeface="Consolas" panose="020B0609020204030204" pitchFamily="49" charset="0"/>
              </a:rPr>
              <a:t>	OBJECTPROPERTY</a:t>
            </a:r>
            <a:r>
              <a:rPr lang="en-US" sz="1400" dirty="0">
                <a:latin typeface="Consolas" panose="020B0609020204030204" pitchFamily="49" charset="0"/>
              </a:rPr>
              <a:t>(Indx.</a:t>
            </a:r>
            <a:r>
              <a:rPr lang="en-US" sz="1400" dirty="0">
                <a:solidFill>
                  <a:srgbClr val="9201FF"/>
                </a:solidFill>
                <a:latin typeface="Consolas" panose="020B0609020204030204" pitchFamily="49" charset="0"/>
              </a:rPr>
              <a:t>OBJECT_ID</a:t>
            </a:r>
            <a:r>
              <a:rPr lang="en-US" sz="1400" dirty="0">
                <a:latin typeface="Consolas" panose="020B0609020204030204" pitchFamily="49" charset="0"/>
              </a:rPr>
              <a:t>,'</a:t>
            </a:r>
            <a:r>
              <a:rPr lang="en-US" sz="1400" dirty="0" err="1">
                <a:latin typeface="Consolas" panose="020B0609020204030204" pitchFamily="49" charset="0"/>
              </a:rPr>
              <a:t>IsUserTable</a:t>
            </a:r>
            <a:r>
              <a:rPr lang="en-US" sz="1400" dirty="0">
                <a:latin typeface="Consolas" panose="020B0609020204030204" pitchFamily="49" charset="0"/>
              </a:rPr>
              <a:t>') = 1</a:t>
            </a:r>
            <a:endParaRPr lang="en-US" sz="1400" dirty="0">
              <a:solidFill>
                <a:prstClr val="black"/>
              </a:solidFill>
              <a:latin typeface="Consolas" panose="020B0609020204030204" pitchFamily="49" charset="0"/>
            </a:endParaRPr>
          </a:p>
        </p:txBody>
      </p:sp>
    </p:spTree>
    <p:extLst>
      <p:ext uri="{BB962C8B-B14F-4D97-AF65-F5344CB8AC3E}">
        <p14:creationId xmlns:p14="http://schemas.microsoft.com/office/powerpoint/2010/main" val="24719884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b="1">
                <a:solidFill>
                  <a:srgbClr val="107C10"/>
                </a:solidFill>
              </a:rPr>
              <a:t>sys.dm_db_index_operational_stats </a:t>
            </a:r>
            <a:endParaRPr lang="en-US">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63502"/>
          </a:xfrm>
        </p:spPr>
        <p:txBody>
          <a:bodyPr/>
          <a:lstStyle/>
          <a:p>
            <a:r>
              <a:rPr lang="en-US" dirty="0"/>
              <a:t>Returns information about the lower-level I/O activities</a:t>
            </a:r>
          </a:p>
          <a:p>
            <a:r>
              <a:rPr lang="en-US" dirty="0"/>
              <a:t>Takes </a:t>
            </a:r>
            <a:r>
              <a:rPr lang="en-US" dirty="0" err="1"/>
              <a:t>database_id</a:t>
            </a:r>
            <a:r>
              <a:rPr lang="en-US" dirty="0"/>
              <a:t>, the </a:t>
            </a:r>
            <a:r>
              <a:rPr lang="en-US" dirty="0" err="1"/>
              <a:t>object_id</a:t>
            </a:r>
            <a:r>
              <a:rPr lang="en-US" dirty="0"/>
              <a:t>, the </a:t>
            </a:r>
            <a:r>
              <a:rPr lang="en-US" dirty="0" err="1"/>
              <a:t>index_id</a:t>
            </a:r>
            <a:r>
              <a:rPr lang="en-US" dirty="0"/>
              <a:t> and the </a:t>
            </a:r>
            <a:r>
              <a:rPr lang="en-US" dirty="0" err="1"/>
              <a:t>partition_number</a:t>
            </a:r>
            <a:r>
              <a:rPr lang="en-US" dirty="0"/>
              <a:t> as parameters </a:t>
            </a:r>
          </a:p>
          <a:p>
            <a:r>
              <a:rPr lang="en-US" dirty="0"/>
              <a:t>Memory-optimized indexes do not appear in this DMV</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429000"/>
            <a:ext cx="10880725" cy="2642616"/>
          </a:xfrm>
          <a:prstGeom prst="rect">
            <a:avLst/>
          </a:prstGeom>
          <a:ln>
            <a:solidFill>
              <a:schemeClr val="accent1"/>
            </a:solidFill>
          </a:ln>
          <a:effectLst/>
        </p:spPr>
        <p:txBody>
          <a:bodyPr wrap="square">
            <a:no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latin typeface="Consolas" panose="020B0609020204030204" pitchFamily="49" charset="0"/>
              </a:rPr>
              <a:t>*</a:t>
            </a:r>
          </a:p>
          <a:p>
            <a:r>
              <a:rPr lang="en-US">
                <a:solidFill>
                  <a:srgbClr val="0000FF"/>
                </a:solidFill>
                <a:latin typeface="Consolas" panose="020B0609020204030204" pitchFamily="49" charset="0"/>
              </a:rPr>
              <a:t>FROM </a:t>
            </a:r>
            <a:r>
              <a:rPr lang="en-US">
                <a:latin typeface="Consolas" panose="020B0609020204030204" pitchFamily="49" charset="0"/>
              </a:rPr>
              <a:t>  </a:t>
            </a:r>
          </a:p>
          <a:p>
            <a:r>
              <a:rPr lang="en-US">
                <a:solidFill>
                  <a:schemeClr val="accent4"/>
                </a:solidFill>
                <a:latin typeface="Consolas" panose="020B0609020204030204" pitchFamily="49" charset="0"/>
              </a:rPr>
              <a:t>	SYS.DM_DB_INDEX_OPERATIONAL_STATS </a:t>
            </a:r>
            <a:r>
              <a:rPr lang="en-US">
                <a:latin typeface="Consolas" panose="020B0609020204030204" pitchFamily="49" charset="0"/>
              </a:rPr>
              <a:t>(NULL,NULL,NULL,NULL ) opsts</a:t>
            </a:r>
          </a:p>
          <a:p>
            <a:r>
              <a:rPr lang="en-US">
                <a:solidFill>
                  <a:schemeClr val="bg1">
                    <a:lumMod val="50000"/>
                  </a:schemeClr>
                </a:solidFill>
                <a:latin typeface="Consolas" panose="020B0609020204030204" pitchFamily="49" charset="0"/>
              </a:rPr>
              <a:t>	INNER JOIN </a:t>
            </a:r>
            <a:r>
              <a:rPr lang="en-US">
                <a:latin typeface="Consolas" panose="020B0609020204030204" pitchFamily="49" charset="0"/>
              </a:rPr>
              <a:t>SYS.INDEXES AS Indx</a:t>
            </a:r>
          </a:p>
          <a:p>
            <a:r>
              <a:rPr lang="en-US">
                <a:solidFill>
                  <a:srgbClr val="0A1FE4"/>
                </a:solidFill>
                <a:latin typeface="Consolas" panose="020B0609020204030204" pitchFamily="49" charset="0"/>
              </a:rPr>
              <a:t>		ON</a:t>
            </a:r>
            <a:r>
              <a:rPr lang="en-US">
                <a:latin typeface="Consolas" panose="020B0609020204030204" pitchFamily="49" charset="0"/>
              </a:rPr>
              <a:t> Indx.[OBJECT_ID] = opsts.[OBJECT_ID] </a:t>
            </a:r>
          </a:p>
          <a:p>
            <a:r>
              <a:rPr lang="en-US">
                <a:solidFill>
                  <a:schemeClr val="bg1">
                    <a:lumMod val="50000"/>
                  </a:schemeClr>
                </a:solidFill>
                <a:latin typeface="Consolas" panose="020B0609020204030204" pitchFamily="49" charset="0"/>
              </a:rPr>
              <a:t>		AND</a:t>
            </a:r>
            <a:r>
              <a:rPr lang="en-US">
                <a:latin typeface="Consolas" panose="020B0609020204030204" pitchFamily="49" charset="0"/>
              </a:rPr>
              <a:t> Indx.INDEX_ID = opsts.INDEX_ID </a:t>
            </a:r>
          </a:p>
          <a:p>
            <a:r>
              <a:rPr lang="en-US">
                <a:solidFill>
                  <a:srgbClr val="0A1FE4"/>
                </a:solidFill>
                <a:latin typeface="Consolas" panose="020B0609020204030204" pitchFamily="49" charset="0"/>
              </a:rPr>
              <a:t>WHERE</a:t>
            </a:r>
            <a:r>
              <a:rPr lang="en-US">
                <a:latin typeface="Consolas" panose="020B0609020204030204" pitchFamily="49" charset="0"/>
              </a:rPr>
              <a:t>  </a:t>
            </a:r>
          </a:p>
          <a:p>
            <a:r>
              <a:rPr lang="en-US">
                <a:solidFill>
                  <a:srgbClr val="9201FF"/>
                </a:solidFill>
                <a:latin typeface="Consolas" panose="020B0609020204030204" pitchFamily="49" charset="0"/>
              </a:rPr>
              <a:t>	OBJECTPROPERTY</a:t>
            </a:r>
            <a:r>
              <a:rPr lang="en-US">
                <a:latin typeface="Consolas" panose="020B0609020204030204" pitchFamily="49" charset="0"/>
              </a:rPr>
              <a:t>(opsts.[</a:t>
            </a:r>
            <a:r>
              <a:rPr lang="en-US">
                <a:solidFill>
                  <a:srgbClr val="9201FF"/>
                </a:solidFill>
                <a:latin typeface="Consolas" panose="020B0609020204030204" pitchFamily="49" charset="0"/>
              </a:rPr>
              <a:t>OBJECT_ID</a:t>
            </a:r>
            <a:r>
              <a:rPr lang="en-US">
                <a:latin typeface="Consolas" panose="020B0609020204030204" pitchFamily="49" charset="0"/>
              </a:rPr>
              <a:t>],'IsUserTable') = 1</a:t>
            </a:r>
            <a:endParaRPr lang="en-US" sz="1800">
              <a:solidFill>
                <a:prstClr val="black"/>
              </a:solidFill>
              <a:latin typeface="Consolas" panose="020B0609020204030204" pitchFamily="49" charset="0"/>
            </a:endParaRPr>
          </a:p>
        </p:txBody>
      </p:sp>
    </p:spTree>
    <p:extLst>
      <p:ext uri="{BB962C8B-B14F-4D97-AF65-F5344CB8AC3E}">
        <p14:creationId xmlns:p14="http://schemas.microsoft.com/office/powerpoint/2010/main" val="16837443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b="1" dirty="0" err="1">
                <a:solidFill>
                  <a:srgbClr val="107C10"/>
                </a:solidFill>
              </a:rPr>
              <a:t>sys.dm_db_index_physical_stats</a:t>
            </a:r>
            <a:r>
              <a:rPr lang="en-US" b="1" dirty="0">
                <a:solidFill>
                  <a:srgbClr val="107C10"/>
                </a:solidFill>
              </a:rPr>
              <a:t> </a:t>
            </a:r>
            <a:endParaRPr lang="en-US" dirty="0">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176886"/>
            <a:ext cx="10880726" cy="4663502"/>
          </a:xfrm>
        </p:spPr>
        <p:txBody>
          <a:bodyPr/>
          <a:lstStyle/>
          <a:p>
            <a:r>
              <a:rPr lang="en-US" b="0" i="0" dirty="0">
                <a:effectLst/>
                <a:latin typeface="Segoe UI" panose="020B0502040204020203" pitchFamily="34" charset="0"/>
              </a:rPr>
              <a:t>Returns size and fragmentation information for the data and indexes of the specified table or view in SQL Server.</a:t>
            </a:r>
          </a:p>
          <a:p>
            <a:r>
              <a:rPr lang="en-US" dirty="0"/>
              <a:t>Takes </a:t>
            </a:r>
            <a:r>
              <a:rPr lang="en-US" dirty="0" err="1"/>
              <a:t>database_id</a:t>
            </a:r>
            <a:r>
              <a:rPr lang="en-US" dirty="0"/>
              <a:t>, the </a:t>
            </a:r>
            <a:r>
              <a:rPr lang="en-US" dirty="0" err="1"/>
              <a:t>object_id</a:t>
            </a:r>
            <a:r>
              <a:rPr lang="en-US" dirty="0"/>
              <a:t>, the </a:t>
            </a:r>
            <a:r>
              <a:rPr lang="en-US" dirty="0" err="1"/>
              <a:t>index_id</a:t>
            </a:r>
            <a:r>
              <a:rPr lang="en-US" dirty="0"/>
              <a:t> and the </a:t>
            </a:r>
            <a:r>
              <a:rPr lang="en-US" dirty="0" err="1"/>
              <a:t>partition_number</a:t>
            </a:r>
            <a:r>
              <a:rPr lang="en-US" dirty="0"/>
              <a:t> as parameters </a:t>
            </a:r>
          </a:p>
          <a:p>
            <a:r>
              <a:rPr lang="en-US" dirty="0"/>
              <a:t>Memory-optimized indexes do not appear in this DMV</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429000"/>
            <a:ext cx="11073909" cy="280656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SCHEMA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chema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able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I</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Index_I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rtition_number</a:t>
            </a:r>
            <a:r>
              <a:rPr lang="en-US" sz="1800" dirty="0">
                <a:solidFill>
                  <a:srgbClr val="80808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vg_fragmentation_in_percen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vg_page_space_used_in_percen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indexe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I</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db_index_physical_stats</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Limite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IPS</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IP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FF"/>
                </a:solidFill>
                <a:latin typeface="Consolas" panose="020B0609020204030204" pitchFamily="49" charset="0"/>
              </a:rPr>
              <a:t>object_id</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WHERE </a:t>
            </a:r>
            <a:r>
              <a:rPr lang="en-US" sz="1800" dirty="0" err="1">
                <a:solidFill>
                  <a:srgbClr val="008000"/>
                </a:solidFill>
                <a:latin typeface="Consolas" panose="020B0609020204030204" pitchFamily="49" charset="0"/>
              </a:rPr>
              <a:t>IPS.avg_fragmentation_in_percent</a:t>
            </a:r>
            <a:r>
              <a:rPr lang="en-US" sz="1800" dirty="0">
                <a:solidFill>
                  <a:srgbClr val="008000"/>
                </a:solidFill>
                <a:latin typeface="Consolas" panose="020B0609020204030204" pitchFamily="49" charset="0"/>
              </a:rPr>
              <a:t> &gt;30</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ND </a:t>
            </a:r>
            <a:r>
              <a:rPr lang="en-US" sz="1800" dirty="0" err="1">
                <a:solidFill>
                  <a:srgbClr val="008000"/>
                </a:solidFill>
                <a:latin typeface="Consolas" panose="020B0609020204030204" pitchFamily="49" charset="0"/>
              </a:rPr>
              <a:t>IPS.page_count</a:t>
            </a:r>
            <a:r>
              <a:rPr lang="en-US" sz="1800" dirty="0">
                <a:solidFill>
                  <a:srgbClr val="008000"/>
                </a:solidFill>
                <a:latin typeface="Consolas" panose="020B0609020204030204" pitchFamily="49" charset="0"/>
              </a:rPr>
              <a:t> &gt;1000</a:t>
            </a:r>
            <a:endParaRPr lang="en-US" sz="1800" dirty="0">
              <a:solidFill>
                <a:prstClr val="black"/>
              </a:solidFill>
              <a:latin typeface="Consolas" panose="020B0609020204030204" pitchFamily="49" charset="0"/>
            </a:endParaRPr>
          </a:p>
        </p:txBody>
      </p:sp>
    </p:spTree>
    <p:extLst>
      <p:ext uri="{BB962C8B-B14F-4D97-AF65-F5344CB8AC3E}">
        <p14:creationId xmlns:p14="http://schemas.microsoft.com/office/powerpoint/2010/main" val="31866965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dirty="0"/>
              <a:t>Fragmentation</a:t>
            </a:r>
          </a:p>
        </p:txBody>
      </p:sp>
      <p:sp>
        <p:nvSpPr>
          <p:cNvPr id="5" name="Subtitle 4">
            <a:extLst>
              <a:ext uri="{FF2B5EF4-FFF2-40B4-BE49-F238E27FC236}">
                <a16:creationId xmlns:a16="http://schemas.microsoft.com/office/drawing/2014/main" id="{348671D4-9303-4AFE-9143-83F44EEE4B3E}"/>
              </a:ext>
            </a:extLst>
          </p:cNvPr>
          <p:cNvSpPr>
            <a:spLocks noGrp="1"/>
          </p:cNvSpPr>
          <p:nvPr>
            <p:ph type="subTitle" idx="1"/>
          </p:nvPr>
        </p:nvSpPr>
        <p:spPr>
          <a:xfrm>
            <a:off x="655637" y="786383"/>
            <a:ext cx="10880725" cy="461665"/>
          </a:xfrm>
        </p:spPr>
        <p:txBody>
          <a:bodyPr>
            <a:normAutofit/>
          </a:bodyPr>
          <a:lstStyle/>
          <a:p>
            <a:r>
              <a:rPr lang="en-US" sz="1900"/>
              <a:t>A fragmented table/Index is when some of its data pages point to pages that are not in sequence.</a:t>
            </a:r>
          </a:p>
        </p:txBody>
      </p:sp>
      <p:graphicFrame>
        <p:nvGraphicFramePr>
          <p:cNvPr id="6" name="Content Placeholder 3">
            <a:extLst>
              <a:ext uri="{FF2B5EF4-FFF2-40B4-BE49-F238E27FC236}">
                <a16:creationId xmlns:a16="http://schemas.microsoft.com/office/drawing/2014/main" id="{5612EB1D-0D08-4DC1-A9CE-1B591A4F97E6}"/>
              </a:ext>
            </a:extLst>
          </p:cNvPr>
          <p:cNvGraphicFramePr>
            <a:graphicFrameLocks noGrp="1"/>
          </p:cNvGraphicFramePr>
          <p:nvPr>
            <p:ph sz="quarter" idx="13"/>
            <p:extLst>
              <p:ext uri="{D42A27DB-BD31-4B8C-83A1-F6EECF244321}">
                <p14:modId xmlns:p14="http://schemas.microsoft.com/office/powerpoint/2010/main" val="315602666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016926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Page splits</a:t>
            </a:r>
          </a:p>
        </p:txBody>
      </p:sp>
      <p:graphicFrame>
        <p:nvGraphicFramePr>
          <p:cNvPr id="5" name="Content Placeholder 4">
            <a:extLst>
              <a:ext uri="{FF2B5EF4-FFF2-40B4-BE49-F238E27FC236}">
                <a16:creationId xmlns:a16="http://schemas.microsoft.com/office/drawing/2014/main" id="{245B2B36-0B74-4B3E-B10A-918A3616B657}"/>
              </a:ext>
            </a:extLst>
          </p:cNvPr>
          <p:cNvGraphicFramePr>
            <a:graphicFrameLocks noGrp="1"/>
          </p:cNvGraphicFramePr>
          <p:nvPr>
            <p:ph sz="quarter" idx="13"/>
            <p:extLst>
              <p:ext uri="{D42A27DB-BD31-4B8C-83A1-F6EECF244321}">
                <p14:modId xmlns:p14="http://schemas.microsoft.com/office/powerpoint/2010/main" val="2009528330"/>
              </p:ext>
            </p:extLst>
          </p:nvPr>
        </p:nvGraphicFramePr>
        <p:xfrm>
          <a:off x="655638" y="979714"/>
          <a:ext cx="10880725" cy="52480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594912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Page Splits</a:t>
            </a:r>
          </a:p>
        </p:txBody>
      </p:sp>
      <p:pic>
        <p:nvPicPr>
          <p:cNvPr id="7" name="Picture 2">
            <a:extLst>
              <a:ext uri="{FF2B5EF4-FFF2-40B4-BE49-F238E27FC236}">
                <a16:creationId xmlns:a16="http://schemas.microsoft.com/office/drawing/2014/main" id="{C89038E8-4C91-4844-9D94-B2693C6E7C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5474" y="1344706"/>
            <a:ext cx="8091431" cy="4851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8451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D23E433-69B8-4DF9-FA13-71888E60BDC3}"/>
              </a:ext>
            </a:extLst>
          </p:cNvPr>
          <p:cNvSpPr>
            <a:spLocks noGrp="1"/>
          </p:cNvSpPr>
          <p:nvPr>
            <p:ph type="title"/>
          </p:nvPr>
        </p:nvSpPr>
        <p:spPr/>
        <p:txBody>
          <a:bodyPr/>
          <a:lstStyle/>
          <a:p>
            <a:r>
              <a:rPr lang="en-US" dirty="0"/>
              <a:t>What is SARGability?</a:t>
            </a:r>
          </a:p>
        </p:txBody>
      </p:sp>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4232865061"/>
              </p:ext>
            </p:extLst>
          </p:nvPr>
        </p:nvGraphicFramePr>
        <p:xfrm>
          <a:off x="20425" y="1466959"/>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3">
            <a:extLst>
              <a:ext uri="{FF2B5EF4-FFF2-40B4-BE49-F238E27FC236}">
                <a16:creationId xmlns:a16="http://schemas.microsoft.com/office/drawing/2014/main" id="{C2382317-9B10-47B8-B7C9-2FF2A2F5E50F}"/>
              </a:ext>
            </a:extLst>
          </p:cNvPr>
          <p:cNvPicPr>
            <a:picLocks noChangeAspect="1"/>
          </p:cNvPicPr>
          <p:nvPr/>
        </p:nvPicPr>
        <p:blipFill rotWithShape="1">
          <a:blip r:embed="rId8">
            <a:extLst>
              <a:ext uri="{28A0092B-C50C-407E-A947-70E740481C1C}">
                <a14:useLocalDpi xmlns:a14="http://schemas.microsoft.com/office/drawing/2010/main" val="0"/>
              </a:ext>
            </a:extLst>
          </a:blip>
          <a:srcRect b="23125"/>
          <a:stretch/>
        </p:blipFill>
        <p:spPr>
          <a:xfrm>
            <a:off x="6248400" y="1466959"/>
            <a:ext cx="4572000" cy="457200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966473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91" name="Rounded Rectangle 39">
            <a:extLst>
              <a:ext uri="{FF2B5EF4-FFF2-40B4-BE49-F238E27FC236}">
                <a16:creationId xmlns:a16="http://schemas.microsoft.com/office/drawing/2014/main" id="{0BF4BCC7-8209-4A2F-BBC7-21D2EE65EC96}"/>
              </a:ext>
            </a:extLst>
          </p:cNvPr>
          <p:cNvSpPr/>
          <p:nvPr/>
        </p:nvSpPr>
        <p:spPr>
          <a:xfrm rot="5400000">
            <a:off x="7072877" y="-63731"/>
            <a:ext cx="1531288" cy="641587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8">
              <a:defRPr/>
            </a:pPr>
            <a:endParaRPr lang="en-US" sz="2100" kern="0" dirty="0">
              <a:solidFill>
                <a:prstClr val="white"/>
              </a:solidFill>
              <a:latin typeface="Calibri" panose="020F0502020204030204" pitchFamily="34" charset="0"/>
            </a:endParaRPr>
          </a:p>
        </p:txBody>
      </p:sp>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Read-Ahead Scans</a:t>
            </a:r>
          </a:p>
        </p:txBody>
      </p:sp>
      <p:grpSp>
        <p:nvGrpSpPr>
          <p:cNvPr id="116" name="Group 115">
            <a:extLst>
              <a:ext uri="{FF2B5EF4-FFF2-40B4-BE49-F238E27FC236}">
                <a16:creationId xmlns:a16="http://schemas.microsoft.com/office/drawing/2014/main" id="{624DCC4F-469A-450F-AB33-5FE2ED637235}"/>
              </a:ext>
            </a:extLst>
          </p:cNvPr>
          <p:cNvGrpSpPr/>
          <p:nvPr/>
        </p:nvGrpSpPr>
        <p:grpSpPr>
          <a:xfrm>
            <a:off x="794454" y="2490392"/>
            <a:ext cx="1087101" cy="1282822"/>
            <a:chOff x="655638" y="3429000"/>
            <a:chExt cx="2332544" cy="1132950"/>
          </a:xfrm>
        </p:grpSpPr>
        <p:sp>
          <p:nvSpPr>
            <p:cNvPr id="93" name="Rounded Rectangle 7">
              <a:extLst>
                <a:ext uri="{FF2B5EF4-FFF2-40B4-BE49-F238E27FC236}">
                  <a16:creationId xmlns:a16="http://schemas.microsoft.com/office/drawing/2014/main" id="{946EF957-D372-45DF-924E-032352B09D0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Rectangle 94">
              <a:extLst>
                <a:ext uri="{FF2B5EF4-FFF2-40B4-BE49-F238E27FC236}">
                  <a16:creationId xmlns:a16="http://schemas.microsoft.com/office/drawing/2014/main" id="{43C97B0F-1CA5-4D0A-BF75-3F4CD547D278}"/>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1</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sp>
        <p:nvSpPr>
          <p:cNvPr id="193" name="Right Brace 192">
            <a:extLst>
              <a:ext uri="{FF2B5EF4-FFF2-40B4-BE49-F238E27FC236}">
                <a16:creationId xmlns:a16="http://schemas.microsoft.com/office/drawing/2014/main" id="{86D6CB44-2FA8-418A-BE45-6C4981465181}"/>
              </a:ext>
            </a:extLst>
          </p:cNvPr>
          <p:cNvSpPr/>
          <p:nvPr/>
        </p:nvSpPr>
        <p:spPr>
          <a:xfrm rot="5400000">
            <a:off x="2197914" y="-106657"/>
            <a:ext cx="827216" cy="4038123"/>
          </a:xfrm>
          <a:prstGeom prst="rightBrace">
            <a:avLst/>
          </a:prstGeom>
          <a:noFill/>
          <a:ln w="76200" cap="flat" cmpd="sng" algn="ctr">
            <a:solidFill>
              <a:srgbClr val="2098D5">
                <a:lumMod val="50000"/>
              </a:srgbClr>
            </a:solidFill>
            <a:prstDash val="solid"/>
          </a:ln>
          <a:effectLst/>
        </p:spPr>
        <p:txBody>
          <a:bodyPr rtlCol="0" anchor="ctr"/>
          <a:lstStyle/>
          <a:p>
            <a:pPr algn="ctr" defTabSz="896386">
              <a:defRPr/>
            </a:pPr>
            <a:endParaRPr lang="en-US" sz="1765" kern="0">
              <a:solidFill>
                <a:prstClr val="black"/>
              </a:solidFill>
              <a:latin typeface="Segoe UI"/>
            </a:endParaRPr>
          </a:p>
        </p:txBody>
      </p:sp>
      <p:sp>
        <p:nvSpPr>
          <p:cNvPr id="194" name="Title 1">
            <a:extLst>
              <a:ext uri="{FF2B5EF4-FFF2-40B4-BE49-F238E27FC236}">
                <a16:creationId xmlns:a16="http://schemas.microsoft.com/office/drawing/2014/main" id="{2C6258A5-91F5-4638-89C0-8C132A1600F6}"/>
              </a:ext>
            </a:extLst>
          </p:cNvPr>
          <p:cNvSpPr txBox="1">
            <a:spLocks/>
          </p:cNvSpPr>
          <p:nvPr/>
        </p:nvSpPr>
        <p:spPr>
          <a:xfrm>
            <a:off x="1816119" y="1356019"/>
            <a:ext cx="2221053" cy="461665"/>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00" dirty="0"/>
              <a:t>Read Pages</a:t>
            </a:r>
          </a:p>
        </p:txBody>
      </p:sp>
      <p:sp>
        <p:nvSpPr>
          <p:cNvPr id="196" name="Right Brace 195">
            <a:extLst>
              <a:ext uri="{FF2B5EF4-FFF2-40B4-BE49-F238E27FC236}">
                <a16:creationId xmlns:a16="http://schemas.microsoft.com/office/drawing/2014/main" id="{A75E0387-FFEC-46F7-947F-0694E2B84C21}"/>
              </a:ext>
            </a:extLst>
          </p:cNvPr>
          <p:cNvSpPr/>
          <p:nvPr/>
        </p:nvSpPr>
        <p:spPr>
          <a:xfrm rot="5400000">
            <a:off x="7288862" y="-106657"/>
            <a:ext cx="827216" cy="4038123"/>
          </a:xfrm>
          <a:prstGeom prst="rightBrace">
            <a:avLst/>
          </a:prstGeom>
          <a:noFill/>
          <a:ln w="76200" cap="flat" cmpd="sng" algn="ctr">
            <a:solidFill>
              <a:srgbClr val="2098D5">
                <a:lumMod val="50000"/>
              </a:srgbClr>
            </a:solidFill>
            <a:prstDash val="solid"/>
          </a:ln>
          <a:effectLst/>
        </p:spPr>
        <p:txBody>
          <a:bodyPr rtlCol="0" anchor="ctr"/>
          <a:lstStyle/>
          <a:p>
            <a:pPr algn="ctr" defTabSz="896386">
              <a:defRPr/>
            </a:pPr>
            <a:endParaRPr lang="en-US" sz="1765" kern="0">
              <a:solidFill>
                <a:prstClr val="black"/>
              </a:solidFill>
              <a:latin typeface="Segoe UI"/>
            </a:endParaRPr>
          </a:p>
        </p:txBody>
      </p:sp>
      <p:sp>
        <p:nvSpPr>
          <p:cNvPr id="198" name="Title 1">
            <a:extLst>
              <a:ext uri="{FF2B5EF4-FFF2-40B4-BE49-F238E27FC236}">
                <a16:creationId xmlns:a16="http://schemas.microsoft.com/office/drawing/2014/main" id="{40DF79CA-C032-438A-B918-8E7430FB80F1}"/>
              </a:ext>
            </a:extLst>
          </p:cNvPr>
          <p:cNvSpPr txBox="1">
            <a:spLocks/>
          </p:cNvSpPr>
          <p:nvPr/>
        </p:nvSpPr>
        <p:spPr>
          <a:xfrm>
            <a:off x="6800650" y="1356019"/>
            <a:ext cx="1670687" cy="461665"/>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00" dirty="0"/>
              <a:t>Read-Ahead</a:t>
            </a:r>
          </a:p>
        </p:txBody>
      </p:sp>
      <p:sp>
        <p:nvSpPr>
          <p:cNvPr id="199" name="Rectangle 198">
            <a:extLst>
              <a:ext uri="{FF2B5EF4-FFF2-40B4-BE49-F238E27FC236}">
                <a16:creationId xmlns:a16="http://schemas.microsoft.com/office/drawing/2014/main" id="{8317B01F-F5D2-4E25-9A61-22EFC28EB4D9}"/>
              </a:ext>
            </a:extLst>
          </p:cNvPr>
          <p:cNvSpPr/>
          <p:nvPr/>
        </p:nvSpPr>
        <p:spPr bwMode="auto">
          <a:xfrm>
            <a:off x="977615" y="4160886"/>
            <a:ext cx="10068843" cy="10089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342900" indent="-342900" algn="l" defTabSz="932472" fontAlgn="base">
              <a:spcBef>
                <a:spcPct val="0"/>
              </a:spcBef>
              <a:spcAft>
                <a:spcPct val="0"/>
              </a:spcAft>
              <a:buFont typeface="Arial" panose="020B0604020202020204" pitchFamily="34" charset="0"/>
              <a:buChar char="•"/>
            </a:pPr>
            <a:r>
              <a:rPr lang="en-US" sz="2400" b="0" i="0" dirty="0">
                <a:solidFill>
                  <a:schemeClr val="dk1"/>
                </a:solidFill>
                <a:effectLst/>
                <a:latin typeface="Segoe UI" panose="020B0502040204020203" pitchFamily="34" charset="0"/>
              </a:rPr>
              <a:t>Read-ahead anticipates the data and index pages needed to fulfill a query execution plan and brings the pages into the buffer cache before they are used by the query.</a:t>
            </a:r>
          </a:p>
          <a:p>
            <a:pPr marL="342900" indent="-342900" algn="l" defTabSz="932472" fontAlgn="base">
              <a:spcBef>
                <a:spcPct val="0"/>
              </a:spcBef>
              <a:spcAft>
                <a:spcPct val="0"/>
              </a:spcAft>
              <a:buFont typeface="Arial" panose="020B0604020202020204" pitchFamily="34" charset="0"/>
              <a:buChar char="•"/>
            </a:pPr>
            <a:r>
              <a:rPr lang="en-US" sz="2400" b="0" i="0" dirty="0">
                <a:solidFill>
                  <a:schemeClr val="dk1"/>
                </a:solidFill>
                <a:effectLst/>
                <a:latin typeface="Segoe UI" panose="020B0502040204020203" pitchFamily="34" charset="0"/>
              </a:rPr>
              <a:t>The read-ahead mechanism allows the Database Engine to read up to 64 contiguous pages (512KB) from one file.</a:t>
            </a:r>
            <a:endParaRPr lang="en-US" sz="2400" dirty="0">
              <a:solidFill>
                <a:schemeClr val="dk1"/>
              </a:solidFill>
              <a:ea typeface="Segoe UI" pitchFamily="34" charset="0"/>
              <a:cs typeface="Segoe UI" pitchFamily="34" charset="0"/>
            </a:endParaRPr>
          </a:p>
        </p:txBody>
      </p:sp>
      <p:grpSp>
        <p:nvGrpSpPr>
          <p:cNvPr id="200" name="Group 199">
            <a:extLst>
              <a:ext uri="{FF2B5EF4-FFF2-40B4-BE49-F238E27FC236}">
                <a16:creationId xmlns:a16="http://schemas.microsoft.com/office/drawing/2014/main" id="{47A4916E-8B63-43D3-AEBF-B8FBE2B2F3A9}"/>
              </a:ext>
            </a:extLst>
          </p:cNvPr>
          <p:cNvGrpSpPr/>
          <p:nvPr/>
        </p:nvGrpSpPr>
        <p:grpSpPr>
          <a:xfrm>
            <a:off x="2076033" y="2490392"/>
            <a:ext cx="1087101" cy="1282822"/>
            <a:chOff x="655638" y="3429000"/>
            <a:chExt cx="2332544" cy="1132950"/>
          </a:xfrm>
        </p:grpSpPr>
        <p:sp>
          <p:nvSpPr>
            <p:cNvPr id="201" name="Rounded Rectangle 7">
              <a:extLst>
                <a:ext uri="{FF2B5EF4-FFF2-40B4-BE49-F238E27FC236}">
                  <a16:creationId xmlns:a16="http://schemas.microsoft.com/office/drawing/2014/main" id="{80613CBA-ECA1-4EA5-94DE-AF679AA88797}"/>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 name="Rectangle 201">
              <a:extLst>
                <a:ext uri="{FF2B5EF4-FFF2-40B4-BE49-F238E27FC236}">
                  <a16:creationId xmlns:a16="http://schemas.microsoft.com/office/drawing/2014/main" id="{D2CA9C3C-FF3F-43B6-BC5F-50567F59504B}"/>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2</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03" name="Group 202">
            <a:extLst>
              <a:ext uri="{FF2B5EF4-FFF2-40B4-BE49-F238E27FC236}">
                <a16:creationId xmlns:a16="http://schemas.microsoft.com/office/drawing/2014/main" id="{B46FD44F-2C26-4A69-BF0E-E0848E10B8CB}"/>
              </a:ext>
            </a:extLst>
          </p:cNvPr>
          <p:cNvGrpSpPr/>
          <p:nvPr/>
        </p:nvGrpSpPr>
        <p:grpSpPr>
          <a:xfrm>
            <a:off x="3357612" y="2490392"/>
            <a:ext cx="1087101" cy="1282822"/>
            <a:chOff x="655638" y="3429000"/>
            <a:chExt cx="2332544" cy="1132950"/>
          </a:xfrm>
        </p:grpSpPr>
        <p:sp>
          <p:nvSpPr>
            <p:cNvPr id="204" name="Rounded Rectangle 7">
              <a:extLst>
                <a:ext uri="{FF2B5EF4-FFF2-40B4-BE49-F238E27FC236}">
                  <a16:creationId xmlns:a16="http://schemas.microsoft.com/office/drawing/2014/main" id="{BEF7CA50-B6B7-4673-8917-38E4B283378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 name="Rectangle 204">
              <a:extLst>
                <a:ext uri="{FF2B5EF4-FFF2-40B4-BE49-F238E27FC236}">
                  <a16:creationId xmlns:a16="http://schemas.microsoft.com/office/drawing/2014/main" id="{E905F7F6-0819-4082-8688-2955820ABF44}"/>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3</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06" name="Group 205">
            <a:extLst>
              <a:ext uri="{FF2B5EF4-FFF2-40B4-BE49-F238E27FC236}">
                <a16:creationId xmlns:a16="http://schemas.microsoft.com/office/drawing/2014/main" id="{E8F7499F-F9AD-4DE6-878A-A1BA95E9C65C}"/>
              </a:ext>
            </a:extLst>
          </p:cNvPr>
          <p:cNvGrpSpPr/>
          <p:nvPr/>
        </p:nvGrpSpPr>
        <p:grpSpPr>
          <a:xfrm>
            <a:off x="4723271" y="2490392"/>
            <a:ext cx="1087101" cy="1282822"/>
            <a:chOff x="655638" y="3429000"/>
            <a:chExt cx="2332544" cy="1132950"/>
          </a:xfrm>
        </p:grpSpPr>
        <p:sp>
          <p:nvSpPr>
            <p:cNvPr id="207" name="Rounded Rectangle 7">
              <a:extLst>
                <a:ext uri="{FF2B5EF4-FFF2-40B4-BE49-F238E27FC236}">
                  <a16:creationId xmlns:a16="http://schemas.microsoft.com/office/drawing/2014/main" id="{55E58351-A484-4419-8E1F-21D98FFCB6E6}"/>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 name="Rectangle 207">
              <a:extLst>
                <a:ext uri="{FF2B5EF4-FFF2-40B4-BE49-F238E27FC236}">
                  <a16:creationId xmlns:a16="http://schemas.microsoft.com/office/drawing/2014/main" id="{D76171E8-8E34-4C33-9C2C-3DB41A7442BB}"/>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4</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09" name="Group 208">
            <a:extLst>
              <a:ext uri="{FF2B5EF4-FFF2-40B4-BE49-F238E27FC236}">
                <a16:creationId xmlns:a16="http://schemas.microsoft.com/office/drawing/2014/main" id="{AC496877-D551-4874-B845-65344291DBE2}"/>
              </a:ext>
            </a:extLst>
          </p:cNvPr>
          <p:cNvGrpSpPr/>
          <p:nvPr/>
        </p:nvGrpSpPr>
        <p:grpSpPr>
          <a:xfrm>
            <a:off x="6004850" y="2490392"/>
            <a:ext cx="1087101" cy="1282822"/>
            <a:chOff x="655638" y="3429000"/>
            <a:chExt cx="2332544" cy="1132950"/>
          </a:xfrm>
        </p:grpSpPr>
        <p:sp>
          <p:nvSpPr>
            <p:cNvPr id="210" name="Rounded Rectangle 7">
              <a:extLst>
                <a:ext uri="{FF2B5EF4-FFF2-40B4-BE49-F238E27FC236}">
                  <a16:creationId xmlns:a16="http://schemas.microsoft.com/office/drawing/2014/main" id="{5B624B65-C0B0-4BB6-AA48-026428AEA15B}"/>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CF4E17FC-94D1-411F-8988-596C576E43CC}"/>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5</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12" name="Group 211">
            <a:extLst>
              <a:ext uri="{FF2B5EF4-FFF2-40B4-BE49-F238E27FC236}">
                <a16:creationId xmlns:a16="http://schemas.microsoft.com/office/drawing/2014/main" id="{3174F1A0-E8F0-4D1B-9DBE-4A8C77D35FDB}"/>
              </a:ext>
            </a:extLst>
          </p:cNvPr>
          <p:cNvGrpSpPr/>
          <p:nvPr/>
        </p:nvGrpSpPr>
        <p:grpSpPr>
          <a:xfrm>
            <a:off x="7286429" y="2490392"/>
            <a:ext cx="1087101" cy="1282822"/>
            <a:chOff x="655638" y="3429000"/>
            <a:chExt cx="2332544" cy="1132950"/>
          </a:xfrm>
        </p:grpSpPr>
        <p:sp>
          <p:nvSpPr>
            <p:cNvPr id="213" name="Rounded Rectangle 7">
              <a:extLst>
                <a:ext uri="{FF2B5EF4-FFF2-40B4-BE49-F238E27FC236}">
                  <a16:creationId xmlns:a16="http://schemas.microsoft.com/office/drawing/2014/main" id="{75C75519-DC6E-4293-AC4E-BEA15B08B4FC}"/>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 name="Rectangle 213">
              <a:extLst>
                <a:ext uri="{FF2B5EF4-FFF2-40B4-BE49-F238E27FC236}">
                  <a16:creationId xmlns:a16="http://schemas.microsoft.com/office/drawing/2014/main" id="{A5715330-E953-453D-B789-3115826A1338}"/>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6</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15" name="Group 214">
            <a:extLst>
              <a:ext uri="{FF2B5EF4-FFF2-40B4-BE49-F238E27FC236}">
                <a16:creationId xmlns:a16="http://schemas.microsoft.com/office/drawing/2014/main" id="{12C85024-6725-4C85-AC44-EC1C1961FF1A}"/>
              </a:ext>
            </a:extLst>
          </p:cNvPr>
          <p:cNvGrpSpPr/>
          <p:nvPr/>
        </p:nvGrpSpPr>
        <p:grpSpPr>
          <a:xfrm>
            <a:off x="8568008" y="2490392"/>
            <a:ext cx="1087101" cy="1282822"/>
            <a:chOff x="655638" y="3429000"/>
            <a:chExt cx="2332544" cy="1132950"/>
          </a:xfrm>
        </p:grpSpPr>
        <p:sp>
          <p:nvSpPr>
            <p:cNvPr id="216" name="Rounded Rectangle 7">
              <a:extLst>
                <a:ext uri="{FF2B5EF4-FFF2-40B4-BE49-F238E27FC236}">
                  <a16:creationId xmlns:a16="http://schemas.microsoft.com/office/drawing/2014/main" id="{F5C2E800-B66B-43BF-A3F2-43E8381B4378}"/>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 name="Rectangle 216">
              <a:extLst>
                <a:ext uri="{FF2B5EF4-FFF2-40B4-BE49-F238E27FC236}">
                  <a16:creationId xmlns:a16="http://schemas.microsoft.com/office/drawing/2014/main" id="{2974B8F6-9612-492B-A158-5A69D9F2011A}"/>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7</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18" name="Group 217">
            <a:extLst>
              <a:ext uri="{FF2B5EF4-FFF2-40B4-BE49-F238E27FC236}">
                <a16:creationId xmlns:a16="http://schemas.microsoft.com/office/drawing/2014/main" id="{A49BAEA4-8C83-4A4E-A925-E6A9BA240773}"/>
              </a:ext>
            </a:extLst>
          </p:cNvPr>
          <p:cNvGrpSpPr/>
          <p:nvPr/>
        </p:nvGrpSpPr>
        <p:grpSpPr>
          <a:xfrm>
            <a:off x="9849585" y="2490392"/>
            <a:ext cx="1087101" cy="1282822"/>
            <a:chOff x="655638" y="3429000"/>
            <a:chExt cx="2332544" cy="1132950"/>
          </a:xfrm>
        </p:grpSpPr>
        <p:sp>
          <p:nvSpPr>
            <p:cNvPr id="219" name="Rounded Rectangle 7">
              <a:extLst>
                <a:ext uri="{FF2B5EF4-FFF2-40B4-BE49-F238E27FC236}">
                  <a16:creationId xmlns:a16="http://schemas.microsoft.com/office/drawing/2014/main" id="{946CD687-25CC-4E97-9596-E0958D2B7124}"/>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0" name="Rectangle 219">
              <a:extLst>
                <a:ext uri="{FF2B5EF4-FFF2-40B4-BE49-F238E27FC236}">
                  <a16:creationId xmlns:a16="http://schemas.microsoft.com/office/drawing/2014/main" id="{6196282F-EF76-4DF5-BC51-E6BA9CB516A2}"/>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8</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spTree>
    <p:extLst>
      <p:ext uri="{BB962C8B-B14F-4D97-AF65-F5344CB8AC3E}">
        <p14:creationId xmlns:p14="http://schemas.microsoft.com/office/powerpoint/2010/main" val="15213212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Index Fragmentation and Maintenance options</a:t>
            </a:r>
          </a:p>
        </p:txBody>
      </p:sp>
      <p:graphicFrame>
        <p:nvGraphicFramePr>
          <p:cNvPr id="3" name="Content Placeholder 2">
            <a:extLst>
              <a:ext uri="{FF2B5EF4-FFF2-40B4-BE49-F238E27FC236}">
                <a16:creationId xmlns:a16="http://schemas.microsoft.com/office/drawing/2014/main" id="{D4E16E19-C7F7-0A94-2992-CE82651F102F}"/>
              </a:ext>
            </a:extLst>
          </p:cNvPr>
          <p:cNvGraphicFramePr>
            <a:graphicFrameLocks noGrp="1"/>
          </p:cNvGraphicFramePr>
          <p:nvPr>
            <p:ph sz="quarter" idx="13"/>
            <p:extLst>
              <p:ext uri="{D42A27DB-BD31-4B8C-83A1-F6EECF244321}">
                <p14:modId xmlns:p14="http://schemas.microsoft.com/office/powerpoint/2010/main" val="2542271043"/>
              </p:ext>
            </p:extLst>
          </p:nvPr>
        </p:nvGraphicFramePr>
        <p:xfrm>
          <a:off x="655637" y="930894"/>
          <a:ext cx="10880726" cy="36666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Table 7">
            <a:extLst>
              <a:ext uri="{FF2B5EF4-FFF2-40B4-BE49-F238E27FC236}">
                <a16:creationId xmlns:a16="http://schemas.microsoft.com/office/drawing/2014/main" id="{34AC8C55-62B7-42B0-A5E2-38B7F90A62F4}"/>
              </a:ext>
            </a:extLst>
          </p:cNvPr>
          <p:cNvGraphicFramePr>
            <a:graphicFrameLocks noGrp="1"/>
          </p:cNvGraphicFramePr>
          <p:nvPr>
            <p:extLst>
              <p:ext uri="{D42A27DB-BD31-4B8C-83A1-F6EECF244321}">
                <p14:modId xmlns:p14="http://schemas.microsoft.com/office/powerpoint/2010/main" val="2029612306"/>
              </p:ext>
            </p:extLst>
          </p:nvPr>
        </p:nvGraphicFramePr>
        <p:xfrm>
          <a:off x="1415143" y="4729104"/>
          <a:ext cx="9601200" cy="1808856"/>
        </p:xfrm>
        <a:graphic>
          <a:graphicData uri="http://schemas.openxmlformats.org/drawingml/2006/table">
            <a:tbl>
              <a:tblPr firstRow="1" bandRow="1">
                <a:tableStyleId>{21E4AEA4-8DFA-4A89-87EB-49C32662AFE0}</a:tableStyleId>
              </a:tblPr>
              <a:tblGrid>
                <a:gridCol w="2971799">
                  <a:extLst>
                    <a:ext uri="{9D8B030D-6E8A-4147-A177-3AD203B41FA5}">
                      <a16:colId xmlns:a16="http://schemas.microsoft.com/office/drawing/2014/main" val="3943042430"/>
                    </a:ext>
                  </a:extLst>
                </a:gridCol>
                <a:gridCol w="3138055">
                  <a:extLst>
                    <a:ext uri="{9D8B030D-6E8A-4147-A177-3AD203B41FA5}">
                      <a16:colId xmlns:a16="http://schemas.microsoft.com/office/drawing/2014/main" val="1952673238"/>
                    </a:ext>
                  </a:extLst>
                </a:gridCol>
                <a:gridCol w="3491346">
                  <a:extLst>
                    <a:ext uri="{9D8B030D-6E8A-4147-A177-3AD203B41FA5}">
                      <a16:colId xmlns:a16="http://schemas.microsoft.com/office/drawing/2014/main" val="427992128"/>
                    </a:ext>
                  </a:extLst>
                </a:gridCol>
              </a:tblGrid>
              <a:tr h="505038">
                <a:tc>
                  <a:txBody>
                    <a:bodyPr/>
                    <a:lstStyle/>
                    <a:p>
                      <a:pPr algn="ctr"/>
                      <a:endParaRPr lang="en-US" dirty="0"/>
                    </a:p>
                  </a:txBody>
                  <a:tcPr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a:solidFill>
                            <a:schemeClr val="lt1"/>
                          </a:solidFill>
                          <a:latin typeface="+mn-lt"/>
                          <a:ea typeface="+mn-ea"/>
                          <a:cs typeface="+mn-cs"/>
                        </a:rPr>
                        <a:t>ALTER</a:t>
                      </a:r>
                      <a:r>
                        <a:rPr lang="en-US" sz="1800" b="1" kern="1200" baseline="0">
                          <a:solidFill>
                            <a:schemeClr val="lt1"/>
                          </a:solidFill>
                          <a:latin typeface="+mn-lt"/>
                          <a:ea typeface="+mn-ea"/>
                          <a:cs typeface="+mn-cs"/>
                        </a:rPr>
                        <a:t> INDEX… REBUILD</a:t>
                      </a:r>
                      <a:endParaRPr lang="en-US" sz="1800" b="1" kern="1200">
                        <a:solidFill>
                          <a:schemeClr val="lt1"/>
                        </a:solidFill>
                        <a:latin typeface="+mn-lt"/>
                        <a:ea typeface="+mn-ea"/>
                        <a:cs typeface="+mn-cs"/>
                      </a:endParaRPr>
                    </a:p>
                    <a:p>
                      <a:pPr algn="ctr"/>
                      <a:endParaRPr lang="en-US"/>
                    </a:p>
                  </a:txBody>
                  <a:tcPr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a:solidFill>
                            <a:schemeClr val="lt1"/>
                          </a:solidFill>
                          <a:latin typeface="+mn-lt"/>
                          <a:ea typeface="+mn-ea"/>
                          <a:cs typeface="+mn-cs"/>
                        </a:rPr>
                        <a:t>ALTER</a:t>
                      </a:r>
                      <a:r>
                        <a:rPr lang="en-US" sz="1800" b="1" kern="1200" baseline="0">
                          <a:solidFill>
                            <a:schemeClr val="lt1"/>
                          </a:solidFill>
                          <a:latin typeface="+mn-lt"/>
                          <a:ea typeface="+mn-ea"/>
                          <a:cs typeface="+mn-cs"/>
                        </a:rPr>
                        <a:t> INDEX … REORGANIZE</a:t>
                      </a:r>
                      <a:endParaRPr lang="en-US" sz="1800" b="1" kern="1200">
                        <a:solidFill>
                          <a:schemeClr val="lt1"/>
                        </a:solidFill>
                        <a:latin typeface="+mn-lt"/>
                        <a:ea typeface="+mn-ea"/>
                        <a:cs typeface="+mn-cs"/>
                      </a:endParaRPr>
                    </a:p>
                    <a:p>
                      <a:pPr algn="ctr"/>
                      <a:endParaRPr lang="en-US"/>
                    </a:p>
                  </a:txBody>
                  <a:tcPr marT="0" marB="0"/>
                </a:tc>
                <a:extLst>
                  <a:ext uri="{0D108BD9-81ED-4DB2-BD59-A6C34878D82A}">
                    <a16:rowId xmlns:a16="http://schemas.microsoft.com/office/drawing/2014/main" val="2061229409"/>
                  </a:ext>
                </a:extLst>
              </a:tr>
              <a:tr h="315054">
                <a:tc>
                  <a:txBody>
                    <a:bodyPr/>
                    <a:lstStyle/>
                    <a:p>
                      <a:pPr algn="l"/>
                      <a:r>
                        <a:rPr lang="en-US" sz="2000"/>
                        <a:t>Removes</a:t>
                      </a:r>
                      <a:r>
                        <a:rPr lang="en-US" sz="2000" baseline="0"/>
                        <a:t> fragmentation</a:t>
                      </a:r>
                      <a:endParaRPr lang="en-US" sz="2000"/>
                    </a:p>
                  </a:txBody>
                  <a:tcPr marT="0" marB="0" anchor="ctr"/>
                </a:tc>
                <a:tc>
                  <a:txBody>
                    <a:bodyPr/>
                    <a:lstStyle/>
                    <a:p>
                      <a:pPr algn="ctr"/>
                      <a:r>
                        <a:rPr lang="en-US" b="1"/>
                        <a:t>X</a:t>
                      </a:r>
                    </a:p>
                  </a:txBody>
                  <a:tcPr marT="0" marB="0"/>
                </a:tc>
                <a:tc>
                  <a:txBody>
                    <a:bodyPr/>
                    <a:lstStyle/>
                    <a:p>
                      <a:pPr algn="ctr"/>
                      <a:r>
                        <a:rPr lang="en-US" b="1"/>
                        <a:t>X</a:t>
                      </a:r>
                    </a:p>
                  </a:txBody>
                  <a:tcPr marT="0" marB="0"/>
                </a:tc>
                <a:extLst>
                  <a:ext uri="{0D108BD9-81ED-4DB2-BD59-A6C34878D82A}">
                    <a16:rowId xmlns:a16="http://schemas.microsoft.com/office/drawing/2014/main" val="2526324830"/>
                  </a:ext>
                </a:extLst>
              </a:tr>
              <a:tr h="315054">
                <a:tc>
                  <a:txBody>
                    <a:bodyPr/>
                    <a:lstStyle/>
                    <a:p>
                      <a:pPr algn="l"/>
                      <a:r>
                        <a:rPr lang="en-US" sz="2000"/>
                        <a:t>Removes free space</a:t>
                      </a:r>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3904632311"/>
                  </a:ext>
                </a:extLst>
              </a:tr>
              <a:tr h="315054">
                <a:tc>
                  <a:txBody>
                    <a:bodyPr/>
                    <a:lstStyle/>
                    <a:p>
                      <a:pPr algn="l"/>
                      <a:r>
                        <a:rPr lang="en-US" sz="2000"/>
                        <a:t>Resets fill factor</a:t>
                      </a:r>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1568363117"/>
                  </a:ext>
                </a:extLst>
              </a:tr>
              <a:tr h="315054">
                <a:tc>
                  <a:txBody>
                    <a:bodyPr/>
                    <a:lstStyle/>
                    <a:p>
                      <a:pPr algn="l"/>
                      <a:r>
                        <a:rPr lang="en-US" sz="2000" dirty="0"/>
                        <a:t>Updates</a:t>
                      </a:r>
                      <a:r>
                        <a:rPr lang="en-US" sz="2000" baseline="0" dirty="0"/>
                        <a:t> statistics</a:t>
                      </a:r>
                      <a:endParaRPr lang="en-US" sz="2000" dirty="0"/>
                    </a:p>
                  </a:txBody>
                  <a:tcPr marT="0" marB="0" anchor="ctr"/>
                </a:tc>
                <a:tc>
                  <a:txBody>
                    <a:bodyPr/>
                    <a:lstStyle/>
                    <a:p>
                      <a:pPr algn="ctr"/>
                      <a:r>
                        <a:rPr lang="en-US" b="1" dirty="0"/>
                        <a:t>X</a:t>
                      </a:r>
                    </a:p>
                  </a:txBody>
                  <a:tcPr marT="0" marB="0"/>
                </a:tc>
                <a:tc>
                  <a:txBody>
                    <a:bodyPr/>
                    <a:lstStyle/>
                    <a:p>
                      <a:pPr algn="ctr"/>
                      <a:endParaRPr lang="en-US" dirty="0"/>
                    </a:p>
                  </a:txBody>
                  <a:tcPr marT="0" marB="0"/>
                </a:tc>
                <a:extLst>
                  <a:ext uri="{0D108BD9-81ED-4DB2-BD59-A6C34878D82A}">
                    <a16:rowId xmlns:a16="http://schemas.microsoft.com/office/drawing/2014/main" val="1090236524"/>
                  </a:ext>
                </a:extLst>
              </a:tr>
            </a:tbl>
          </a:graphicData>
        </a:graphic>
      </p:graphicFrame>
    </p:spTree>
    <p:extLst>
      <p:ext uri="{BB962C8B-B14F-4D97-AF65-F5344CB8AC3E}">
        <p14:creationId xmlns:p14="http://schemas.microsoft.com/office/powerpoint/2010/main" val="37401112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Fill Factor</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an address performance issues due to fragmentation. </a:t>
            </a:r>
          </a:p>
          <a:p>
            <a:endParaRPr lang="en-US"/>
          </a:p>
        </p:txBody>
      </p:sp>
      <p:graphicFrame>
        <p:nvGraphicFramePr>
          <p:cNvPr id="6" name="Content Placeholder 5">
            <a:extLst>
              <a:ext uri="{FF2B5EF4-FFF2-40B4-BE49-F238E27FC236}">
                <a16:creationId xmlns:a16="http://schemas.microsoft.com/office/drawing/2014/main" id="{CB893BEC-7F4D-4425-80FF-BA6D91F13E90}"/>
              </a:ext>
            </a:extLst>
          </p:cNvPr>
          <p:cNvGraphicFramePr>
            <a:graphicFrameLocks noGrp="1"/>
          </p:cNvGraphicFramePr>
          <p:nvPr>
            <p:ph sz="quarter" idx="13"/>
            <p:extLst>
              <p:ext uri="{D42A27DB-BD31-4B8C-83A1-F6EECF244321}">
                <p14:modId xmlns:p14="http://schemas.microsoft.com/office/powerpoint/2010/main" val="567524621"/>
              </p:ext>
            </p:extLst>
          </p:nvPr>
        </p:nvGraphicFramePr>
        <p:xfrm>
          <a:off x="655638" y="1408114"/>
          <a:ext cx="10880726" cy="2782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2E5CD34F-F989-43B8-B265-5903EA6E24D4}"/>
              </a:ext>
            </a:extLst>
          </p:cNvPr>
          <p:cNvSpPr/>
          <p:nvPr/>
        </p:nvSpPr>
        <p:spPr>
          <a:xfrm>
            <a:off x="655637" y="4572000"/>
            <a:ext cx="10880725" cy="1200329"/>
          </a:xfrm>
          <a:prstGeom prst="rect">
            <a:avLst/>
          </a:prstGeom>
          <a:ln>
            <a:solidFill>
              <a:schemeClr val="accent1"/>
            </a:solidFill>
          </a:ln>
          <a:effectLst/>
        </p:spPr>
        <p:txBody>
          <a:bodyPr wrap="square">
            <a:noAutofit/>
          </a:bodyPr>
          <a:lstStyle/>
          <a:p>
            <a:r>
              <a:rPr lang="en-US">
                <a:solidFill>
                  <a:srgbClr val="0000FF"/>
                </a:solidFill>
                <a:latin typeface="Consolas" panose="020B0609020204030204" pitchFamily="49" charset="0"/>
              </a:rPr>
              <a:t>ALT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INDEX</a:t>
            </a:r>
            <a:r>
              <a:rPr lang="en-US">
                <a:solidFill>
                  <a:srgbClr val="000000"/>
                </a:solidFill>
                <a:latin typeface="Consolas" panose="020B0609020204030204" pitchFamily="49" charset="0"/>
              </a:rPr>
              <a:t> [pk_bigProduct] </a:t>
            </a:r>
          </a:p>
          <a:p>
            <a:r>
              <a:rPr lang="en-US">
                <a:solidFill>
                  <a:srgbClr val="0000FF"/>
                </a:solidFill>
                <a:latin typeface="Consolas" panose="020B0609020204030204" pitchFamily="49" charset="0"/>
              </a:rPr>
              <a:t>ON</a:t>
            </a:r>
            <a:r>
              <a:rPr lang="en-US">
                <a:solidFill>
                  <a:srgbClr val="000000"/>
                </a:solidFill>
                <a:latin typeface="Consolas" panose="020B0609020204030204" pitchFamily="49" charset="0"/>
              </a:rPr>
              <a:t> [dbo]</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gProduct] </a:t>
            </a:r>
          </a:p>
          <a:p>
            <a:r>
              <a:rPr lang="en-US">
                <a:solidFill>
                  <a:srgbClr val="0000FF"/>
                </a:solidFill>
                <a:latin typeface="Consolas" panose="020B0609020204030204" pitchFamily="49" charset="0"/>
              </a:rPr>
              <a:t>REBUIL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PAD_INDEX = ON, </a:t>
            </a:r>
            <a:r>
              <a:rPr lang="en-US">
                <a:solidFill>
                  <a:srgbClr val="0000FF"/>
                </a:solidFill>
                <a:latin typeface="Consolas" panose="020B0609020204030204" pitchFamily="49" charset="0"/>
              </a:rPr>
              <a:t>FILLFACTO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90</a:t>
            </a:r>
            <a:r>
              <a:rPr lang="en-US">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18685199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Reducing fragmentation</a:t>
            </a:r>
          </a:p>
        </p:txBody>
      </p:sp>
      <p:graphicFrame>
        <p:nvGraphicFramePr>
          <p:cNvPr id="5" name="Content Placeholder 4">
            <a:extLst>
              <a:ext uri="{FF2B5EF4-FFF2-40B4-BE49-F238E27FC236}">
                <a16:creationId xmlns:a16="http://schemas.microsoft.com/office/drawing/2014/main" id="{09EAD516-1026-4FE2-95B8-45F49E2A26BC}"/>
              </a:ext>
            </a:extLst>
          </p:cNvPr>
          <p:cNvGraphicFramePr>
            <a:graphicFrameLocks noGrp="1"/>
          </p:cNvGraphicFramePr>
          <p:nvPr>
            <p:ph sz="quarter" idx="13"/>
          </p:nvPr>
        </p:nvGraphicFramePr>
        <p:xfrm>
          <a:off x="655638" y="1408114"/>
          <a:ext cx="10545762" cy="3008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245401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issing Index Recommendations</a:t>
            </a:r>
          </a:p>
        </p:txBody>
      </p:sp>
      <p:graphicFrame>
        <p:nvGraphicFramePr>
          <p:cNvPr id="7" name="Content Placeholder 6">
            <a:extLst>
              <a:ext uri="{FF2B5EF4-FFF2-40B4-BE49-F238E27FC236}">
                <a16:creationId xmlns:a16="http://schemas.microsoft.com/office/drawing/2014/main" id="{AA8484F7-1E30-4B5D-BB1E-6DFBAC6B40EA}"/>
              </a:ext>
            </a:extLst>
          </p:cNvPr>
          <p:cNvGraphicFramePr>
            <a:graphicFrameLocks noGrp="1"/>
          </p:cNvGraphicFramePr>
          <p:nvPr>
            <p:ph sz="quarter" idx="13"/>
            <p:extLst>
              <p:ext uri="{D42A27DB-BD31-4B8C-83A1-F6EECF244321}">
                <p14:modId xmlns:p14="http://schemas.microsoft.com/office/powerpoint/2010/main" val="1208129076"/>
              </p:ext>
            </p:extLst>
          </p:nvPr>
        </p:nvGraphicFramePr>
        <p:xfrm>
          <a:off x="655638" y="1023257"/>
          <a:ext cx="10880726" cy="2253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882E0E9F-DC97-4918-983A-E497BEB59C9E}"/>
              </a:ext>
            </a:extLst>
          </p:cNvPr>
          <p:cNvPicPr>
            <a:picLocks noChangeAspect="1"/>
          </p:cNvPicPr>
          <p:nvPr/>
        </p:nvPicPr>
        <p:blipFill>
          <a:blip r:embed="rId8"/>
          <a:stretch>
            <a:fillRect/>
          </a:stretch>
        </p:blipFill>
        <p:spPr>
          <a:xfrm>
            <a:off x="2449286" y="3679371"/>
            <a:ext cx="7086599" cy="25146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86109835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Choosing Indexes </a:t>
            </a:r>
          </a:p>
        </p:txBody>
      </p:sp>
      <p:graphicFrame>
        <p:nvGraphicFramePr>
          <p:cNvPr id="5" name="Content Placeholder 4">
            <a:extLst>
              <a:ext uri="{FF2B5EF4-FFF2-40B4-BE49-F238E27FC236}">
                <a16:creationId xmlns:a16="http://schemas.microsoft.com/office/drawing/2014/main" id="{09EAD516-1026-4FE2-95B8-45F49E2A26BC}"/>
              </a:ext>
            </a:extLst>
          </p:cNvPr>
          <p:cNvGraphicFramePr>
            <a:graphicFrameLocks noGrp="1"/>
          </p:cNvGraphicFramePr>
          <p:nvPr>
            <p:ph sz="quarter" idx="13"/>
            <p:extLst>
              <p:ext uri="{D42A27DB-BD31-4B8C-83A1-F6EECF244321}">
                <p14:modId xmlns:p14="http://schemas.microsoft.com/office/powerpoint/2010/main" val="1176526715"/>
              </p:ext>
            </p:extLst>
          </p:nvPr>
        </p:nvGraphicFramePr>
        <p:xfrm>
          <a:off x="655638" y="1612301"/>
          <a:ext cx="6126162" cy="4051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2584858B-A28D-4297-9168-CADBAAF75F05}"/>
              </a:ext>
            </a:extLst>
          </p:cNvPr>
          <p:cNvGrpSpPr/>
          <p:nvPr/>
        </p:nvGrpSpPr>
        <p:grpSpPr>
          <a:xfrm>
            <a:off x="7039082" y="2286178"/>
            <a:ext cx="4648200" cy="3007957"/>
            <a:chOff x="8034647" y="2492643"/>
            <a:chExt cx="3547753" cy="2420314"/>
          </a:xfrm>
        </p:grpSpPr>
        <p:pic>
          <p:nvPicPr>
            <p:cNvPr id="8" name="Picture 7">
              <a:extLst>
                <a:ext uri="{FF2B5EF4-FFF2-40B4-BE49-F238E27FC236}">
                  <a16:creationId xmlns:a16="http://schemas.microsoft.com/office/drawing/2014/main" id="{E7138BBA-7882-48EF-9E20-858F6DBE6E32}"/>
                </a:ext>
              </a:extLst>
            </p:cNvPr>
            <p:cNvPicPr>
              <a:picLocks noChangeAspect="1"/>
            </p:cNvPicPr>
            <p:nvPr/>
          </p:nvPicPr>
          <p:blipFill>
            <a:blip r:embed="rId8"/>
            <a:stretch>
              <a:fillRect/>
            </a:stretch>
          </p:blipFill>
          <p:spPr>
            <a:xfrm>
              <a:off x="8050006" y="2743201"/>
              <a:ext cx="3532394" cy="2169756"/>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4786AFEE-7D51-4218-A7ED-26AAF44BF9D4}"/>
                </a:ext>
              </a:extLst>
            </p:cNvPr>
            <p:cNvPicPr>
              <a:picLocks noChangeAspect="1"/>
            </p:cNvPicPr>
            <p:nvPr/>
          </p:nvPicPr>
          <p:blipFill>
            <a:blip r:embed="rId9"/>
            <a:stretch>
              <a:fillRect/>
            </a:stretch>
          </p:blipFill>
          <p:spPr>
            <a:xfrm>
              <a:off x="8034647" y="2492643"/>
              <a:ext cx="1981214" cy="223839"/>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39223787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0C0"/>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Analyzing Index Usage</a:t>
            </a:r>
          </a:p>
          <a:p>
            <a:r>
              <a:rPr lang="en-US"/>
              <a:t>Show how index usage patterns can help identify index and query improvement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912230581"/>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Index Mainten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Identifying and removing physical index fragmentation</a:t>
            </a:r>
          </a:p>
          <a:p>
            <a:endParaRPr lang="en-US"/>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725246263"/>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844966639"/>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654439074"/>
              </p:ext>
            </p:extLst>
          </p:nvPr>
        </p:nvGraphicFramePr>
        <p:xfrm>
          <a:off x="655638" y="1408113"/>
          <a:ext cx="10880725" cy="30911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72909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rgbClr val="44546A"/>
                </a:solidFill>
                <a:latin typeface="Segoe UI Semibold" panose="020B0702040204020203" pitchFamily="34" charset="0"/>
              </a:rPr>
              <a:t>How Data is Stored in Data Pages</a:t>
            </a:r>
          </a:p>
        </p:txBody>
      </p:sp>
      <p:grpSp>
        <p:nvGrpSpPr>
          <p:cNvPr id="6" name="Group 5">
            <a:extLst>
              <a:ext uri="{FF2B5EF4-FFF2-40B4-BE49-F238E27FC236}">
                <a16:creationId xmlns:a16="http://schemas.microsoft.com/office/drawing/2014/main" id="{1BED7946-3E10-0A0D-536E-B1544484F13D}"/>
              </a:ext>
            </a:extLst>
          </p:cNvPr>
          <p:cNvGrpSpPr/>
          <p:nvPr/>
        </p:nvGrpSpPr>
        <p:grpSpPr>
          <a:xfrm>
            <a:off x="283545" y="666580"/>
            <a:ext cx="11198578" cy="5685150"/>
            <a:chOff x="466910" y="881863"/>
            <a:chExt cx="9332697" cy="5685150"/>
          </a:xfrm>
        </p:grpSpPr>
        <p:sp>
          <p:nvSpPr>
            <p:cNvPr id="58" name="TextBox 57"/>
            <p:cNvSpPr txBox="1"/>
            <p:nvPr/>
          </p:nvSpPr>
          <p:spPr>
            <a:xfrm>
              <a:off x="7062883" y="3949465"/>
              <a:ext cx="2339283" cy="468972"/>
            </a:xfrm>
            <a:prstGeom prst="rect">
              <a:avLst/>
            </a:prstGeom>
            <a:noFill/>
          </p:spPr>
          <p:txBody>
            <a:bodyPr wrap="square" rtlCol="0">
              <a:spAutoFit/>
            </a:bodyPr>
            <a:lstStyle/>
            <a:p>
              <a:pPr algn="ctr" defTabSz="914225">
                <a:defRPr/>
              </a:pPr>
              <a:r>
                <a:rPr lang="en-US" sz="2400" kern="0" dirty="0">
                  <a:solidFill>
                    <a:srgbClr val="2A2954"/>
                  </a:solidFill>
                  <a:latin typeface="Segoe UI"/>
                </a:rPr>
                <a:t>Clustered Index</a:t>
              </a:r>
            </a:p>
          </p:txBody>
        </p:sp>
        <p:sp>
          <p:nvSpPr>
            <p:cNvPr id="9" name="TextBox 8"/>
            <p:cNvSpPr txBox="1"/>
            <p:nvPr/>
          </p:nvSpPr>
          <p:spPr>
            <a:xfrm>
              <a:off x="466910" y="4220311"/>
              <a:ext cx="5787133" cy="1569660"/>
            </a:xfrm>
            <a:prstGeom prst="rect">
              <a:avLst/>
            </a:prstGeom>
            <a:noFill/>
          </p:spPr>
          <p:txBody>
            <a:bodyPr wrap="square" rtlCol="0">
              <a:spAutoFit/>
            </a:bodyPr>
            <a:lstStyle/>
            <a:p>
              <a:pPr defTabSz="914225">
                <a:defRPr/>
              </a:pPr>
              <a:r>
                <a:rPr lang="en-US" sz="2400" kern="0" dirty="0">
                  <a:solidFill>
                    <a:sysClr val="windowText" lastClr="000000"/>
                  </a:solidFill>
                  <a:latin typeface="Segoe UI"/>
                </a:rPr>
                <a:t>Clustered Index data is stored in sorted order by the Clustering key. In many cases, this is the same value as the Primary Key.</a:t>
              </a:r>
            </a:p>
          </p:txBody>
        </p:sp>
        <p:sp>
          <p:nvSpPr>
            <p:cNvPr id="41" name="TextBox 40"/>
            <p:cNvSpPr txBox="1"/>
            <p:nvPr/>
          </p:nvSpPr>
          <p:spPr>
            <a:xfrm>
              <a:off x="7006438" y="881863"/>
              <a:ext cx="2339283" cy="468972"/>
            </a:xfrm>
            <a:prstGeom prst="rect">
              <a:avLst/>
            </a:prstGeom>
            <a:noFill/>
          </p:spPr>
          <p:txBody>
            <a:bodyPr wrap="square" rtlCol="0">
              <a:spAutoFit/>
            </a:bodyPr>
            <a:lstStyle/>
            <a:p>
              <a:pPr algn="ctr" defTabSz="914225">
                <a:defRPr/>
              </a:pPr>
              <a:r>
                <a:rPr lang="en-US" sz="2400" kern="0" dirty="0">
                  <a:solidFill>
                    <a:srgbClr val="2A2954"/>
                  </a:solidFill>
                  <a:latin typeface="Segoe UI"/>
                </a:rPr>
                <a:t>Heap</a:t>
              </a:r>
            </a:p>
          </p:txBody>
        </p:sp>
        <p:sp>
          <p:nvSpPr>
            <p:cNvPr id="68" name="TextBox 67"/>
            <p:cNvSpPr txBox="1"/>
            <p:nvPr/>
          </p:nvSpPr>
          <p:spPr>
            <a:xfrm>
              <a:off x="466911" y="1697006"/>
              <a:ext cx="5787133" cy="1200329"/>
            </a:xfrm>
            <a:prstGeom prst="rect">
              <a:avLst/>
            </a:prstGeom>
            <a:noFill/>
          </p:spPr>
          <p:txBody>
            <a:bodyPr wrap="square" rtlCol="0">
              <a:spAutoFit/>
            </a:bodyPr>
            <a:lstStyle/>
            <a:p>
              <a:pPr defTabSz="914225">
                <a:defRPr/>
              </a:pPr>
              <a:r>
                <a:rPr lang="en-US" sz="2400" kern="0" dirty="0">
                  <a:solidFill>
                    <a:sysClr val="windowText" lastClr="000000"/>
                  </a:solidFill>
                  <a:latin typeface="Segoe UI"/>
                </a:rPr>
                <a:t>Data stored in a Heap is not stored in any order and normally does not have a Primary Key.</a:t>
              </a:r>
            </a:p>
          </p:txBody>
        </p:sp>
        <p:pic>
          <p:nvPicPr>
            <p:cNvPr id="3" name="Picture 2">
              <a:extLst>
                <a:ext uri="{FF2B5EF4-FFF2-40B4-BE49-F238E27FC236}">
                  <a16:creationId xmlns:a16="http://schemas.microsoft.com/office/drawing/2014/main" id="{4504DE05-4E33-4C5E-6AD6-C35C5B4F718A}"/>
                </a:ext>
              </a:extLst>
            </p:cNvPr>
            <p:cNvPicPr>
              <a:picLocks noChangeAspect="1"/>
            </p:cNvPicPr>
            <p:nvPr/>
          </p:nvPicPr>
          <p:blipFill>
            <a:blip r:embed="rId3"/>
            <a:stretch>
              <a:fillRect/>
            </a:stretch>
          </p:blipFill>
          <p:spPr>
            <a:xfrm>
              <a:off x="6665445" y="1350835"/>
              <a:ext cx="3134162" cy="2095792"/>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E7DAB2AF-0958-20F3-4F0C-09F386578B56}"/>
                </a:ext>
              </a:extLst>
            </p:cNvPr>
            <p:cNvPicPr>
              <a:picLocks noChangeAspect="1"/>
            </p:cNvPicPr>
            <p:nvPr/>
          </p:nvPicPr>
          <p:blipFill>
            <a:blip r:embed="rId4"/>
            <a:stretch>
              <a:fillRect/>
            </a:stretch>
          </p:blipFill>
          <p:spPr>
            <a:xfrm>
              <a:off x="6665445" y="4418437"/>
              <a:ext cx="3134162" cy="2148576"/>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21504933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5: Columnstore Indexes</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Understand the differences between rowstore and Columnstore indexes.</a:t>
            </a:r>
          </a:p>
          <a:p>
            <a:r>
              <a:rPr lang="en-US"/>
              <a:t>Understand the primary use case for Columnstore indexes.</a:t>
            </a:r>
          </a:p>
          <a:p>
            <a:r>
              <a:rPr lang="en-US"/>
              <a:t>Examine and monitor Columnstore index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tx1"/>
                </a:solidFill>
              </a:rPr>
              <a:t>Rowstore INDEX design</a:t>
            </a:r>
          </a:p>
        </p:txBody>
      </p:sp>
      <p:sp>
        <p:nvSpPr>
          <p:cNvPr id="3" name="Content Placeholder 2">
            <a:extLst>
              <a:ext uri="{FF2B5EF4-FFF2-40B4-BE49-F238E27FC236}">
                <a16:creationId xmlns:a16="http://schemas.microsoft.com/office/drawing/2014/main" id="{B563F7B7-5821-482F-94D3-83A28B00C545}"/>
              </a:ext>
            </a:extLst>
          </p:cNvPr>
          <p:cNvSpPr>
            <a:spLocks noGrp="1"/>
          </p:cNvSpPr>
          <p:nvPr>
            <p:ph sz="quarter" idx="13"/>
          </p:nvPr>
        </p:nvSpPr>
        <p:spPr/>
        <p:txBody>
          <a:bodyPr/>
          <a:lstStyle/>
          <a:p>
            <a:r>
              <a:rPr lang="en-US" dirty="0"/>
              <a:t>Up to 1,000 indexes per table</a:t>
            </a:r>
          </a:p>
          <a:p>
            <a:r>
              <a:rPr lang="en-US" dirty="0"/>
              <a:t>Up to 16 columns for index key</a:t>
            </a:r>
          </a:p>
          <a:p>
            <a:r>
              <a:rPr lang="en-US" dirty="0"/>
              <a:t>900 bytes per clustered index</a:t>
            </a:r>
          </a:p>
          <a:p>
            <a:r>
              <a:rPr lang="en-US" dirty="0"/>
              <a:t>1700 bytes per non-clustered index</a:t>
            </a:r>
          </a:p>
          <a:p>
            <a:pPr marL="0" indent="0">
              <a:buNone/>
            </a:pPr>
            <a:endParaRPr lang="en-US" dirty="0"/>
          </a:p>
        </p:txBody>
      </p:sp>
      <p:sp>
        <p:nvSpPr>
          <p:cNvPr id="6" name="Rectangular Callout 5"/>
          <p:cNvSpPr/>
          <p:nvPr/>
        </p:nvSpPr>
        <p:spPr bwMode="auto">
          <a:xfrm>
            <a:off x="6860044" y="1195172"/>
            <a:ext cx="4102868" cy="3091516"/>
          </a:xfrm>
          <a:prstGeom prst="wedgeRectCallout">
            <a:avLst>
              <a:gd name="adj1" fmla="val -89312"/>
              <a:gd name="adj2" fmla="val -19302"/>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Regular types of indexes (Clustered / Non-Clustered) wouldn’t be able to handle the workload.</a:t>
            </a:r>
          </a:p>
          <a:p>
            <a:pPr algn="ctr" defTabSz="914102">
              <a:lnSpc>
                <a:spcPct val="90000"/>
              </a:lnSpc>
            </a:pPr>
            <a:r>
              <a:rPr lang="en-US" sz="2350" dirty="0">
                <a:gradFill>
                  <a:gsLst>
                    <a:gs pos="0">
                      <a:srgbClr val="FFFFFF"/>
                    </a:gs>
                    <a:gs pos="100000">
                      <a:srgbClr val="FFFFFF"/>
                    </a:gs>
                  </a:gsLst>
                  <a:lin ang="5400000" scaled="0"/>
                </a:gradFill>
                <a:ea typeface="Segoe UI" pitchFamily="34" charset="0"/>
                <a:cs typeface="Segoe UI" pitchFamily="34" charset="0"/>
              </a:rPr>
              <a:t>I</a:t>
            </a:r>
            <a:r>
              <a:rPr lang="en-US" sz="2353" dirty="0">
                <a:gradFill>
                  <a:gsLst>
                    <a:gs pos="0">
                      <a:srgbClr val="FFFFFF"/>
                    </a:gs>
                    <a:gs pos="100000">
                      <a:srgbClr val="FFFFFF"/>
                    </a:gs>
                  </a:gsLst>
                  <a:lin ang="5400000" scaled="0"/>
                </a:gradFill>
                <a:ea typeface="Segoe UI" pitchFamily="34" charset="0"/>
                <a:cs typeface="Segoe UI" pitchFamily="34" charset="0"/>
              </a:rPr>
              <a:t>t will be impractical to create indexes on all individual columns, or to create all possible column combinations.</a:t>
            </a:r>
          </a:p>
        </p:txBody>
      </p:sp>
    </p:spTree>
    <p:extLst>
      <p:ext uri="{BB962C8B-B14F-4D97-AF65-F5344CB8AC3E}">
        <p14:creationId xmlns:p14="http://schemas.microsoft.com/office/powerpoint/2010/main" val="166776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E1B916-A6AA-449C-94A0-4AF8149D1756}"/>
              </a:ext>
            </a:extLst>
          </p:cNvPr>
          <p:cNvSpPr>
            <a:spLocks noGrp="1"/>
          </p:cNvSpPr>
          <p:nvPr>
            <p:ph type="title"/>
          </p:nvPr>
        </p:nvSpPr>
        <p:spPr/>
        <p:txBody>
          <a:bodyPr/>
          <a:lstStyle/>
          <a:p>
            <a:r>
              <a:rPr lang="en-GB" dirty="0" err="1"/>
              <a:t>RowStore</a:t>
            </a:r>
            <a:r>
              <a:rPr lang="en-GB" dirty="0"/>
              <a:t> vs </a:t>
            </a:r>
            <a:r>
              <a:rPr lang="en-GB" dirty="0" err="1"/>
              <a:t>ColumnStore</a:t>
            </a:r>
            <a:endParaRPr lang="en-US" dirty="0"/>
          </a:p>
        </p:txBody>
      </p:sp>
      <p:grpSp>
        <p:nvGrpSpPr>
          <p:cNvPr id="6" name="Group 5">
            <a:extLst>
              <a:ext uri="{FF2B5EF4-FFF2-40B4-BE49-F238E27FC236}">
                <a16:creationId xmlns:a16="http://schemas.microsoft.com/office/drawing/2014/main" id="{0E9CF536-2769-4A3D-B7DA-869A320DA020}"/>
              </a:ext>
            </a:extLst>
          </p:cNvPr>
          <p:cNvGrpSpPr/>
          <p:nvPr/>
        </p:nvGrpSpPr>
        <p:grpSpPr>
          <a:xfrm>
            <a:off x="882837" y="1354694"/>
            <a:ext cx="4894862" cy="4894862"/>
            <a:chOff x="300507" y="995966"/>
            <a:chExt cx="3600000" cy="3600000"/>
          </a:xfrm>
        </p:grpSpPr>
        <p:sp>
          <p:nvSpPr>
            <p:cNvPr id="7" name="Rectangle 6">
              <a:extLst>
                <a:ext uri="{FF2B5EF4-FFF2-40B4-BE49-F238E27FC236}">
                  <a16:creationId xmlns:a16="http://schemas.microsoft.com/office/drawing/2014/main" id="{1BC9BD16-36E5-44B1-8ED6-9C8CD308D236}"/>
                </a:ext>
              </a:extLst>
            </p:cNvPr>
            <p:cNvSpPr/>
            <p:nvPr/>
          </p:nvSpPr>
          <p:spPr>
            <a:xfrm>
              <a:off x="300507" y="995966"/>
              <a:ext cx="3600000" cy="3600000"/>
            </a:xfrm>
            <a:prstGeom prst="rect">
              <a:avLst/>
            </a:prstGeom>
            <a:noFill/>
            <a:ln>
              <a:solidFill>
                <a:srgbClr val="69C8CA"/>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D663D9B-E287-49C1-8047-255FD1C71FDE}"/>
                </a:ext>
              </a:extLst>
            </p:cNvPr>
            <p:cNvSpPr/>
            <p:nvPr/>
          </p:nvSpPr>
          <p:spPr>
            <a:xfrm>
              <a:off x="660507" y="1212451"/>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99451FDB-321B-4553-B1B3-2307DBAF4D18}"/>
                </a:ext>
              </a:extLst>
            </p:cNvPr>
            <p:cNvSpPr/>
            <p:nvPr/>
          </p:nvSpPr>
          <p:spPr>
            <a:xfrm>
              <a:off x="660507" y="1772900"/>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864D438B-2134-45B2-AF50-CD238CA87FB9}"/>
                </a:ext>
              </a:extLst>
            </p:cNvPr>
            <p:cNvSpPr/>
            <p:nvPr/>
          </p:nvSpPr>
          <p:spPr>
            <a:xfrm>
              <a:off x="660507" y="2333349"/>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C991BDF6-EDFD-4FF3-A82F-1AE513BE737E}"/>
                </a:ext>
              </a:extLst>
            </p:cNvPr>
            <p:cNvSpPr/>
            <p:nvPr/>
          </p:nvSpPr>
          <p:spPr>
            <a:xfrm>
              <a:off x="660507" y="2893798"/>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48742638-EB4D-49C0-9031-C41AE9038639}"/>
                </a:ext>
              </a:extLst>
            </p:cNvPr>
            <p:cNvSpPr/>
            <p:nvPr/>
          </p:nvSpPr>
          <p:spPr>
            <a:xfrm>
              <a:off x="660507" y="3454247"/>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26754D82-0BA1-4AB3-A3D0-BC757CA3EC4E}"/>
                </a:ext>
              </a:extLst>
            </p:cNvPr>
            <p:cNvSpPr/>
            <p:nvPr/>
          </p:nvSpPr>
          <p:spPr>
            <a:xfrm>
              <a:off x="660507" y="4014694"/>
              <a:ext cx="288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BEBBB4D8-FD28-4A83-AFDD-AEAB3A00039B}"/>
              </a:ext>
            </a:extLst>
          </p:cNvPr>
          <p:cNvGrpSpPr/>
          <p:nvPr/>
        </p:nvGrpSpPr>
        <p:grpSpPr>
          <a:xfrm rot="5400000">
            <a:off x="6658775" y="1354694"/>
            <a:ext cx="4894862" cy="4894862"/>
            <a:chOff x="300507" y="995966"/>
            <a:chExt cx="3600000" cy="3600000"/>
          </a:xfrm>
        </p:grpSpPr>
        <p:sp>
          <p:nvSpPr>
            <p:cNvPr id="15" name="Rectangle 14">
              <a:extLst>
                <a:ext uri="{FF2B5EF4-FFF2-40B4-BE49-F238E27FC236}">
                  <a16:creationId xmlns:a16="http://schemas.microsoft.com/office/drawing/2014/main" id="{E3F6ACB1-2A10-49BC-9073-3BDD8368E6AA}"/>
                </a:ext>
              </a:extLst>
            </p:cNvPr>
            <p:cNvSpPr/>
            <p:nvPr/>
          </p:nvSpPr>
          <p:spPr>
            <a:xfrm>
              <a:off x="300507" y="995966"/>
              <a:ext cx="3600000" cy="3600000"/>
            </a:xfrm>
            <a:prstGeom prst="rect">
              <a:avLst/>
            </a:prstGeom>
            <a:noFill/>
            <a:ln>
              <a:solidFill>
                <a:srgbClr val="69C8CA"/>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C0102F28-49E8-4D68-B0C2-60A9DA63E48E}"/>
                </a:ext>
              </a:extLst>
            </p:cNvPr>
            <p:cNvSpPr/>
            <p:nvPr/>
          </p:nvSpPr>
          <p:spPr>
            <a:xfrm>
              <a:off x="660507" y="1212451"/>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F18DD4D4-A730-4B40-83DA-CEE3D3C2002F}"/>
                </a:ext>
              </a:extLst>
            </p:cNvPr>
            <p:cNvSpPr/>
            <p:nvPr/>
          </p:nvSpPr>
          <p:spPr>
            <a:xfrm>
              <a:off x="660507" y="1772900"/>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Rectangle 17">
              <a:extLst>
                <a:ext uri="{FF2B5EF4-FFF2-40B4-BE49-F238E27FC236}">
                  <a16:creationId xmlns:a16="http://schemas.microsoft.com/office/drawing/2014/main" id="{664BE549-BA8F-44DB-A1E0-83DC6D7E6299}"/>
                </a:ext>
              </a:extLst>
            </p:cNvPr>
            <p:cNvSpPr/>
            <p:nvPr/>
          </p:nvSpPr>
          <p:spPr>
            <a:xfrm>
              <a:off x="660507" y="2333349"/>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506DBB35-CDF8-47D0-B1E2-260D5A615F38}"/>
                </a:ext>
              </a:extLst>
            </p:cNvPr>
            <p:cNvSpPr/>
            <p:nvPr/>
          </p:nvSpPr>
          <p:spPr>
            <a:xfrm>
              <a:off x="660507" y="2893798"/>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Rectangle 19">
              <a:extLst>
                <a:ext uri="{FF2B5EF4-FFF2-40B4-BE49-F238E27FC236}">
                  <a16:creationId xmlns:a16="http://schemas.microsoft.com/office/drawing/2014/main" id="{D72262B9-32ED-4554-8047-8650DA6F6105}"/>
                </a:ext>
              </a:extLst>
            </p:cNvPr>
            <p:cNvSpPr/>
            <p:nvPr/>
          </p:nvSpPr>
          <p:spPr>
            <a:xfrm>
              <a:off x="660507" y="3454247"/>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F2C1DA2E-3E93-4844-951C-25E86A5B6A9C}"/>
                </a:ext>
              </a:extLst>
            </p:cNvPr>
            <p:cNvSpPr/>
            <p:nvPr/>
          </p:nvSpPr>
          <p:spPr>
            <a:xfrm>
              <a:off x="660507" y="4014694"/>
              <a:ext cx="288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2448" b="0" i="0" u="none" strike="noStrike" kern="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31011450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Table 88">
            <a:extLst>
              <a:ext uri="{FF2B5EF4-FFF2-40B4-BE49-F238E27FC236}">
                <a16:creationId xmlns:a16="http://schemas.microsoft.com/office/drawing/2014/main" id="{95E76997-B3CA-4312-861A-CB2086D8DA18}"/>
              </a:ext>
            </a:extLst>
          </p:cNvPr>
          <p:cNvGraphicFramePr>
            <a:graphicFrameLocks noGrp="1"/>
          </p:cNvGraphicFramePr>
          <p:nvPr/>
        </p:nvGraphicFramePr>
        <p:xfrm>
          <a:off x="5486451" y="3225133"/>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73" name="Table 72">
            <a:extLst>
              <a:ext uri="{FF2B5EF4-FFF2-40B4-BE49-F238E27FC236}">
                <a16:creationId xmlns:a16="http://schemas.microsoft.com/office/drawing/2014/main" id="{CB5C4395-7DAC-4E1D-BB45-F370CE88B301}"/>
              </a:ext>
            </a:extLst>
          </p:cNvPr>
          <p:cNvGraphicFramePr>
            <a:graphicFrameLocks noGrp="1"/>
          </p:cNvGraphicFramePr>
          <p:nvPr/>
        </p:nvGraphicFramePr>
        <p:xfrm>
          <a:off x="3090175" y="3261883"/>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4" name="Table 3">
            <a:extLst>
              <a:ext uri="{FF2B5EF4-FFF2-40B4-BE49-F238E27FC236}">
                <a16:creationId xmlns:a16="http://schemas.microsoft.com/office/drawing/2014/main" id="{C5367C8F-FFCA-41FF-BEB0-C3E881E05880}"/>
              </a:ext>
            </a:extLst>
          </p:cNvPr>
          <p:cNvGraphicFramePr>
            <a:graphicFrameLocks noGrp="1"/>
          </p:cNvGraphicFramePr>
          <p:nvPr/>
        </p:nvGraphicFramePr>
        <p:xfrm>
          <a:off x="197621" y="2058802"/>
          <a:ext cx="2612051" cy="3649409"/>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gridCol w="762000">
                  <a:extLst>
                    <a:ext uri="{9D8B030D-6E8A-4147-A177-3AD203B41FA5}">
                      <a16:colId xmlns:a16="http://schemas.microsoft.com/office/drawing/2014/main" val="778469355"/>
                    </a:ext>
                  </a:extLst>
                </a:gridCol>
                <a:gridCol w="523875">
                  <a:extLst>
                    <a:ext uri="{9D8B030D-6E8A-4147-A177-3AD203B41FA5}">
                      <a16:colId xmlns:a16="http://schemas.microsoft.com/office/drawing/2014/main" val="3068263925"/>
                    </a:ext>
                  </a:extLst>
                </a:gridCol>
                <a:gridCol w="6477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2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r>
                        <a:rPr lang="en-US" sz="1000" dirty="0"/>
                        <a:t>85395</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V</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kumimoji="0" lang="en-US" sz="1000" u="none" strike="noStrike" kern="1200" cap="none" spc="0" normalizeH="0" baseline="0" noProof="0" dirty="0">
                          <a:ln>
                            <a:noFill/>
                          </a:ln>
                          <a:effectLst/>
                          <a:uLnTx/>
                          <a:uFillTx/>
                        </a:rPr>
                        <a:t>86881</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D</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57995973"/>
                  </a:ext>
                </a:extLst>
              </a:tr>
              <a:tr h="220938">
                <a:tc>
                  <a:txBody>
                    <a:bodyPr/>
                    <a:lstStyle/>
                    <a:p>
                      <a:r>
                        <a:rPr kumimoji="0" lang="en-US" sz="1000" u="none" strike="noStrike" kern="1200" cap="none" spc="0" normalizeH="0" baseline="0" noProof="0" dirty="0">
                          <a:ln>
                            <a:noFill/>
                          </a:ln>
                          <a:effectLst/>
                          <a:uLnTx/>
                          <a:uFillTx/>
                        </a:rPr>
                        <a:t>9308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3-2018</a:t>
                      </a:r>
                    </a:p>
                  </a:txBody>
                  <a:tcPr marL="54478" marR="54478" marT="27239" marB="27239"/>
                </a:tc>
                <a:tc>
                  <a:txBody>
                    <a:bodyPr/>
                    <a:lstStyle/>
                    <a:p>
                      <a:r>
                        <a:rPr lang="en-US" sz="1000" dirty="0"/>
                        <a:t>R</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220938">
                <a:tc>
                  <a:txBody>
                    <a:bodyPr/>
                    <a:lstStyle/>
                    <a:p>
                      <a:r>
                        <a:rPr kumimoji="0" lang="en-US" sz="1000" u="none" strike="noStrike" kern="1200" cap="none" spc="0" normalizeH="0" baseline="0" noProof="0" dirty="0">
                          <a:ln>
                            <a:noFill/>
                          </a:ln>
                          <a:effectLst/>
                          <a:uLnTx/>
                          <a:uFillTx/>
                        </a:rPr>
                        <a:t>94156</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S</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220938">
                <a:tc>
                  <a:txBody>
                    <a:bodyPr/>
                    <a:lstStyle/>
                    <a:p>
                      <a:r>
                        <a:rPr kumimoji="0" lang="en-US" sz="1000" u="none" strike="noStrike" kern="1200" cap="none" spc="0" normalizeH="0" baseline="0" noProof="0" dirty="0">
                          <a:ln>
                            <a:noFill/>
                          </a:ln>
                          <a:effectLst/>
                          <a:uLnTx/>
                          <a:uFillTx/>
                        </a:rPr>
                        <a:t>9625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Q</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R</a:t>
                      </a:r>
                    </a:p>
                  </a:txBody>
                  <a:tcPr marL="54478" marR="54478" marT="27239" marB="27239"/>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40898676"/>
                  </a:ext>
                </a:extLst>
              </a:tr>
              <a:tr h="220938">
                <a:tc>
                  <a:txBody>
                    <a:bodyPr/>
                    <a:lstStyle/>
                    <a:p>
                      <a:r>
                        <a:rPr kumimoji="0" lang="en-US" sz="1000" u="none" strike="noStrike" kern="1200" cap="none" spc="0" normalizeH="0" baseline="0" noProof="0" dirty="0">
                          <a:ln>
                            <a:noFill/>
                          </a:ln>
                          <a:effectLst/>
                          <a:uLnTx/>
                          <a:uFillTx/>
                        </a:rPr>
                        <a:t>98015</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23186010"/>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633975"/>
                  </a:ext>
                </a:extLst>
              </a:tr>
              <a:tr h="220938">
                <a:tc>
                  <a:txBody>
                    <a:bodyPr/>
                    <a:lstStyle/>
                    <a:p>
                      <a:r>
                        <a:rPr kumimoji="0" lang="en-US" sz="1000" u="none" strike="noStrike" kern="1200" cap="none" spc="0" normalizeH="0" baseline="0" noProof="0" dirty="0">
                          <a:ln>
                            <a:noFill/>
                          </a:ln>
                          <a:effectLst/>
                          <a:uLnTx/>
                          <a:uFillTx/>
                        </a:rPr>
                        <a:t>98979</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Z</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1869205"/>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63327469"/>
                  </a:ext>
                </a:extLst>
              </a:tr>
              <a:tr h="220938">
                <a:tc>
                  <a:txBody>
                    <a:bodyPr/>
                    <a:lstStyle/>
                    <a:p>
                      <a:pPr algn="ctr"/>
                      <a:r>
                        <a:rPr lang="en-US" sz="1000" dirty="0"/>
                        <a:t>…</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B w="12700" cap="flat" cmpd="sng" algn="ctr">
                      <a:solidFill>
                        <a:schemeClr val="tx1"/>
                      </a:solidFill>
                      <a:prstDash val="solid"/>
                      <a:round/>
                      <a:headEnd type="none" w="med" len="med"/>
                      <a:tailEnd type="none" w="med" len="med"/>
                    </a:lnB>
                  </a:tcPr>
                </a:tc>
                <a:tc>
                  <a:txBody>
                    <a:bodyPr/>
                    <a:lstStyle/>
                    <a:p>
                      <a:pPr algn="ctr"/>
                      <a:r>
                        <a:rPr lang="en-US" sz="1000" dirty="0"/>
                        <a:t>…</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972440"/>
                  </a:ext>
                </a:extLst>
              </a:tr>
            </a:tbl>
          </a:graphicData>
        </a:graphic>
      </p:graphicFrame>
      <p:sp>
        <p:nvSpPr>
          <p:cNvPr id="11" name="Text Placeholder 5">
            <a:extLst>
              <a:ext uri="{FF2B5EF4-FFF2-40B4-BE49-F238E27FC236}">
                <a16:creationId xmlns:a16="http://schemas.microsoft.com/office/drawing/2014/main" id="{2B20FE4F-DBE5-4CE2-A821-05565CF79BD8}"/>
              </a:ext>
            </a:extLst>
          </p:cNvPr>
          <p:cNvSpPr>
            <a:spLocks noGrp="1"/>
          </p:cNvSpPr>
          <p:nvPr>
            <p:ph type="body" sz="quarter" idx="10"/>
          </p:nvPr>
        </p:nvSpPr>
        <p:spPr>
          <a:xfrm>
            <a:off x="204532" y="1520496"/>
            <a:ext cx="2380266" cy="249620"/>
          </a:xfrm>
        </p:spPr>
        <p:txBody>
          <a:bodyPr/>
          <a:lstStyle/>
          <a:p>
            <a:pPr>
              <a:spcBef>
                <a:spcPts val="600"/>
              </a:spcBef>
            </a:pPr>
            <a:r>
              <a:rPr lang="en-US" sz="1600" dirty="0">
                <a:solidFill>
                  <a:schemeClr val="tx2"/>
                </a:solidFill>
              </a:rPr>
              <a:t>Logical table structure</a:t>
            </a:r>
          </a:p>
        </p:txBody>
      </p:sp>
      <p:sp>
        <p:nvSpPr>
          <p:cNvPr id="90" name="Title 4">
            <a:extLst>
              <a:ext uri="{FF2B5EF4-FFF2-40B4-BE49-F238E27FC236}">
                <a16:creationId xmlns:a16="http://schemas.microsoft.com/office/drawing/2014/main" id="{B17E7898-D75C-4CD2-97F0-3290FDA47CB1}"/>
              </a:ext>
            </a:extLst>
          </p:cNvPr>
          <p:cNvSpPr>
            <a:spLocks noGrp="1"/>
          </p:cNvSpPr>
          <p:nvPr>
            <p:ph type="title"/>
          </p:nvPr>
        </p:nvSpPr>
        <p:spPr>
          <a:xfrm>
            <a:off x="426423" y="106641"/>
            <a:ext cx="9759567" cy="739343"/>
          </a:xfrm>
        </p:spPr>
        <p:txBody>
          <a:bodyPr/>
          <a:lstStyle/>
          <a:p>
            <a:r>
              <a:rPr lang="en-US" sz="3200" spc="-50" dirty="0">
                <a:solidFill>
                  <a:schemeClr val="tx1"/>
                </a:solidFill>
              </a:rPr>
              <a:t>Rowstore vs Columnstore Tables </a:t>
            </a:r>
          </a:p>
        </p:txBody>
      </p:sp>
      <p:cxnSp>
        <p:nvCxnSpPr>
          <p:cNvPr id="112" name="Straight Connector 111">
            <a:extLst>
              <a:ext uri="{FF2B5EF4-FFF2-40B4-BE49-F238E27FC236}">
                <a16:creationId xmlns:a16="http://schemas.microsoft.com/office/drawing/2014/main" id="{50D09001-D443-4C7A-88A6-954ACCAF57F8}"/>
              </a:ext>
            </a:extLst>
          </p:cNvPr>
          <p:cNvCxnSpPr>
            <a:cxnSpLocks/>
          </p:cNvCxnSpPr>
          <p:nvPr/>
        </p:nvCxnSpPr>
        <p:spPr>
          <a:xfrm>
            <a:off x="2874452" y="888841"/>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Text Placeholder 5">
            <a:extLst>
              <a:ext uri="{FF2B5EF4-FFF2-40B4-BE49-F238E27FC236}">
                <a16:creationId xmlns:a16="http://schemas.microsoft.com/office/drawing/2014/main" id="{E9E7A243-76C8-4D10-88EF-1A02E96163AD}"/>
              </a:ext>
            </a:extLst>
          </p:cNvPr>
          <p:cNvSpPr txBox="1">
            <a:spLocks/>
          </p:cNvSpPr>
          <p:nvPr/>
        </p:nvSpPr>
        <p:spPr>
          <a:xfrm>
            <a:off x="3091448" y="930321"/>
            <a:ext cx="3975388"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Non-clustered row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135" name="Text Placeholder 5">
            <a:extLst>
              <a:ext uri="{FF2B5EF4-FFF2-40B4-BE49-F238E27FC236}">
                <a16:creationId xmlns:a16="http://schemas.microsoft.com/office/drawing/2014/main" id="{85755ABA-F415-4E3A-8C56-FE4762C7F4BF}"/>
              </a:ext>
            </a:extLst>
          </p:cNvPr>
          <p:cNvSpPr txBox="1">
            <a:spLocks/>
          </p:cNvSpPr>
          <p:nvPr/>
        </p:nvSpPr>
        <p:spPr>
          <a:xfrm>
            <a:off x="2952823" y="4916996"/>
            <a:ext cx="4114013" cy="1713739"/>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is stored in a B-tree index structure for performant lookup queries for particular rows.</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Clustered rowstore index: The leaf nodes in the structure store the data values in a row (as pictured above)</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Non-clustered (secondary) rowstore index:  The leaf nodes store pointers to the data values, not the values themselves</a:t>
            </a:r>
          </a:p>
        </p:txBody>
      </p:sp>
      <p:graphicFrame>
        <p:nvGraphicFramePr>
          <p:cNvPr id="54" name="Table 53">
            <a:extLst>
              <a:ext uri="{FF2B5EF4-FFF2-40B4-BE49-F238E27FC236}">
                <a16:creationId xmlns:a16="http://schemas.microsoft.com/office/drawing/2014/main" id="{07F4BC5A-BA79-484D-8866-E62D27544CB5}"/>
              </a:ext>
            </a:extLst>
          </p:cNvPr>
          <p:cNvGraphicFramePr>
            <a:graphicFrameLocks noGrp="1"/>
          </p:cNvGraphicFramePr>
          <p:nvPr/>
        </p:nvGraphicFramePr>
        <p:xfrm>
          <a:off x="3896265" y="1527067"/>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1</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2</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5" name="Table 54">
            <a:extLst>
              <a:ext uri="{FF2B5EF4-FFF2-40B4-BE49-F238E27FC236}">
                <a16:creationId xmlns:a16="http://schemas.microsoft.com/office/drawing/2014/main" id="{BC8C929C-716A-4B92-B5FA-8460D0DD188B}"/>
              </a:ext>
            </a:extLst>
          </p:cNvPr>
          <p:cNvGraphicFramePr>
            <a:graphicFrameLocks noGrp="1"/>
          </p:cNvGraphicFramePr>
          <p:nvPr/>
        </p:nvGraphicFramePr>
        <p:xfrm>
          <a:off x="2979482" y="2527994"/>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5</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6</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6" name="Table 55">
            <a:extLst>
              <a:ext uri="{FF2B5EF4-FFF2-40B4-BE49-F238E27FC236}">
                <a16:creationId xmlns:a16="http://schemas.microsoft.com/office/drawing/2014/main" id="{7C30944A-A412-4F5C-B1FE-3276971AF5C5}"/>
              </a:ext>
            </a:extLst>
          </p:cNvPr>
          <p:cNvGraphicFramePr>
            <a:graphicFrameLocks noGrp="1"/>
          </p:cNvGraphicFramePr>
          <p:nvPr/>
        </p:nvGraphicFramePr>
        <p:xfrm>
          <a:off x="5350992" y="2523729"/>
          <a:ext cx="1694198" cy="54776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PageId</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algn="r" fontAlgn="b"/>
                      <a:r>
                        <a:rPr lang="en-US" sz="1100" u="none" strike="noStrike" dirty="0">
                          <a:effectLst/>
                        </a:rPr>
                        <a:t>9813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007</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algn="r" fontAlgn="b"/>
                      <a:r>
                        <a:rPr lang="en-US" sz="1100" u="none" strike="noStrike" dirty="0">
                          <a:effectLst/>
                        </a:rPr>
                        <a:t>98979</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00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2157967"/>
                  </a:ext>
                </a:extLst>
              </a:tr>
            </a:tbl>
          </a:graphicData>
        </a:graphic>
      </p:graphicFrame>
      <p:graphicFrame>
        <p:nvGraphicFramePr>
          <p:cNvPr id="57" name="Table 56">
            <a:extLst>
              <a:ext uri="{FF2B5EF4-FFF2-40B4-BE49-F238E27FC236}">
                <a16:creationId xmlns:a16="http://schemas.microsoft.com/office/drawing/2014/main" id="{727E6AF6-7C8A-4704-A7FC-0B6D80EAC8AA}"/>
              </a:ext>
            </a:extLst>
          </p:cNvPr>
          <p:cNvGraphicFramePr>
            <a:graphicFrameLocks noGrp="1"/>
          </p:cNvGraphicFramePr>
          <p:nvPr/>
        </p:nvGraphicFramePr>
        <p:xfrm>
          <a:off x="2979482" y="3371985"/>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8214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tc>
                <a:tc>
                  <a:txBody>
                    <a:bodyPr/>
                    <a:lstStyle/>
                    <a:p>
                      <a:r>
                        <a:rPr lang="en-US" sz="1000" dirty="0"/>
                        <a:t>Q</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85016</a:t>
                      </a:r>
                    </a:p>
                  </a:txBody>
                  <a:tcPr marL="54478" marR="54478" marT="27239" marB="27239">
                    <a:lnL w="12700" cap="flat" cmpd="sng" algn="ctr">
                      <a:solidFill>
                        <a:schemeClr val="tx1"/>
                      </a:solidFill>
                      <a:prstDash val="solid"/>
                      <a:round/>
                      <a:headEnd type="none" w="med" len="med"/>
                      <a:tailEnd type="none" w="med" len="med"/>
                    </a:lnL>
                  </a:tcPr>
                </a:tc>
                <a:tc>
                  <a:txBody>
                    <a:bodyPr/>
                    <a:lstStyle/>
                    <a:p>
                      <a:r>
                        <a:rPr lang="en-US" sz="1000" dirty="0"/>
                        <a:t>11-2-2018</a:t>
                      </a:r>
                    </a:p>
                  </a:txBody>
                  <a:tcPr marL="54478" marR="54478" marT="27239" marB="27239"/>
                </a:tc>
                <a:tc>
                  <a:txBody>
                    <a:bodyPr/>
                    <a:lstStyle/>
                    <a:p>
                      <a:r>
                        <a:rPr lang="en-US" sz="1000" dirty="0"/>
                        <a:t>V</a:t>
                      </a:r>
                    </a:p>
                  </a:txBody>
                  <a:tcPr marL="54478" marR="54478" marT="27239" marB="27239"/>
                </a:tc>
                <a:tc>
                  <a:txBody>
                    <a:bodyPr/>
                    <a:lstStyle/>
                    <a:p>
                      <a:r>
                        <a:rPr lang="en-US" sz="1000" dirty="0"/>
                        <a:t>UK</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85018</a:t>
                      </a:r>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Q</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SP</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graphicFrame>
        <p:nvGraphicFramePr>
          <p:cNvPr id="59" name="Table 58">
            <a:extLst>
              <a:ext uri="{FF2B5EF4-FFF2-40B4-BE49-F238E27FC236}">
                <a16:creationId xmlns:a16="http://schemas.microsoft.com/office/drawing/2014/main" id="{C4AA2735-7470-4789-84A7-F76A77A43A58}"/>
              </a:ext>
            </a:extLst>
          </p:cNvPr>
          <p:cNvGraphicFramePr>
            <a:graphicFrameLocks noGrp="1"/>
          </p:cNvGraphicFramePr>
          <p:nvPr/>
        </p:nvGraphicFramePr>
        <p:xfrm>
          <a:off x="5467948" y="3378775"/>
          <a:ext cx="2319259" cy="998153"/>
        </p:xfrm>
        <a:graphic>
          <a:graphicData uri="http://schemas.openxmlformats.org/drawingml/2006/table">
            <a:tbl>
              <a:tblPr firstRow="1" bandRow="1">
                <a:tableStyleId>{69CF1AB2-1976-4502-BF36-3FF5EA218861}</a:tableStyleId>
              </a:tblPr>
              <a:tblGrid>
                <a:gridCol w="576859">
                  <a:extLst>
                    <a:ext uri="{9D8B030D-6E8A-4147-A177-3AD203B41FA5}">
                      <a16:colId xmlns:a16="http://schemas.microsoft.com/office/drawing/2014/main" val="2330257518"/>
                    </a:ext>
                  </a:extLst>
                </a:gridCol>
                <a:gridCol w="734400">
                  <a:extLst>
                    <a:ext uri="{9D8B030D-6E8A-4147-A177-3AD203B41FA5}">
                      <a16:colId xmlns:a16="http://schemas.microsoft.com/office/drawing/2014/main" val="778469355"/>
                    </a:ext>
                  </a:extLst>
                </a:gridCol>
                <a:gridCol w="460800">
                  <a:extLst>
                    <a:ext uri="{9D8B030D-6E8A-4147-A177-3AD203B41FA5}">
                      <a16:colId xmlns:a16="http://schemas.microsoft.com/office/drawing/2014/main" val="3068263925"/>
                    </a:ext>
                  </a:extLst>
                </a:gridCol>
                <a:gridCol w="547200">
                  <a:extLst>
                    <a:ext uri="{9D8B030D-6E8A-4147-A177-3AD203B41FA5}">
                      <a16:colId xmlns:a16="http://schemas.microsoft.com/office/drawing/2014/main" val="40476078"/>
                    </a:ext>
                  </a:extLst>
                </a:gridCol>
              </a:tblGrid>
              <a:tr h="335339">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98137</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T</a:t>
                      </a:r>
                    </a:p>
                  </a:txBody>
                  <a:tcPr marL="54478" marR="54478" marT="27239" marB="27239"/>
                </a:tc>
                <a:tc>
                  <a:txBody>
                    <a:bodyPr/>
                    <a:lstStyle/>
                    <a:p>
                      <a:r>
                        <a:rPr lang="en-US" sz="10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kumimoji="0" lang="en-US" sz="1000" u="none" strike="noStrike" kern="1200" cap="none" spc="0" normalizeH="0" baseline="0" noProof="0" dirty="0">
                          <a:ln>
                            <a:noFill/>
                          </a:ln>
                          <a:effectLst/>
                          <a:uLnTx/>
                          <a:uFillTx/>
                        </a:rPr>
                        <a:t>98310</a:t>
                      </a:r>
                      <a:endParaRPr lang="en-US" sz="1000" dirty="0"/>
                    </a:p>
                  </a:txBody>
                  <a:tcPr marL="54478" marR="54478" marT="27239" marB="27239">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1000" dirty="0"/>
                        <a:t>D</a:t>
                      </a:r>
                    </a:p>
                  </a:txBody>
                  <a:tcPr marL="54478" marR="54478" marT="27239" marB="27239"/>
                </a:tc>
                <a:tc>
                  <a:txBody>
                    <a:bodyPr/>
                    <a:lstStyle/>
                    <a:p>
                      <a:r>
                        <a:rPr lang="en-US" sz="10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kumimoji="0" lang="en-US" sz="1000" u="none" strike="noStrike" kern="1200" cap="none" spc="0" normalizeH="0" baseline="0" noProof="0" dirty="0">
                          <a:ln>
                            <a:noFill/>
                          </a:ln>
                          <a:effectLst/>
                          <a:uLnTx/>
                          <a:uFillTx/>
                        </a:rPr>
                        <a:t>98799</a:t>
                      </a:r>
                      <a:endParaRPr lang="en-US" sz="1000" dirty="0"/>
                    </a:p>
                  </a:txBody>
                  <a:tcPr marL="54478" marR="54478" marT="27239" marB="27239">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effectLst/>
                          <a:uLnTx/>
                          <a:uFillTx/>
                        </a:rPr>
                        <a:t>11-3-2018</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R</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1000" dirty="0"/>
                        <a:t>NL</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7040596"/>
                  </a:ext>
                </a:extLst>
              </a:tr>
            </a:tbl>
          </a:graphicData>
        </a:graphic>
      </p:graphicFrame>
      <p:cxnSp>
        <p:nvCxnSpPr>
          <p:cNvPr id="3" name="Straight Connector 2">
            <a:extLst>
              <a:ext uri="{FF2B5EF4-FFF2-40B4-BE49-F238E27FC236}">
                <a16:creationId xmlns:a16="http://schemas.microsoft.com/office/drawing/2014/main" id="{A9A316A7-74F6-4727-9A4E-88CFD131495C}"/>
              </a:ext>
            </a:extLst>
          </p:cNvPr>
          <p:cNvCxnSpPr>
            <a:cxnSpLocks/>
          </p:cNvCxnSpPr>
          <p:nvPr/>
        </p:nvCxnSpPr>
        <p:spPr>
          <a:xfrm flipH="1">
            <a:off x="4038454" y="2162666"/>
            <a:ext cx="249182" cy="30741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2AB102E-1500-4BE0-A3D7-8D6401C98A48}"/>
              </a:ext>
            </a:extLst>
          </p:cNvPr>
          <p:cNvCxnSpPr>
            <a:cxnSpLocks/>
          </p:cNvCxnSpPr>
          <p:nvPr/>
        </p:nvCxnSpPr>
        <p:spPr>
          <a:xfrm>
            <a:off x="5177120" y="2146662"/>
            <a:ext cx="254558" cy="287906"/>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03AEE5-4196-4E8F-8E13-44094D7C88D1}"/>
              </a:ext>
            </a:extLst>
          </p:cNvPr>
          <p:cNvCxnSpPr>
            <a:cxnSpLocks/>
          </p:cNvCxnSpPr>
          <p:nvPr/>
        </p:nvCxnSpPr>
        <p:spPr>
          <a:xfrm flipH="1">
            <a:off x="3479117" y="3097091"/>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4B68E0-B628-4505-BE67-CF509A8C5D89}"/>
              </a:ext>
            </a:extLst>
          </p:cNvPr>
          <p:cNvCxnSpPr>
            <a:cxnSpLocks/>
          </p:cNvCxnSpPr>
          <p:nvPr/>
        </p:nvCxnSpPr>
        <p:spPr>
          <a:xfrm>
            <a:off x="3969971" y="3097752"/>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Text Placeholder 5">
            <a:extLst>
              <a:ext uri="{FF2B5EF4-FFF2-40B4-BE49-F238E27FC236}">
                <a16:creationId xmlns:a16="http://schemas.microsoft.com/office/drawing/2014/main" id="{FAA71C64-FA68-4099-AB15-8DACE5E16401}"/>
              </a:ext>
            </a:extLst>
          </p:cNvPr>
          <p:cNvSpPr txBox="1">
            <a:spLocks/>
          </p:cNvSpPr>
          <p:nvPr/>
        </p:nvSpPr>
        <p:spPr>
          <a:xfrm>
            <a:off x="4216129" y="3039339"/>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86" name="Straight Connector 85">
            <a:extLst>
              <a:ext uri="{FF2B5EF4-FFF2-40B4-BE49-F238E27FC236}">
                <a16:creationId xmlns:a16="http://schemas.microsoft.com/office/drawing/2014/main" id="{13091875-F2F1-4CC4-BC53-D39340C4A77C}"/>
              </a:ext>
            </a:extLst>
          </p:cNvPr>
          <p:cNvCxnSpPr>
            <a:cxnSpLocks/>
            <a:stCxn id="55" idx="2"/>
          </p:cNvCxnSpPr>
          <p:nvPr/>
        </p:nvCxnSpPr>
        <p:spPr>
          <a:xfrm flipH="1">
            <a:off x="3788515" y="3075756"/>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0F5D18C-4215-43F2-9431-F58A585D5E30}"/>
              </a:ext>
            </a:extLst>
          </p:cNvPr>
          <p:cNvCxnSpPr>
            <a:cxnSpLocks/>
          </p:cNvCxnSpPr>
          <p:nvPr/>
        </p:nvCxnSpPr>
        <p:spPr>
          <a:xfrm flipH="1">
            <a:off x="5999758" y="3091449"/>
            <a:ext cx="133315" cy="20619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D612F57-24E0-46FD-AE2B-EDD0F301E669}"/>
              </a:ext>
            </a:extLst>
          </p:cNvPr>
          <p:cNvCxnSpPr>
            <a:cxnSpLocks/>
          </p:cNvCxnSpPr>
          <p:nvPr/>
        </p:nvCxnSpPr>
        <p:spPr>
          <a:xfrm>
            <a:off x="6490612" y="3092110"/>
            <a:ext cx="136966" cy="201072"/>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5">
            <a:extLst>
              <a:ext uri="{FF2B5EF4-FFF2-40B4-BE49-F238E27FC236}">
                <a16:creationId xmlns:a16="http://schemas.microsoft.com/office/drawing/2014/main" id="{C46C9EE0-A081-4F91-85D9-A7862AD72173}"/>
              </a:ext>
            </a:extLst>
          </p:cNvPr>
          <p:cNvSpPr txBox="1">
            <a:spLocks/>
          </p:cNvSpPr>
          <p:nvPr/>
        </p:nvSpPr>
        <p:spPr>
          <a:xfrm>
            <a:off x="6709785" y="3021701"/>
            <a:ext cx="256471" cy="249620"/>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114" name="Straight Connector 113">
            <a:extLst>
              <a:ext uri="{FF2B5EF4-FFF2-40B4-BE49-F238E27FC236}">
                <a16:creationId xmlns:a16="http://schemas.microsoft.com/office/drawing/2014/main" id="{D13F67CE-E58C-4EB2-B76D-74733FF22A92}"/>
              </a:ext>
            </a:extLst>
          </p:cNvPr>
          <p:cNvCxnSpPr>
            <a:cxnSpLocks/>
          </p:cNvCxnSpPr>
          <p:nvPr/>
        </p:nvCxnSpPr>
        <p:spPr>
          <a:xfrm flipH="1">
            <a:off x="6309156" y="3070114"/>
            <a:ext cx="38066" cy="247544"/>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68873D8-514A-7EE6-E87C-A545CC7A050E}"/>
              </a:ext>
            </a:extLst>
          </p:cNvPr>
          <p:cNvSpPr/>
          <p:nvPr/>
        </p:nvSpPr>
        <p:spPr bwMode="auto">
          <a:xfrm>
            <a:off x="8509601" y="1388963"/>
            <a:ext cx="3094182" cy="2021592"/>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C23F2F90-583E-785D-A836-7249A7148A42}"/>
              </a:ext>
            </a:extLst>
          </p:cNvPr>
          <p:cNvSpPr/>
          <p:nvPr/>
        </p:nvSpPr>
        <p:spPr bwMode="auto">
          <a:xfrm>
            <a:off x="8362703" y="1488973"/>
            <a:ext cx="3094182" cy="2060987"/>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1CBF7ED2-DF53-A4A3-B99E-EBAE325630D5}"/>
              </a:ext>
            </a:extLst>
          </p:cNvPr>
          <p:cNvSpPr/>
          <p:nvPr/>
        </p:nvSpPr>
        <p:spPr bwMode="auto">
          <a:xfrm>
            <a:off x="8183698" y="1624493"/>
            <a:ext cx="3094182" cy="2090594"/>
          </a:xfrm>
          <a:prstGeom prst="rect">
            <a:avLst/>
          </a:prstGeom>
          <a:solidFill>
            <a:schemeClr val="bg2"/>
          </a:solidFill>
          <a:ln w="12700">
            <a:solidFill>
              <a:schemeClr val="bg1">
                <a:lumMod val="50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Table 6">
            <a:extLst>
              <a:ext uri="{FF2B5EF4-FFF2-40B4-BE49-F238E27FC236}">
                <a16:creationId xmlns:a16="http://schemas.microsoft.com/office/drawing/2014/main" id="{088AF062-6CD7-14A7-A81C-BAD731AC7E73}"/>
              </a:ext>
            </a:extLst>
          </p:cNvPr>
          <p:cNvGraphicFramePr>
            <a:graphicFrameLocks noGrp="1"/>
          </p:cNvGraphicFramePr>
          <p:nvPr/>
        </p:nvGraphicFramePr>
        <p:xfrm>
          <a:off x="8304021" y="2305062"/>
          <a:ext cx="678476" cy="1325628"/>
        </p:xfrm>
        <a:graphic>
          <a:graphicData uri="http://schemas.openxmlformats.org/drawingml/2006/table">
            <a:tbl>
              <a:tblPr firstRow="1" bandRow="1">
                <a:tableStyleId>{69CF1AB2-1976-4502-BF36-3FF5EA218861}</a:tableStyleId>
              </a:tblPr>
              <a:tblGrid>
                <a:gridCol w="678476">
                  <a:extLst>
                    <a:ext uri="{9D8B030D-6E8A-4147-A177-3AD203B41FA5}">
                      <a16:colId xmlns:a16="http://schemas.microsoft.com/office/drawing/2014/main" val="2330257518"/>
                    </a:ext>
                  </a:extLst>
                </a:gridCol>
              </a:tblGrid>
              <a:tr h="220938">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pPr algn="l" fontAlgn="b"/>
                      <a:r>
                        <a:rPr lang="en-US" sz="1100" u="none" strike="noStrike" dirty="0">
                          <a:effectLst/>
                        </a:rPr>
                        <a:t>82147</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pPr algn="l" fontAlgn="b"/>
                      <a:r>
                        <a:rPr lang="en-US" sz="1100" u="none" strike="noStrike" dirty="0">
                          <a:effectLst/>
                        </a:rPr>
                        <a:t>850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pPr algn="l" fontAlgn="b"/>
                      <a:r>
                        <a:rPr lang="en-US" sz="1100" u="none" strike="noStrike" dirty="0">
                          <a:effectLst/>
                        </a:rPr>
                        <a:t>85018</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77040596"/>
                  </a:ext>
                </a:extLst>
              </a:tr>
              <a:tr h="220938">
                <a:tc>
                  <a:txBody>
                    <a:bodyPr/>
                    <a:lstStyle/>
                    <a:p>
                      <a:pPr algn="l" fontAlgn="b"/>
                      <a:r>
                        <a:rPr lang="en-US" sz="1100" u="none" strike="noStrike" dirty="0">
                          <a:effectLst/>
                        </a:rPr>
                        <a:t>85216</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62039982"/>
                  </a:ext>
                </a:extLst>
              </a:tr>
              <a:tr h="220938">
                <a:tc>
                  <a:txBody>
                    <a:bodyPr/>
                    <a:lstStyle/>
                    <a:p>
                      <a:pPr algn="l" fontAlgn="b"/>
                      <a:r>
                        <a:rPr lang="en-US" sz="1100" u="none" strike="noStrike" dirty="0">
                          <a:effectLst/>
                        </a:rPr>
                        <a:t>85395</a:t>
                      </a:r>
                      <a:endParaRPr lang="en-US" sz="1100" b="0" i="0" u="none" strike="noStrike" dirty="0">
                        <a:solidFill>
                          <a:srgbClr val="000000"/>
                        </a:solidFill>
                        <a:effectLst/>
                        <a:latin typeface="Calibri" panose="020F0502020204030204" pitchFamily="34" charset="0"/>
                      </a:endParaRPr>
                    </a:p>
                  </a:txBody>
                  <a:tcPr marL="5443" marR="5443" marT="54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2406426"/>
                  </a:ext>
                </a:extLst>
              </a:tr>
            </a:tbl>
          </a:graphicData>
        </a:graphic>
      </p:graphicFrame>
      <p:graphicFrame>
        <p:nvGraphicFramePr>
          <p:cNvPr id="8" name="Table 7">
            <a:extLst>
              <a:ext uri="{FF2B5EF4-FFF2-40B4-BE49-F238E27FC236}">
                <a16:creationId xmlns:a16="http://schemas.microsoft.com/office/drawing/2014/main" id="{4E0894DC-80C7-7924-C95A-D614DC976BBC}"/>
              </a:ext>
            </a:extLst>
          </p:cNvPr>
          <p:cNvGraphicFramePr>
            <a:graphicFrameLocks noGrp="1"/>
          </p:cNvGraphicFramePr>
          <p:nvPr/>
        </p:nvGraphicFramePr>
        <p:xfrm>
          <a:off x="9050496" y="3184905"/>
          <a:ext cx="762000" cy="441876"/>
        </p:xfrm>
        <a:graphic>
          <a:graphicData uri="http://schemas.openxmlformats.org/drawingml/2006/table">
            <a:tbl>
              <a:tblPr firstRow="1" bandRow="1">
                <a:tableStyleId>{69CF1AB2-1976-4502-BF36-3FF5EA218861}</a:tableStyleId>
              </a:tblPr>
              <a:tblGrid>
                <a:gridCol w="762000">
                  <a:extLst>
                    <a:ext uri="{9D8B030D-6E8A-4147-A177-3AD203B41FA5}">
                      <a16:colId xmlns:a16="http://schemas.microsoft.com/office/drawing/2014/main" val="778469355"/>
                    </a:ext>
                  </a:extLst>
                </a:gridCol>
              </a:tblGrid>
              <a:tr h="220938">
                <a:tc>
                  <a:txBody>
                    <a:bodyPr/>
                    <a:lstStyle/>
                    <a:p>
                      <a:r>
                        <a:rPr lang="en-US" sz="900" dirty="0">
                          <a:solidFill>
                            <a:schemeClr val="bg1"/>
                          </a:solidFill>
                        </a:rPr>
                        <a:t>Dat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kumimoji="0" lang="en-US" sz="1000" u="none" strike="noStrike" kern="1200" cap="none" spc="0" normalizeH="0" baseline="0" noProof="0" dirty="0">
                          <a:ln>
                            <a:noFill/>
                          </a:ln>
                          <a:effectLst/>
                          <a:uLnTx/>
                          <a:uFillTx/>
                        </a:rPr>
                        <a:t>11-2-2018</a:t>
                      </a:r>
                      <a:endParaRPr lang="en-US" sz="1000" dirty="0"/>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4366343"/>
                  </a:ext>
                </a:extLst>
              </a:tr>
            </a:tbl>
          </a:graphicData>
        </a:graphic>
      </p:graphicFrame>
      <p:graphicFrame>
        <p:nvGraphicFramePr>
          <p:cNvPr id="9" name="Table 8">
            <a:extLst>
              <a:ext uri="{FF2B5EF4-FFF2-40B4-BE49-F238E27FC236}">
                <a16:creationId xmlns:a16="http://schemas.microsoft.com/office/drawing/2014/main" id="{21A1BCE5-D208-21BF-BDDD-CF3CBA85F104}"/>
              </a:ext>
            </a:extLst>
          </p:cNvPr>
          <p:cNvGraphicFramePr>
            <a:graphicFrameLocks noGrp="1"/>
          </p:cNvGraphicFramePr>
          <p:nvPr/>
        </p:nvGraphicFramePr>
        <p:xfrm>
          <a:off x="10475375" y="2335134"/>
          <a:ext cx="574094" cy="1296328"/>
        </p:xfrm>
        <a:graphic>
          <a:graphicData uri="http://schemas.openxmlformats.org/drawingml/2006/table">
            <a:tbl>
              <a:tblPr firstRow="1" bandRow="1">
                <a:tableStyleId>{69CF1AB2-1976-4502-BF36-3FF5EA218861}</a:tableStyleId>
              </a:tblPr>
              <a:tblGrid>
                <a:gridCol w="574094">
                  <a:extLst>
                    <a:ext uri="{9D8B030D-6E8A-4147-A177-3AD203B41FA5}">
                      <a16:colId xmlns:a16="http://schemas.microsoft.com/office/drawing/2014/main" val="40476078"/>
                    </a:ext>
                  </a:extLst>
                </a:gridCol>
              </a:tblGrid>
              <a:tr h="0">
                <a:tc>
                  <a:txBody>
                    <a:bodyPr/>
                    <a:lstStyle/>
                    <a:p>
                      <a:r>
                        <a:rPr lang="en-US" sz="900" dirty="0">
                          <a:solidFill>
                            <a:schemeClr val="bg1"/>
                          </a:solidFill>
                        </a:rPr>
                        <a:t>Country</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FR</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UK</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32893756"/>
                  </a:ext>
                </a:extLst>
              </a:tr>
              <a:tr h="220938">
                <a:tc>
                  <a:txBody>
                    <a:bodyPr/>
                    <a:lstStyle/>
                    <a:p>
                      <a:r>
                        <a:rPr lang="en-US" sz="1000" dirty="0"/>
                        <a:t>SP</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2406426"/>
                  </a:ext>
                </a:extLst>
              </a:tr>
              <a:tr h="220938">
                <a:tc>
                  <a:txBody>
                    <a:bodyPr/>
                    <a:lstStyle/>
                    <a:p>
                      <a:r>
                        <a:rPr lang="en-US" sz="1000" dirty="0"/>
                        <a:t>D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01448120"/>
                  </a:ext>
                </a:extLst>
              </a:tr>
              <a:tr h="220938">
                <a:tc>
                  <a:txBody>
                    <a:bodyPr/>
                    <a:lstStyle/>
                    <a:p>
                      <a:r>
                        <a:rPr lang="en-US" sz="1000" dirty="0"/>
                        <a:t>NL</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041110"/>
                  </a:ext>
                </a:extLst>
              </a:tr>
            </a:tbl>
          </a:graphicData>
        </a:graphic>
      </p:graphicFrame>
      <p:graphicFrame>
        <p:nvGraphicFramePr>
          <p:cNvPr id="12" name="Table 11">
            <a:extLst>
              <a:ext uri="{FF2B5EF4-FFF2-40B4-BE49-F238E27FC236}">
                <a16:creationId xmlns:a16="http://schemas.microsoft.com/office/drawing/2014/main" id="{DAB4A34F-EB49-900E-72B4-3BBFDF5C731F}"/>
              </a:ext>
            </a:extLst>
          </p:cNvPr>
          <p:cNvGraphicFramePr>
            <a:graphicFrameLocks noGrp="1"/>
          </p:cNvGraphicFramePr>
          <p:nvPr/>
        </p:nvGraphicFramePr>
        <p:xfrm>
          <a:off x="9860112" y="2967765"/>
          <a:ext cx="523875" cy="662814"/>
        </p:xfrm>
        <a:graphic>
          <a:graphicData uri="http://schemas.openxmlformats.org/drawingml/2006/table">
            <a:tbl>
              <a:tblPr firstRow="1" bandRow="1">
                <a:tableStyleId>{69CF1AB2-1976-4502-BF36-3FF5EA218861}</a:tableStyleId>
              </a:tblPr>
              <a:tblGrid>
                <a:gridCol w="523875">
                  <a:extLst>
                    <a:ext uri="{9D8B030D-6E8A-4147-A177-3AD203B41FA5}">
                      <a16:colId xmlns:a16="http://schemas.microsoft.com/office/drawing/2014/main" val="3068263925"/>
                    </a:ext>
                  </a:extLst>
                </a:gridCol>
              </a:tblGrid>
              <a:tr h="220938">
                <a:tc>
                  <a:txBody>
                    <a:bodyPr/>
                    <a:lstStyle/>
                    <a:p>
                      <a:r>
                        <a:rPr lang="en-US" sz="900" dirty="0">
                          <a:solidFill>
                            <a:schemeClr val="bg1"/>
                          </a:solidFill>
                        </a:rPr>
                        <a:t>Name</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220938">
                <a:tc>
                  <a:txBody>
                    <a:bodyPr/>
                    <a:lstStyle/>
                    <a:p>
                      <a:r>
                        <a:rPr lang="en-US" sz="1000" dirty="0"/>
                        <a:t>Q</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14366343"/>
                  </a:ext>
                </a:extLst>
              </a:tr>
              <a:tr h="220938">
                <a:tc>
                  <a:txBody>
                    <a:bodyPr/>
                    <a:lstStyle/>
                    <a:p>
                      <a:r>
                        <a:rPr lang="en-US" sz="1000" dirty="0"/>
                        <a:t>V</a:t>
                      </a:r>
                    </a:p>
                  </a:txBody>
                  <a:tcPr marL="54478" marR="54478" marT="27239" marB="2723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893756"/>
                  </a:ext>
                </a:extLst>
              </a:tr>
            </a:tbl>
          </a:graphicData>
        </a:graphic>
      </p:graphicFrame>
      <p:grpSp>
        <p:nvGrpSpPr>
          <p:cNvPr id="13" name="Group 12">
            <a:extLst>
              <a:ext uri="{FF2B5EF4-FFF2-40B4-BE49-F238E27FC236}">
                <a16:creationId xmlns:a16="http://schemas.microsoft.com/office/drawing/2014/main" id="{F5D88C21-0C3C-0E1E-A2B7-5BE9375C1F9E}"/>
              </a:ext>
            </a:extLst>
          </p:cNvPr>
          <p:cNvGrpSpPr/>
          <p:nvPr/>
        </p:nvGrpSpPr>
        <p:grpSpPr>
          <a:xfrm>
            <a:off x="10492546" y="2097323"/>
            <a:ext cx="206748" cy="209085"/>
            <a:chOff x="7302089" y="1925930"/>
            <a:chExt cx="704483" cy="712447"/>
          </a:xfrm>
        </p:grpSpPr>
        <p:cxnSp>
          <p:nvCxnSpPr>
            <p:cNvPr id="14" name="Straight Arrow Connector 13">
              <a:extLst>
                <a:ext uri="{FF2B5EF4-FFF2-40B4-BE49-F238E27FC236}">
                  <a16:creationId xmlns:a16="http://schemas.microsoft.com/office/drawing/2014/main" id="{48301E2F-C631-210A-C276-AA47CA33758F}"/>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3F2469D-BC44-BBDB-C5B0-D0A987511B1A}"/>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A49299F-9053-EBE9-2D3D-67DC664F3598}"/>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E816992-ED15-31D2-B668-A64C7B4599A8}"/>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8807C5F-A68B-AB96-8DB7-F53A5617316D}"/>
              </a:ext>
            </a:extLst>
          </p:cNvPr>
          <p:cNvGrpSpPr/>
          <p:nvPr/>
        </p:nvGrpSpPr>
        <p:grpSpPr>
          <a:xfrm>
            <a:off x="9087120" y="2955745"/>
            <a:ext cx="206748" cy="209085"/>
            <a:chOff x="7302089" y="1925930"/>
            <a:chExt cx="704483" cy="712447"/>
          </a:xfrm>
        </p:grpSpPr>
        <p:cxnSp>
          <p:nvCxnSpPr>
            <p:cNvPr id="19" name="Straight Arrow Connector 18">
              <a:extLst>
                <a:ext uri="{FF2B5EF4-FFF2-40B4-BE49-F238E27FC236}">
                  <a16:creationId xmlns:a16="http://schemas.microsoft.com/office/drawing/2014/main" id="{C61F0991-64AF-8671-4832-5CD0242E04CB}"/>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6D889FA-45A1-31C5-6915-BA3B21E370B6}"/>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0EB4874-4978-3062-D724-E5B8B8BE4B6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64AA254-04FB-3ABE-38AE-B8057317F2C5}"/>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F700EA76-E3C4-786D-65C0-F9C907CB0652}"/>
              </a:ext>
            </a:extLst>
          </p:cNvPr>
          <p:cNvGrpSpPr/>
          <p:nvPr/>
        </p:nvGrpSpPr>
        <p:grpSpPr>
          <a:xfrm>
            <a:off x="8321215" y="2080472"/>
            <a:ext cx="206748" cy="209085"/>
            <a:chOff x="7302089" y="1925930"/>
            <a:chExt cx="704483" cy="712447"/>
          </a:xfrm>
        </p:grpSpPr>
        <p:cxnSp>
          <p:nvCxnSpPr>
            <p:cNvPr id="24" name="Straight Arrow Connector 23">
              <a:extLst>
                <a:ext uri="{FF2B5EF4-FFF2-40B4-BE49-F238E27FC236}">
                  <a16:creationId xmlns:a16="http://schemas.microsoft.com/office/drawing/2014/main" id="{EA986404-AC7A-43B5-5ABE-3E6C3477B46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4C63AE1-F2B0-C41D-E200-740762D02272}"/>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1D55C39-268A-1588-77FB-9F51768D58D3}"/>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F2A629D-17A5-8C87-85A8-65C0E4D9D969}"/>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2F0650E9-0C0C-8ABA-4BE4-FAAB10B0369B}"/>
              </a:ext>
            </a:extLst>
          </p:cNvPr>
          <p:cNvGrpSpPr/>
          <p:nvPr/>
        </p:nvGrpSpPr>
        <p:grpSpPr>
          <a:xfrm>
            <a:off x="9891218" y="2722930"/>
            <a:ext cx="206748" cy="209085"/>
            <a:chOff x="7302089" y="1925930"/>
            <a:chExt cx="704483" cy="712447"/>
          </a:xfrm>
        </p:grpSpPr>
        <p:cxnSp>
          <p:nvCxnSpPr>
            <p:cNvPr id="29" name="Straight Arrow Connector 28">
              <a:extLst>
                <a:ext uri="{FF2B5EF4-FFF2-40B4-BE49-F238E27FC236}">
                  <a16:creationId xmlns:a16="http://schemas.microsoft.com/office/drawing/2014/main" id="{6D08CE7F-0102-5F4A-BC57-0975E3C9C346}"/>
                </a:ext>
              </a:extLst>
            </p:cNvPr>
            <p:cNvCxnSpPr/>
            <p:nvPr/>
          </p:nvCxnSpPr>
          <p:spPr>
            <a:xfrm>
              <a:off x="7361892" y="1966887"/>
              <a:ext cx="286032" cy="28603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D6E8575-2267-1954-DB90-73FD0804A664}"/>
                </a:ext>
              </a:extLst>
            </p:cNvPr>
            <p:cNvCxnSpPr>
              <a:cxnSpLocks/>
            </p:cNvCxnSpPr>
            <p:nvPr/>
          </p:nvCxnSpPr>
          <p:spPr>
            <a:xfrm flipH="1" flipV="1">
              <a:off x="7698771" y="2302938"/>
              <a:ext cx="307801" cy="31309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01ABBF09-1507-BFAB-34A1-09EA816F52F0}"/>
                </a:ext>
              </a:extLst>
            </p:cNvPr>
            <p:cNvCxnSpPr>
              <a:cxnSpLocks/>
            </p:cNvCxnSpPr>
            <p:nvPr/>
          </p:nvCxnSpPr>
          <p:spPr>
            <a:xfrm flipV="1">
              <a:off x="7302089" y="2327737"/>
              <a:ext cx="300063" cy="3106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BACF457-33C2-E760-B56E-DE076C2DB69A}"/>
                </a:ext>
              </a:extLst>
            </p:cNvPr>
            <p:cNvCxnSpPr>
              <a:cxnSpLocks/>
            </p:cNvCxnSpPr>
            <p:nvPr/>
          </p:nvCxnSpPr>
          <p:spPr>
            <a:xfrm flipH="1">
              <a:off x="7701085" y="1925930"/>
              <a:ext cx="241273" cy="30202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3" name="Text Placeholder 5">
            <a:extLst>
              <a:ext uri="{FF2B5EF4-FFF2-40B4-BE49-F238E27FC236}">
                <a16:creationId xmlns:a16="http://schemas.microsoft.com/office/drawing/2014/main" id="{DB7E6AEF-1716-9F77-2D4B-CEC39ABA5958}"/>
              </a:ext>
            </a:extLst>
          </p:cNvPr>
          <p:cNvSpPr txBox="1">
            <a:spLocks/>
          </p:cNvSpPr>
          <p:nvPr/>
        </p:nvSpPr>
        <p:spPr>
          <a:xfrm>
            <a:off x="8261376" y="1642937"/>
            <a:ext cx="3252194" cy="374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Semibold"/>
                <a:ea typeface="+mn-ea"/>
                <a:cs typeface="+mn-cs"/>
              </a:rPr>
              <a:t>Rowgroup1 </a:t>
            </a:r>
            <a:br>
              <a:rPr kumimoji="0" lang="en-US" sz="1200" b="0" i="0" u="none" strike="noStrike" kern="1200" cap="none" spc="0" normalizeH="0" baseline="0" noProof="0" dirty="0">
                <a:ln>
                  <a:noFill/>
                </a:ln>
                <a:solidFill>
                  <a:srgbClr val="000000"/>
                </a:solidFill>
                <a:effectLst/>
                <a:uLnTx/>
                <a:uFillTx/>
                <a:latin typeface="Segoe UI Semibold"/>
                <a:ea typeface="+mn-ea"/>
                <a:cs typeface="+mn-cs"/>
              </a:rPr>
            </a:b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Min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2147  |  M</a:t>
            </a:r>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ax (OrderId): </a:t>
            </a:r>
            <a:r>
              <a:rPr kumimoji="0" lang="en-US" sz="1050" b="0" i="0" u="none" strike="noStrike" kern="1200" cap="none" spc="0" normalizeH="0" baseline="0" noProof="0" dirty="0">
                <a:ln>
                  <a:noFill/>
                </a:ln>
                <a:solidFill>
                  <a:srgbClr val="000000"/>
                </a:solidFill>
                <a:effectLst/>
                <a:uLnTx/>
                <a:uFillTx/>
                <a:latin typeface="Segoe UI"/>
                <a:ea typeface="+mn-ea"/>
                <a:cs typeface="+mn-cs"/>
              </a:rPr>
              <a:t>85395</a:t>
            </a:r>
            <a:endParaRPr kumimoji="0" lang="en-US" sz="1050" b="0" i="0" u="none" strike="noStrike" kern="1200" cap="none" spc="0" normalizeH="0" baseline="0" noProof="0" dirty="0">
              <a:ln>
                <a:noFill/>
              </a:ln>
              <a:solidFill>
                <a:srgbClr val="000000"/>
              </a:solidFill>
              <a:effectLst/>
              <a:uLnTx/>
              <a:uFillTx/>
              <a:latin typeface="Segoe UI Semibold"/>
              <a:ea typeface="+mn-ea"/>
              <a:cs typeface="+mn-cs"/>
            </a:endParaRPr>
          </a:p>
        </p:txBody>
      </p:sp>
      <p:graphicFrame>
        <p:nvGraphicFramePr>
          <p:cNvPr id="34" name="Table 33">
            <a:extLst>
              <a:ext uri="{FF2B5EF4-FFF2-40B4-BE49-F238E27FC236}">
                <a16:creationId xmlns:a16="http://schemas.microsoft.com/office/drawing/2014/main" id="{29812A15-548F-C291-4AEA-F16547822DF8}"/>
              </a:ext>
            </a:extLst>
          </p:cNvPr>
          <p:cNvGraphicFramePr>
            <a:graphicFrameLocks noGrp="1"/>
          </p:cNvGraphicFramePr>
          <p:nvPr/>
        </p:nvGraphicFramePr>
        <p:xfrm>
          <a:off x="8275629" y="4111933"/>
          <a:ext cx="3072131" cy="902222"/>
        </p:xfrm>
        <a:graphic>
          <a:graphicData uri="http://schemas.openxmlformats.org/drawingml/2006/table">
            <a:tbl>
              <a:tblPr firstRow="1" bandRow="1">
                <a:tableStyleId>{69CF1AB2-1976-4502-BF36-3FF5EA218861}</a:tableStyleId>
              </a:tblPr>
              <a:tblGrid>
                <a:gridCol w="797981">
                  <a:extLst>
                    <a:ext uri="{9D8B030D-6E8A-4147-A177-3AD203B41FA5}">
                      <a16:colId xmlns:a16="http://schemas.microsoft.com/office/drawing/2014/main" val="2330257518"/>
                    </a:ext>
                  </a:extLst>
                </a:gridCol>
                <a:gridCol w="896217">
                  <a:extLst>
                    <a:ext uri="{9D8B030D-6E8A-4147-A177-3AD203B41FA5}">
                      <a16:colId xmlns:a16="http://schemas.microsoft.com/office/drawing/2014/main" val="778469355"/>
                    </a:ext>
                  </a:extLst>
                </a:gridCol>
                <a:gridCol w="616149">
                  <a:extLst>
                    <a:ext uri="{9D8B030D-6E8A-4147-A177-3AD203B41FA5}">
                      <a16:colId xmlns:a16="http://schemas.microsoft.com/office/drawing/2014/main" val="3068263925"/>
                    </a:ext>
                  </a:extLst>
                </a:gridCol>
                <a:gridCol w="761784">
                  <a:extLst>
                    <a:ext uri="{9D8B030D-6E8A-4147-A177-3AD203B41FA5}">
                      <a16:colId xmlns:a16="http://schemas.microsoft.com/office/drawing/2014/main" val="40476078"/>
                    </a:ext>
                  </a:extLst>
                </a:gridCol>
              </a:tblGrid>
              <a:tr h="164945">
                <a:tc>
                  <a:txBody>
                    <a:bodyPr/>
                    <a:lstStyle/>
                    <a:p>
                      <a:r>
                        <a:rPr lang="en-US" sz="900" dirty="0">
                          <a:solidFill>
                            <a:schemeClr val="bg1"/>
                          </a:solidFill>
                        </a:rPr>
                        <a:t>OrderId</a:t>
                      </a:r>
                    </a:p>
                  </a:txBody>
                  <a:tcPr marL="54478" marR="54478" marT="27239" marB="27239">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Dat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Name</a:t>
                      </a:r>
                    </a:p>
                  </a:txBody>
                  <a:tcPr marL="54478" marR="54478" marT="27239" marB="27239">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solidFill>
                            <a:schemeClr val="bg1"/>
                          </a:solidFill>
                        </a:rPr>
                        <a:t>Country</a:t>
                      </a:r>
                    </a:p>
                  </a:txBody>
                  <a:tcPr marL="54478" marR="54478" marT="27239" marB="27239">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118459102"/>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137</a:t>
                      </a:r>
                    </a:p>
                  </a:txBody>
                  <a:tcPr marL="5443" marR="5443" marT="5443" marB="0" anchor="b">
                    <a:lnL w="12700" cap="flat" cmpd="sng" algn="ctr">
                      <a:solidFill>
                        <a:schemeClr val="tx1"/>
                      </a:solidFill>
                      <a:prstDash val="solid"/>
                      <a:round/>
                      <a:headEnd type="none" w="med" len="med"/>
                      <a:tailEnd type="none" w="med" len="med"/>
                    </a:lnL>
                  </a:tcPr>
                </a:tc>
                <a:tc>
                  <a:txBody>
                    <a:bodyPr/>
                    <a:lstStyle/>
                    <a:p>
                      <a:r>
                        <a:rPr lang="en-US" sz="800" dirty="0"/>
                        <a:t>11-3-2018</a:t>
                      </a:r>
                    </a:p>
                  </a:txBody>
                  <a:tcPr marL="54478" marR="54478" marT="27239" marB="27239"/>
                </a:tc>
                <a:tc>
                  <a:txBody>
                    <a:bodyPr/>
                    <a:lstStyle/>
                    <a:p>
                      <a:r>
                        <a:rPr lang="en-US" sz="800" dirty="0"/>
                        <a:t>T</a:t>
                      </a:r>
                    </a:p>
                  </a:txBody>
                  <a:tcPr marL="54478" marR="54478" marT="27239" marB="27239"/>
                </a:tc>
                <a:tc>
                  <a:txBody>
                    <a:bodyPr/>
                    <a:lstStyle/>
                    <a:p>
                      <a:r>
                        <a:rPr lang="en-US" sz="800" dirty="0"/>
                        <a:t>FR</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16548591"/>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310</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D</a:t>
                      </a:r>
                    </a:p>
                  </a:txBody>
                  <a:tcPr marL="54478" marR="54478" marT="27239" marB="27239"/>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62157967"/>
                  </a:ext>
                </a:extLst>
              </a:tr>
              <a:tr h="178062">
                <a:tc>
                  <a:txBody>
                    <a:bodyPr/>
                    <a:lstStyle/>
                    <a:p>
                      <a:pPr marL="0" algn="l" defTabSz="914192" rtl="0" eaLnBrk="1" fontAlgn="b" latinLnBrk="0" hangingPunct="1"/>
                      <a:r>
                        <a:rPr lang="en-US" sz="800" kern="1200" dirty="0">
                          <a:solidFill>
                            <a:schemeClr val="dk1"/>
                          </a:solidFill>
                          <a:latin typeface="+mn-lt"/>
                          <a:ea typeface="+mn-ea"/>
                          <a:cs typeface="+mn-cs"/>
                        </a:rPr>
                        <a:t>98799</a:t>
                      </a:r>
                    </a:p>
                  </a:txBody>
                  <a:tcPr marL="5443" marR="5443" marT="5443" marB="0" anchor="b">
                    <a:lnL w="12700" cap="flat" cmpd="sng" algn="ctr">
                      <a:solidFill>
                        <a:schemeClr val="tx1"/>
                      </a:solidFill>
                      <a:prstDash val="solid"/>
                      <a:round/>
                      <a:headEnd type="none" w="med" len="med"/>
                      <a:tailEnd type="none" w="med" len="med"/>
                    </a:lnL>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tc>
                <a:tc>
                  <a:txBody>
                    <a:bodyPr/>
                    <a:lstStyle/>
                    <a:p>
                      <a:r>
                        <a:rPr lang="en-US" sz="800" dirty="0"/>
                        <a:t>R</a:t>
                      </a:r>
                    </a:p>
                  </a:txBody>
                  <a:tcPr marL="54478" marR="54478" marT="27239" marB="27239"/>
                </a:tc>
                <a:tc>
                  <a:txBody>
                    <a:bodyPr/>
                    <a:lstStyle/>
                    <a:p>
                      <a:r>
                        <a:rPr lang="en-US" sz="800" dirty="0"/>
                        <a:t>NL</a:t>
                      </a:r>
                    </a:p>
                  </a:txBody>
                  <a:tcPr marL="54478" marR="54478" marT="27239" marB="27239">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4375319"/>
                  </a:ext>
                </a:extLst>
              </a:tr>
              <a:tr h="91677">
                <a:tc>
                  <a:txBody>
                    <a:bodyPr/>
                    <a:lstStyle/>
                    <a:p>
                      <a:pPr marL="0" algn="l" defTabSz="914192" rtl="0" eaLnBrk="1" fontAlgn="b" latinLnBrk="0" hangingPunct="1"/>
                      <a:r>
                        <a:rPr lang="en-US" sz="800" kern="1200" dirty="0">
                          <a:solidFill>
                            <a:schemeClr val="dk1"/>
                          </a:solidFill>
                          <a:latin typeface="+mn-lt"/>
                          <a:ea typeface="+mn-ea"/>
                          <a:cs typeface="+mn-cs"/>
                        </a:rPr>
                        <a:t>98979</a:t>
                      </a:r>
                    </a:p>
                  </a:txBody>
                  <a:tcPr marL="5443" marR="5443" marT="544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dirty="0">
                          <a:ln>
                            <a:noFill/>
                          </a:ln>
                          <a:effectLst/>
                          <a:uLnTx/>
                          <a:uFillTx/>
                        </a:rPr>
                        <a:t>11-3-2018</a:t>
                      </a:r>
                      <a:endParaRPr kumimoji="0" lang="en-US" sz="800" b="0" i="0" u="none" strike="noStrike" kern="1200" cap="none" spc="0" normalizeH="0" baseline="0" noProof="0" dirty="0">
                        <a:ln>
                          <a:noFill/>
                        </a:ln>
                        <a:solidFill>
                          <a:srgbClr val="000000"/>
                        </a:solidFill>
                        <a:effectLst/>
                        <a:uLnTx/>
                        <a:uFillTx/>
                        <a:latin typeface="Segoe UI"/>
                        <a:ea typeface="+mn-ea"/>
                        <a:cs typeface="+mn-cs"/>
                      </a:endParaRP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Z</a:t>
                      </a:r>
                    </a:p>
                  </a:txBody>
                  <a:tcPr marL="54478" marR="54478" marT="27239" marB="27239">
                    <a:lnB w="12700" cap="flat" cmpd="sng" algn="ctr">
                      <a:solidFill>
                        <a:schemeClr val="tx1"/>
                      </a:solidFill>
                      <a:prstDash val="solid"/>
                      <a:round/>
                      <a:headEnd type="none" w="med" len="med"/>
                      <a:tailEnd type="none" w="med" len="med"/>
                    </a:lnB>
                  </a:tcPr>
                </a:tc>
                <a:tc>
                  <a:txBody>
                    <a:bodyPr/>
                    <a:lstStyle/>
                    <a:p>
                      <a:r>
                        <a:rPr lang="en-US" sz="800" dirty="0"/>
                        <a:t>DE</a:t>
                      </a:r>
                    </a:p>
                  </a:txBody>
                  <a:tcPr marL="54478" marR="54478" marT="27239" marB="27239">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898676"/>
                  </a:ext>
                </a:extLst>
              </a:tr>
            </a:tbl>
          </a:graphicData>
        </a:graphic>
      </p:graphicFrame>
      <p:sp>
        <p:nvSpPr>
          <p:cNvPr id="35" name="Text Placeholder 5">
            <a:extLst>
              <a:ext uri="{FF2B5EF4-FFF2-40B4-BE49-F238E27FC236}">
                <a16:creationId xmlns:a16="http://schemas.microsoft.com/office/drawing/2014/main" id="{CDFC977C-3988-2602-D527-6F21E0D33C0C}"/>
              </a:ext>
            </a:extLst>
          </p:cNvPr>
          <p:cNvSpPr txBox="1">
            <a:spLocks/>
          </p:cNvSpPr>
          <p:nvPr/>
        </p:nvSpPr>
        <p:spPr>
          <a:xfrm>
            <a:off x="8275286" y="3912461"/>
            <a:ext cx="1194639" cy="187167"/>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elta Rowstore </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 name="Text Placeholder 5">
            <a:extLst>
              <a:ext uri="{FF2B5EF4-FFF2-40B4-BE49-F238E27FC236}">
                <a16:creationId xmlns:a16="http://schemas.microsoft.com/office/drawing/2014/main" id="{EDA7B3C6-0906-A0DA-994F-637D7B7EE357}"/>
              </a:ext>
            </a:extLst>
          </p:cNvPr>
          <p:cNvSpPr txBox="1">
            <a:spLocks/>
          </p:cNvSpPr>
          <p:nvPr/>
        </p:nvSpPr>
        <p:spPr>
          <a:xfrm>
            <a:off x="8149770" y="845984"/>
            <a:ext cx="3303832" cy="458011"/>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Clustered columnstore index</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200" b="0" i="0" u="none" strike="noStrike" kern="1200" cap="none" spc="0" normalizeH="0" baseline="0" noProof="0" dirty="0">
                <a:ln>
                  <a:noFill/>
                </a:ln>
                <a:solidFill>
                  <a:srgbClr val="0078D4"/>
                </a:solidFill>
                <a:effectLst/>
                <a:uLnTx/>
                <a:uFillTx/>
                <a:latin typeface="Segoe UI"/>
                <a:ea typeface="+mn-ea"/>
                <a:cs typeface="+mn-cs"/>
              </a:rPr>
              <a:t>(OrderId)</a:t>
            </a:r>
          </a:p>
        </p:txBody>
      </p:sp>
      <p:sp>
        <p:nvSpPr>
          <p:cNvPr id="38" name="Text Placeholder 5">
            <a:extLst>
              <a:ext uri="{FF2B5EF4-FFF2-40B4-BE49-F238E27FC236}">
                <a16:creationId xmlns:a16="http://schemas.microsoft.com/office/drawing/2014/main" id="{8D6E5BE8-B388-BF16-EC10-8892608CE68C}"/>
              </a:ext>
            </a:extLst>
          </p:cNvPr>
          <p:cNvSpPr txBox="1">
            <a:spLocks/>
          </p:cNvSpPr>
          <p:nvPr/>
        </p:nvSpPr>
        <p:spPr>
          <a:xfrm>
            <a:off x="8033735" y="5225444"/>
            <a:ext cx="4019964" cy="1356718"/>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Data stored in compressed columnstore segments after being sliced into groups of rows (rowgroups/micro-partitions) for maximum compression</a:t>
            </a:r>
          </a:p>
          <a:p>
            <a:pPr marL="171450" marR="0" lvl="0" indent="-171450" algn="l" defTabSz="914192" rtl="0" eaLnBrk="1" fontAlgn="auto" latinLnBrk="0" hangingPunct="1">
              <a:lnSpc>
                <a:spcPct val="11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Rows are stored in the delta rowstore until the number of rows is large enough to be compressed into a columnstore</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Text Placeholder 5">
            <a:extLst>
              <a:ext uri="{FF2B5EF4-FFF2-40B4-BE49-F238E27FC236}">
                <a16:creationId xmlns:a16="http://schemas.microsoft.com/office/drawing/2014/main" id="{8897BBF6-0A36-5256-EB25-C3A9F64D673D}"/>
              </a:ext>
            </a:extLst>
          </p:cNvPr>
          <p:cNvSpPr txBox="1">
            <a:spLocks/>
          </p:cNvSpPr>
          <p:nvPr/>
        </p:nvSpPr>
        <p:spPr>
          <a:xfrm>
            <a:off x="9541453" y="3568404"/>
            <a:ext cx="272965" cy="514756"/>
          </a:xfrm>
          <a:prstGeom prst="rect">
            <a:avLst/>
          </a:prstGeom>
        </p:spPr>
        <p:txBody>
          <a:bodyPr vert="horz" wrap="square" lIns="0" tIns="0" rIns="0" bIns="0" rtlCol="0">
            <a:spAutoFit/>
          </a:bodyPr>
          <a:lstStyle>
            <a:lvl1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lang="en-US" sz="1800" b="0" i="0" kern="1200" spc="0" baseline="0" dirty="0">
                <a:solidFill>
                  <a:srgbClr val="000000"/>
                </a:solidFill>
                <a:latin typeface="+mj-lt"/>
                <a:ea typeface="+mn-ea"/>
                <a:cs typeface="+mn-cs"/>
              </a:defRPr>
            </a:lvl1pPr>
            <a:lvl2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600" kern="1200" spc="0" baseline="0">
                <a:solidFill>
                  <a:srgbClr val="000000"/>
                </a:solidFill>
                <a:latin typeface="+mn-lt"/>
                <a:ea typeface="+mn-ea"/>
                <a:cs typeface="+mn-cs"/>
              </a:defRPr>
            </a:lvl2pPr>
            <a:lvl3pPr marL="0" marR="0" indent="0" algn="l" defTabSz="914192" rtl="0" eaLnBrk="1" fontAlgn="auto" latinLnBrk="0" hangingPunct="1">
              <a:lnSpc>
                <a:spcPct val="110000"/>
              </a:lnSpc>
              <a:spcBef>
                <a:spcPts val="0"/>
              </a:spcBef>
              <a:spcAft>
                <a:spcPts val="6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72161" marR="0" indent="0" algn="l" defTabSz="914192" rtl="0" eaLnBrk="1" fontAlgn="auto" latinLnBrk="0" hangingPunct="1">
              <a:lnSpc>
                <a:spcPct val="110000"/>
              </a:lnSpc>
              <a:spcBef>
                <a:spcPts val="0"/>
              </a:spcBef>
              <a:spcAft>
                <a:spcPts val="1273"/>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214" marR="0" indent="0" algn="l" defTabSz="914192" rtl="0" eaLnBrk="1" fontAlgn="auto" latinLnBrk="0" hangingPunct="1">
              <a:lnSpc>
                <a:spcPct val="100000"/>
              </a:lnSpc>
              <a:spcBef>
                <a:spcPts val="0"/>
              </a:spcBef>
              <a:spcAft>
                <a:spcPts val="1200"/>
              </a:spcAft>
              <a:buClrTx/>
              <a:buSzPct val="90000"/>
              <a:buFont typeface="Wingdings" panose="05000000000000000000" pitchFamily="2" charset="2"/>
              <a:buNone/>
              <a:tabLst/>
              <a:defRPr sz="1200"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192" rtl="0" eaLnBrk="1" fontAlgn="auto" latinLnBrk="0" hangingPunct="1">
              <a:lnSpc>
                <a:spcPct val="110000"/>
              </a:lnSpc>
              <a:spcBef>
                <a:spcPts val="600"/>
              </a:spcBef>
              <a:spcAft>
                <a:spcPts val="600"/>
              </a:spcAft>
              <a:buClrTx/>
              <a:buSzPct val="90000"/>
              <a:buFont typeface="Wingdings" panose="05000000000000000000" pitchFamily="2" charset="2"/>
              <a:buNone/>
              <a:tabLst/>
              <a:defRPr/>
            </a:pPr>
            <a:r>
              <a:rPr kumimoji="0" lang="en-US" sz="3300" b="0" i="0" u="none" strike="noStrike" kern="1200" cap="none" spc="0" normalizeH="0" baseline="0" noProof="0" dirty="0">
                <a:ln>
                  <a:noFill/>
                </a:ln>
                <a:solidFill>
                  <a:srgbClr val="000000"/>
                </a:solidFill>
                <a:effectLst/>
                <a:uLnTx/>
                <a:uFillTx/>
                <a:latin typeface="Segoe UI Semibold"/>
                <a:ea typeface="+mn-ea"/>
                <a:cs typeface="+mn-cs"/>
              </a:rPr>
              <a:t>+</a:t>
            </a:r>
          </a:p>
        </p:txBody>
      </p:sp>
      <p:cxnSp>
        <p:nvCxnSpPr>
          <p:cNvPr id="41" name="Straight Connector 40">
            <a:extLst>
              <a:ext uri="{FF2B5EF4-FFF2-40B4-BE49-F238E27FC236}">
                <a16:creationId xmlns:a16="http://schemas.microsoft.com/office/drawing/2014/main" id="{7EE817FA-7DE6-2108-68F3-61B15B5722D4}"/>
              </a:ext>
            </a:extLst>
          </p:cNvPr>
          <p:cNvCxnSpPr>
            <a:cxnSpLocks/>
          </p:cNvCxnSpPr>
          <p:nvPr/>
        </p:nvCxnSpPr>
        <p:spPr>
          <a:xfrm>
            <a:off x="7912888" y="913850"/>
            <a:ext cx="0" cy="5611998"/>
          </a:xfrm>
          <a:prstGeom prst="line">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9442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C70DA-8127-4345-9396-2351AB76A45D}"/>
              </a:ext>
            </a:extLst>
          </p:cNvPr>
          <p:cNvSpPr>
            <a:spLocks noGrp="1"/>
          </p:cNvSpPr>
          <p:nvPr>
            <p:ph type="title"/>
          </p:nvPr>
        </p:nvSpPr>
        <p:spPr/>
        <p:txBody>
          <a:bodyPr/>
          <a:lstStyle/>
          <a:p>
            <a:r>
              <a:rPr lang="en-GB" dirty="0"/>
              <a:t>Columnstore Index Concept </a:t>
            </a:r>
            <a:endParaRPr lang="en-US" dirty="0"/>
          </a:p>
        </p:txBody>
      </p:sp>
      <p:sp>
        <p:nvSpPr>
          <p:cNvPr id="4" name="Flowchart: Document 3">
            <a:extLst>
              <a:ext uri="{FF2B5EF4-FFF2-40B4-BE49-F238E27FC236}">
                <a16:creationId xmlns:a16="http://schemas.microsoft.com/office/drawing/2014/main" id="{BC84D28D-645E-47C4-8B24-92F0969BA8AF}"/>
              </a:ext>
            </a:extLst>
          </p:cNvPr>
          <p:cNvSpPr/>
          <p:nvPr/>
        </p:nvSpPr>
        <p:spPr>
          <a:xfrm>
            <a:off x="461927" y="2036093"/>
            <a:ext cx="2569803" cy="3953152"/>
          </a:xfrm>
          <a:prstGeom prst="flowChartDocumen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2AF3BBE-2366-4044-B64B-0676F7FB862A}"/>
              </a:ext>
            </a:extLst>
          </p:cNvPr>
          <p:cNvSpPr txBox="1"/>
          <p:nvPr/>
        </p:nvSpPr>
        <p:spPr>
          <a:xfrm>
            <a:off x="580907" y="2050483"/>
            <a:ext cx="2336650" cy="3042692"/>
          </a:xfrm>
          <a:prstGeom prst="rect">
            <a:avLst/>
          </a:prstGeom>
          <a:noFill/>
        </p:spPr>
        <p:txBody>
          <a:bodyPr wrap="square" rtlCol="0">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408" b="0" i="0" u="none" strike="noStrike" kern="0" cap="none" spc="0" normalizeH="0" baseline="0" noProof="0">
                <a:ln>
                  <a:noFill/>
                </a:ln>
                <a:solidFill>
                  <a:sysClr val="windowText" lastClr="000000"/>
                </a:solidFill>
                <a:effectLst/>
                <a:uLnTx/>
                <a:uFillTx/>
                <a:latin typeface="Courier New" panose="02070309020205020404" pitchFamily="49" charset="0"/>
                <a:ea typeface="+mn-ea"/>
                <a:cs typeface="Courier New" panose="02070309020205020404" pitchFamily="49" charset="0"/>
              </a:rPr>
              <a:t>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vl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vl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a:t>
            </a:r>
          </a:p>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GB" sz="408" b="0" i="0" u="none" strike="noStrike" kern="0" cap="none" spc="0" normalizeH="0" baseline="0" noProof="0">
              <a:ln>
                <a:noFill/>
              </a:ln>
              <a:solidFill>
                <a:sysClr val="windowText" lastClr="000000"/>
              </a:solidFill>
              <a:effectLst/>
              <a:uLnTx/>
              <a:uFillTx/>
              <a:latin typeface="Courier New" panose="02070309020205020404" pitchFamily="49" charset="0"/>
              <a:ea typeface="+mn-ea"/>
              <a:cs typeface="Courier New" panose="02070309020205020404" pitchFamily="49" charset="0"/>
            </a:endParaRPr>
          </a:p>
        </p:txBody>
      </p:sp>
      <p:sp>
        <p:nvSpPr>
          <p:cNvPr id="6" name="Rectangle 5">
            <a:extLst>
              <a:ext uri="{FF2B5EF4-FFF2-40B4-BE49-F238E27FC236}">
                <a16:creationId xmlns:a16="http://schemas.microsoft.com/office/drawing/2014/main" id="{6C120B8E-9BF6-4F01-A532-DDA5C7CB1035}"/>
              </a:ext>
            </a:extLst>
          </p:cNvPr>
          <p:cNvSpPr/>
          <p:nvPr/>
        </p:nvSpPr>
        <p:spPr>
          <a:xfrm>
            <a:off x="3365186" y="2050484"/>
            <a:ext cx="2569803" cy="1468459"/>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408" b="0" i="0" u="none" strike="noStrike" kern="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t>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vl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2034857,23552534,26262569085923458958294</a:t>
            </a:r>
            <a:endParaRPr kumimoji="0" lang="en-GB" sz="408" b="0" i="0" u="none" strike="noStrike" kern="0" cap="none" spc="0" normalizeH="0" baseline="0" noProof="0">
              <a:ln>
                <a:noFill/>
              </a:ln>
              <a:solidFill>
                <a:srgbClr val="50505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C6582C8D-A644-4B8D-85A5-80F15003D56B}"/>
              </a:ext>
            </a:extLst>
          </p:cNvPr>
          <p:cNvSpPr/>
          <p:nvPr/>
        </p:nvSpPr>
        <p:spPr>
          <a:xfrm>
            <a:off x="6281896" y="2050484"/>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 name="Rectangle 7">
            <a:extLst>
              <a:ext uri="{FF2B5EF4-FFF2-40B4-BE49-F238E27FC236}">
                <a16:creationId xmlns:a16="http://schemas.microsoft.com/office/drawing/2014/main" id="{F687EE7C-2325-4F18-BD4C-01F3657AC9F5}"/>
              </a:ext>
            </a:extLst>
          </p:cNvPr>
          <p:cNvSpPr/>
          <p:nvPr/>
        </p:nvSpPr>
        <p:spPr>
          <a:xfrm>
            <a:off x="6706593" y="2050484"/>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4950DB36-7CD9-4137-B17B-1E82F1E52997}"/>
              </a:ext>
            </a:extLst>
          </p:cNvPr>
          <p:cNvSpPr/>
          <p:nvPr/>
        </p:nvSpPr>
        <p:spPr>
          <a:xfrm>
            <a:off x="7131291" y="2050484"/>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35AF9BFE-556E-4FDF-B6C3-A9A1503600E4}"/>
              </a:ext>
            </a:extLst>
          </p:cNvPr>
          <p:cNvSpPr/>
          <p:nvPr/>
        </p:nvSpPr>
        <p:spPr>
          <a:xfrm>
            <a:off x="7555989" y="2050484"/>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CC2B4FAE-F223-4C7C-A372-24C4E443D88C}"/>
              </a:ext>
            </a:extLst>
          </p:cNvPr>
          <p:cNvSpPr/>
          <p:nvPr/>
        </p:nvSpPr>
        <p:spPr>
          <a:xfrm>
            <a:off x="7980686" y="2050484"/>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0A70707E-2ECE-4354-A2E6-22BEEE33115B}"/>
              </a:ext>
            </a:extLst>
          </p:cNvPr>
          <p:cNvSpPr/>
          <p:nvPr/>
        </p:nvSpPr>
        <p:spPr>
          <a:xfrm>
            <a:off x="8692067" y="2036093"/>
            <a:ext cx="367115" cy="3671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60DAA105-3C28-4920-B6C8-EB78FC8AE305}"/>
              </a:ext>
            </a:extLst>
          </p:cNvPr>
          <p:cNvSpPr/>
          <p:nvPr/>
        </p:nvSpPr>
        <p:spPr>
          <a:xfrm>
            <a:off x="9116764" y="2036092"/>
            <a:ext cx="367115" cy="11013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1D44E64E-11A6-4110-B162-20885F12A7FD}"/>
              </a:ext>
            </a:extLst>
          </p:cNvPr>
          <p:cNvSpPr/>
          <p:nvPr/>
        </p:nvSpPr>
        <p:spPr>
          <a:xfrm>
            <a:off x="9541462" y="2036091"/>
            <a:ext cx="367115" cy="7342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a:extLst>
              <a:ext uri="{FF2B5EF4-FFF2-40B4-BE49-F238E27FC236}">
                <a16:creationId xmlns:a16="http://schemas.microsoft.com/office/drawing/2014/main" id="{B876D87D-9D18-491F-87A8-28B7E90B59E9}"/>
              </a:ext>
            </a:extLst>
          </p:cNvPr>
          <p:cNvSpPr/>
          <p:nvPr/>
        </p:nvSpPr>
        <p:spPr>
          <a:xfrm>
            <a:off x="9966159" y="2036092"/>
            <a:ext cx="367115" cy="11013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9A3473E9-3C13-4CF6-B5B5-2A1A35C59FE1}"/>
              </a:ext>
            </a:extLst>
          </p:cNvPr>
          <p:cNvSpPr/>
          <p:nvPr/>
        </p:nvSpPr>
        <p:spPr>
          <a:xfrm>
            <a:off x="10390857" y="2036093"/>
            <a:ext cx="367115" cy="3671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Isosceles Triangle 16">
            <a:extLst>
              <a:ext uri="{FF2B5EF4-FFF2-40B4-BE49-F238E27FC236}">
                <a16:creationId xmlns:a16="http://schemas.microsoft.com/office/drawing/2014/main" id="{DDF89595-50F4-49D9-911C-AD8BF0F73CAE}"/>
              </a:ext>
            </a:extLst>
          </p:cNvPr>
          <p:cNvSpPr/>
          <p:nvPr/>
        </p:nvSpPr>
        <p:spPr>
          <a:xfrm rot="5400000">
            <a:off x="2823298" y="2354253"/>
            <a:ext cx="734229" cy="73422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8" name="Isosceles Triangle 17">
            <a:extLst>
              <a:ext uri="{FF2B5EF4-FFF2-40B4-BE49-F238E27FC236}">
                <a16:creationId xmlns:a16="http://schemas.microsoft.com/office/drawing/2014/main" id="{EE0B1902-B0E2-425C-A4F0-1A6692A7E365}"/>
              </a:ext>
            </a:extLst>
          </p:cNvPr>
          <p:cNvSpPr/>
          <p:nvPr/>
        </p:nvSpPr>
        <p:spPr>
          <a:xfrm rot="5400000">
            <a:off x="5739586" y="2354253"/>
            <a:ext cx="734229" cy="73422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9" name="Isosceles Triangle 18">
            <a:extLst>
              <a:ext uri="{FF2B5EF4-FFF2-40B4-BE49-F238E27FC236}">
                <a16:creationId xmlns:a16="http://schemas.microsoft.com/office/drawing/2014/main" id="{0CE665A0-7B9B-4022-90C5-25C6BD6C5C47}"/>
              </a:ext>
            </a:extLst>
          </p:cNvPr>
          <p:cNvSpPr/>
          <p:nvPr/>
        </p:nvSpPr>
        <p:spPr>
          <a:xfrm rot="5400000">
            <a:off x="8152819" y="2354253"/>
            <a:ext cx="734229" cy="73422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A78E79F0-3655-46DF-943E-30FD7547A4D2}"/>
              </a:ext>
            </a:extLst>
          </p:cNvPr>
          <p:cNvSpPr txBox="1"/>
          <p:nvPr/>
        </p:nvSpPr>
        <p:spPr>
          <a:xfrm>
            <a:off x="1178240" y="1284273"/>
            <a:ext cx="1175831" cy="670512"/>
          </a:xfrm>
          <a:prstGeom prst="rect">
            <a:avLst/>
          </a:prstGeom>
          <a:noFill/>
        </p:spPr>
        <p:txBody>
          <a:bodyPr wrap="none" rtlCol="0">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3672" b="0" i="0" u="none" strike="noStrike" kern="0" cap="none" spc="0" normalizeH="0" baseline="0" noProof="0">
                <a:ln>
                  <a:noFill/>
                </a:ln>
                <a:solidFill>
                  <a:sysClr val="windowText" lastClr="000000"/>
                </a:solidFill>
                <a:effectLst/>
                <a:uLnTx/>
                <a:uFillTx/>
                <a:latin typeface="Segoe UI"/>
                <a:ea typeface="+mn-ea"/>
                <a:cs typeface="+mn-cs"/>
              </a:rPr>
              <a:t>Data</a:t>
            </a: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12F1422F-2476-479A-9244-C3F6B90D84E9}"/>
              </a:ext>
            </a:extLst>
          </p:cNvPr>
          <p:cNvSpPr txBox="1"/>
          <p:nvPr/>
        </p:nvSpPr>
        <p:spPr>
          <a:xfrm>
            <a:off x="3449052" y="1284273"/>
            <a:ext cx="2567144" cy="670512"/>
          </a:xfrm>
          <a:prstGeom prst="rect">
            <a:avLst/>
          </a:prstGeom>
          <a:noFill/>
        </p:spPr>
        <p:txBody>
          <a:bodyPr wrap="none" rtlCol="0">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3672" b="0" i="0" u="none" strike="noStrike" kern="0" cap="none" spc="0" normalizeH="0" baseline="0" noProof="0">
                <a:ln>
                  <a:noFill/>
                </a:ln>
                <a:solidFill>
                  <a:sysClr val="windowText" lastClr="000000"/>
                </a:solidFill>
                <a:effectLst/>
                <a:uLnTx/>
                <a:uFillTx/>
                <a:latin typeface="Segoe UI"/>
                <a:ea typeface="+mn-ea"/>
                <a:cs typeface="+mn-cs"/>
              </a:rPr>
              <a:t>Row Group</a:t>
            </a: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E89F2C20-E114-4350-BE41-8DD59DE7FCBF}"/>
              </a:ext>
            </a:extLst>
          </p:cNvPr>
          <p:cNvSpPr txBox="1"/>
          <p:nvPr/>
        </p:nvSpPr>
        <p:spPr>
          <a:xfrm>
            <a:off x="6258459" y="1284273"/>
            <a:ext cx="2282668" cy="670512"/>
          </a:xfrm>
          <a:prstGeom prst="rect">
            <a:avLst/>
          </a:prstGeom>
          <a:noFill/>
        </p:spPr>
        <p:txBody>
          <a:bodyPr wrap="none" rtlCol="0">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3672" b="0" i="0" u="none" strike="noStrike" kern="0" cap="none" spc="0" normalizeH="0" baseline="0" noProof="0">
                <a:ln>
                  <a:noFill/>
                </a:ln>
                <a:solidFill>
                  <a:sysClr val="windowText" lastClr="000000"/>
                </a:solidFill>
                <a:effectLst/>
                <a:uLnTx/>
                <a:uFillTx/>
                <a:latin typeface="Segoe UI"/>
                <a:ea typeface="+mn-ea"/>
                <a:cs typeface="+mn-cs"/>
              </a:rPr>
              <a:t>Segments</a:t>
            </a: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5873C04C-6A14-4AF2-9C36-39C45DFB0049}"/>
              </a:ext>
            </a:extLst>
          </p:cNvPr>
          <p:cNvSpPr txBox="1"/>
          <p:nvPr/>
        </p:nvSpPr>
        <p:spPr>
          <a:xfrm>
            <a:off x="8498364" y="1283033"/>
            <a:ext cx="3037999" cy="670512"/>
          </a:xfrm>
          <a:prstGeom prst="rect">
            <a:avLst/>
          </a:prstGeom>
          <a:noFill/>
        </p:spPr>
        <p:txBody>
          <a:bodyPr wrap="none" rtlCol="0">
            <a:spAutoFit/>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3672" b="0" i="0" u="none" strike="noStrike" kern="0" cap="none" spc="0" normalizeH="0" baseline="0" noProof="0">
                <a:ln>
                  <a:noFill/>
                </a:ln>
                <a:solidFill>
                  <a:sysClr val="windowText" lastClr="000000"/>
                </a:solidFill>
                <a:effectLst/>
                <a:uLnTx/>
                <a:uFillTx/>
                <a:latin typeface="Segoe UI"/>
                <a:ea typeface="+mn-ea"/>
                <a:cs typeface="+mn-cs"/>
              </a:rPr>
              <a:t>Column store</a:t>
            </a: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6214CD28-747E-4889-86D0-6EA9F869E855}"/>
              </a:ext>
            </a:extLst>
          </p:cNvPr>
          <p:cNvSpPr/>
          <p:nvPr/>
        </p:nvSpPr>
        <p:spPr>
          <a:xfrm>
            <a:off x="3365186" y="3633497"/>
            <a:ext cx="2569803" cy="1468459"/>
          </a:xfrm>
          <a:prstGeom prst="rect">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GB" sz="408" b="0" i="0" u="none" strike="noStrike" kern="0" cap="none" spc="0" normalizeH="0" baseline="0" noProof="0">
                <a:ln>
                  <a:noFill/>
                </a:ln>
                <a:solidFill>
                  <a:srgbClr val="000000"/>
                </a:solidFill>
                <a:effectLst/>
                <a:uLnTx/>
                <a:uFillTx/>
                <a:latin typeface="Courier New" panose="02070309020205020404" pitchFamily="49" charset="0"/>
                <a:ea typeface="+mn-ea"/>
                <a:cs typeface="Courier New" panose="02070309020205020404" pitchFamily="49" charset="0"/>
              </a:rPr>
              <a:t>2034857,23552534,26262569085923458958294582342-52935-2385349085295-25894-589245-285928592-5845829582-58258295849058-28592-58294582405982948529058409589584590285902859204582945825982058958290582945082905825-2502-45905-93245,vitoortkgldkg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584590285902859204582945825982058958290582945082905825-2502-45905-93245,vitoortkgldkg vlgjwov j4o534585-0348565920345234059=3405943=-5923405=23950345923=509235=239560235932=46942306496046940693=46043693b069,hb05,b6905869347 87-987g89-9s8g-89-89 89-89-89mg89wer-t8t9et8-t-=8349652-=856=8=98t0e=t9e0t=e9t09=90=39560=659450693=565096=35695=69305=69,vw06=62=96069,b]si5=96292500000-2034857,23552534,26262569085923458958294582342-52935-2385349085295-25894-589245-285928592-5845829582-58258295849058-28592-582945824059829485290584095892034857,23552534,26262569085923458958294</a:t>
            </a:r>
            <a:endParaRPr kumimoji="0" lang="en-GB" sz="408" b="0" i="0" u="none" strike="noStrike" kern="0" cap="none" spc="0" normalizeH="0" baseline="0" noProof="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9EC43F1C-2F7D-4C38-9D42-C890C664822C}"/>
              </a:ext>
            </a:extLst>
          </p:cNvPr>
          <p:cNvSpPr/>
          <p:nvPr/>
        </p:nvSpPr>
        <p:spPr>
          <a:xfrm>
            <a:off x="6281896" y="3633497"/>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6" name="Rectangle 25">
            <a:extLst>
              <a:ext uri="{FF2B5EF4-FFF2-40B4-BE49-F238E27FC236}">
                <a16:creationId xmlns:a16="http://schemas.microsoft.com/office/drawing/2014/main" id="{899FE4AA-9D51-49D8-994D-1BFC82C81635}"/>
              </a:ext>
            </a:extLst>
          </p:cNvPr>
          <p:cNvSpPr/>
          <p:nvPr/>
        </p:nvSpPr>
        <p:spPr>
          <a:xfrm>
            <a:off x="6706593" y="3633497"/>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9DD5D06B-24A0-47CD-A95B-F1584C0B808F}"/>
              </a:ext>
            </a:extLst>
          </p:cNvPr>
          <p:cNvSpPr/>
          <p:nvPr/>
        </p:nvSpPr>
        <p:spPr>
          <a:xfrm>
            <a:off x="7131291" y="3633497"/>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5C9BD034-703E-412B-AB92-AC49A6E52214}"/>
              </a:ext>
            </a:extLst>
          </p:cNvPr>
          <p:cNvSpPr/>
          <p:nvPr/>
        </p:nvSpPr>
        <p:spPr>
          <a:xfrm>
            <a:off x="7555989" y="3633497"/>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485744F0-100A-4CE3-9CD0-A883E82F3BD3}"/>
              </a:ext>
            </a:extLst>
          </p:cNvPr>
          <p:cNvSpPr/>
          <p:nvPr/>
        </p:nvSpPr>
        <p:spPr>
          <a:xfrm>
            <a:off x="7980686" y="3633497"/>
            <a:ext cx="367115" cy="14684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B1C29CDA-9856-45D2-B7D9-F55B5B55261D}"/>
              </a:ext>
            </a:extLst>
          </p:cNvPr>
          <p:cNvSpPr/>
          <p:nvPr/>
        </p:nvSpPr>
        <p:spPr>
          <a:xfrm>
            <a:off x="8692067" y="3619106"/>
            <a:ext cx="367115" cy="3671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2E52BC60-E1CC-4FEE-8ED5-AF5EAAB721B2}"/>
              </a:ext>
            </a:extLst>
          </p:cNvPr>
          <p:cNvSpPr/>
          <p:nvPr/>
        </p:nvSpPr>
        <p:spPr>
          <a:xfrm>
            <a:off x="9116764" y="3619106"/>
            <a:ext cx="367115" cy="7342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6CE60B15-63B4-4BDA-814A-EC3AE00ACD3C}"/>
              </a:ext>
            </a:extLst>
          </p:cNvPr>
          <p:cNvSpPr/>
          <p:nvPr/>
        </p:nvSpPr>
        <p:spPr>
          <a:xfrm>
            <a:off x="9541462" y="3619106"/>
            <a:ext cx="367115" cy="11013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0052756E-3F86-4D69-9B19-991AD8CC3CB2}"/>
              </a:ext>
            </a:extLst>
          </p:cNvPr>
          <p:cNvSpPr/>
          <p:nvPr/>
        </p:nvSpPr>
        <p:spPr>
          <a:xfrm>
            <a:off x="9966159" y="3619106"/>
            <a:ext cx="367115" cy="3671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4" name="Rectangle 33">
            <a:extLst>
              <a:ext uri="{FF2B5EF4-FFF2-40B4-BE49-F238E27FC236}">
                <a16:creationId xmlns:a16="http://schemas.microsoft.com/office/drawing/2014/main" id="{CFAB5F1A-E3D7-4918-AAB1-A51FD084C34B}"/>
              </a:ext>
            </a:extLst>
          </p:cNvPr>
          <p:cNvSpPr/>
          <p:nvPr/>
        </p:nvSpPr>
        <p:spPr>
          <a:xfrm>
            <a:off x="10390857" y="3619106"/>
            <a:ext cx="367115" cy="7342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5" name="Isosceles Triangle 34">
            <a:extLst>
              <a:ext uri="{FF2B5EF4-FFF2-40B4-BE49-F238E27FC236}">
                <a16:creationId xmlns:a16="http://schemas.microsoft.com/office/drawing/2014/main" id="{12888468-C44D-4E34-8D28-651C298E2F95}"/>
              </a:ext>
            </a:extLst>
          </p:cNvPr>
          <p:cNvSpPr/>
          <p:nvPr/>
        </p:nvSpPr>
        <p:spPr>
          <a:xfrm rot="5400000">
            <a:off x="2823298" y="3937268"/>
            <a:ext cx="734229" cy="73422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Isosceles Triangle 35">
            <a:extLst>
              <a:ext uri="{FF2B5EF4-FFF2-40B4-BE49-F238E27FC236}">
                <a16:creationId xmlns:a16="http://schemas.microsoft.com/office/drawing/2014/main" id="{51827F9F-6E7F-41F1-B7B0-C30BF0CE04F6}"/>
              </a:ext>
            </a:extLst>
          </p:cNvPr>
          <p:cNvSpPr/>
          <p:nvPr/>
        </p:nvSpPr>
        <p:spPr>
          <a:xfrm rot="5400000">
            <a:off x="5739586" y="3937268"/>
            <a:ext cx="734229" cy="73422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Isosceles Triangle 36">
            <a:extLst>
              <a:ext uri="{FF2B5EF4-FFF2-40B4-BE49-F238E27FC236}">
                <a16:creationId xmlns:a16="http://schemas.microsoft.com/office/drawing/2014/main" id="{731C45A0-5953-42B2-A0C2-52A45550DF42}"/>
              </a:ext>
            </a:extLst>
          </p:cNvPr>
          <p:cNvSpPr/>
          <p:nvPr/>
        </p:nvSpPr>
        <p:spPr>
          <a:xfrm rot="5400000">
            <a:off x="8152819" y="3937268"/>
            <a:ext cx="734229" cy="73422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GB" sz="1836"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11583997-0F00-9BC3-9A7C-0071EC09A4A0}"/>
              </a:ext>
            </a:extLst>
          </p:cNvPr>
          <p:cNvGrpSpPr/>
          <p:nvPr/>
        </p:nvGrpSpPr>
        <p:grpSpPr>
          <a:xfrm>
            <a:off x="2819108" y="5492643"/>
            <a:ext cx="8142084" cy="746460"/>
            <a:chOff x="0" y="110178"/>
            <a:chExt cx="8142084" cy="746460"/>
          </a:xfrm>
        </p:grpSpPr>
        <p:sp>
          <p:nvSpPr>
            <p:cNvPr id="38" name="Rectangle: Rounded Corners 37">
              <a:extLst>
                <a:ext uri="{FF2B5EF4-FFF2-40B4-BE49-F238E27FC236}">
                  <a16:creationId xmlns:a16="http://schemas.microsoft.com/office/drawing/2014/main" id="{BEBCA18C-048B-42AC-2FA2-9D6782D85E5B}"/>
                </a:ext>
              </a:extLst>
            </p:cNvPr>
            <p:cNvSpPr/>
            <p:nvPr/>
          </p:nvSpPr>
          <p:spPr>
            <a:xfrm>
              <a:off x="0" y="110178"/>
              <a:ext cx="8142084" cy="746460"/>
            </a:xfrm>
            <a:prstGeom prst="roundRect">
              <a:avLst/>
            </a:prstGeom>
          </p:spPr>
          <p:style>
            <a:lnRef idx="2">
              <a:schemeClr val="lt1">
                <a:hueOff val="0"/>
                <a:satOff val="0"/>
                <a:lumOff val="0"/>
                <a:alphaOff val="0"/>
              </a:schemeClr>
            </a:lnRef>
            <a:fillRef idx="1">
              <a:schemeClr val="accent2">
                <a:shade val="80000"/>
                <a:hueOff val="0"/>
                <a:satOff val="0"/>
                <a:lumOff val="0"/>
                <a:alphaOff val="0"/>
              </a:schemeClr>
            </a:fillRef>
            <a:effectRef idx="0">
              <a:schemeClr val="accent2">
                <a:shade val="80000"/>
                <a:hueOff val="0"/>
                <a:satOff val="0"/>
                <a:lumOff val="0"/>
                <a:alphaOff val="0"/>
              </a:schemeClr>
            </a:effectRef>
            <a:fontRef idx="minor">
              <a:schemeClr val="lt1"/>
            </a:fontRef>
          </p:style>
        </p:sp>
        <p:sp>
          <p:nvSpPr>
            <p:cNvPr id="39" name="Rectangle: Rounded Corners 4">
              <a:extLst>
                <a:ext uri="{FF2B5EF4-FFF2-40B4-BE49-F238E27FC236}">
                  <a16:creationId xmlns:a16="http://schemas.microsoft.com/office/drawing/2014/main" id="{6541709E-BCBB-B288-C678-DAC4FFB6B99C}"/>
                </a:ext>
              </a:extLst>
            </p:cNvPr>
            <p:cNvSpPr txBox="1"/>
            <p:nvPr/>
          </p:nvSpPr>
          <p:spPr>
            <a:xfrm>
              <a:off x="36439" y="146617"/>
              <a:ext cx="8069206" cy="67358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baseline="0" dirty="0"/>
                <a:t>Groups rows into batches up to 1,048,576 rows</a:t>
              </a:r>
              <a:endParaRPr lang="en-US" sz="2900" kern="1200" dirty="0"/>
            </a:p>
          </p:txBody>
        </p:sp>
      </p:grpSp>
    </p:spTree>
    <p:custDataLst>
      <p:tags r:id="rId1"/>
    </p:custDataLst>
    <p:extLst>
      <p:ext uri="{BB962C8B-B14F-4D97-AF65-F5344CB8AC3E}">
        <p14:creationId xmlns:p14="http://schemas.microsoft.com/office/powerpoint/2010/main" val="3385081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1" presetClass="entr" presetSubtype="0" fill="hold"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500"/>
                                        <p:tgtEl>
                                          <p:spTgt spid="36"/>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fade">
                                      <p:cBhvr>
                                        <p:cTn id="48" dur="500"/>
                                        <p:tgtEl>
                                          <p:spTgt spid="1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500"/>
                                        <p:tgtEl>
                                          <p:spTgt spid="2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fade">
                                      <p:cBhvr>
                                        <p:cTn id="74" dur="500"/>
                                        <p:tgtEl>
                                          <p:spTgt spid="3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fade">
                                      <p:cBhvr>
                                        <p:cTn id="84" dur="500"/>
                                        <p:tgtEl>
                                          <p:spTgt spid="13"/>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500"/>
                                        <p:tgtEl>
                                          <p:spTgt spid="1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fade">
                                      <p:cBhvr>
                                        <p:cTn id="90" dur="500"/>
                                        <p:tgtEl>
                                          <p:spTgt spid="15"/>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6"/>
                                        </p:tgtEl>
                                        <p:attrNameLst>
                                          <p:attrName>style.visibility</p:attrName>
                                        </p:attrNameLst>
                                      </p:cBhvr>
                                      <p:to>
                                        <p:strVal val="visible"/>
                                      </p:to>
                                    </p:set>
                                    <p:animEffect transition="in" filter="fade">
                                      <p:cBhvr>
                                        <p:cTn id="93" dur="500"/>
                                        <p:tgtEl>
                                          <p:spTgt spid="16"/>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0"/>
                                        </p:tgtEl>
                                        <p:attrNameLst>
                                          <p:attrName>style.visibility</p:attrName>
                                        </p:attrNameLst>
                                      </p:cBhvr>
                                      <p:to>
                                        <p:strVal val="visible"/>
                                      </p:to>
                                    </p:set>
                                    <p:animEffect transition="in" filter="fade">
                                      <p:cBhvr>
                                        <p:cTn id="96" dur="500"/>
                                        <p:tgtEl>
                                          <p:spTgt spid="3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1"/>
                                        </p:tgtEl>
                                        <p:attrNameLst>
                                          <p:attrName>style.visibility</p:attrName>
                                        </p:attrNameLst>
                                      </p:cBhvr>
                                      <p:to>
                                        <p:strVal val="visible"/>
                                      </p:to>
                                    </p:set>
                                    <p:animEffect transition="in" filter="fade">
                                      <p:cBhvr>
                                        <p:cTn id="99" dur="500"/>
                                        <p:tgtEl>
                                          <p:spTgt spid="31"/>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fade">
                                      <p:cBhvr>
                                        <p:cTn id="102" dur="500"/>
                                        <p:tgtEl>
                                          <p:spTgt spid="32"/>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3"/>
                                        </p:tgtEl>
                                        <p:attrNameLst>
                                          <p:attrName>style.visibility</p:attrName>
                                        </p:attrNameLst>
                                      </p:cBhvr>
                                      <p:to>
                                        <p:strVal val="visible"/>
                                      </p:to>
                                    </p:set>
                                    <p:animEffect transition="in" filter="fade">
                                      <p:cBhvr>
                                        <p:cTn id="105" dur="500"/>
                                        <p:tgtEl>
                                          <p:spTgt spid="3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4"/>
                                        </p:tgtEl>
                                        <p:attrNameLst>
                                          <p:attrName>style.visibility</p:attrName>
                                        </p:attrNameLst>
                                      </p:cBhvr>
                                      <p:to>
                                        <p:strVal val="visible"/>
                                      </p:to>
                                    </p:set>
                                    <p:animEffect transition="in" filter="fade">
                                      <p:cBhvr>
                                        <p:cTn id="10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1" grpId="0"/>
      <p:bldP spid="22" grpId="0"/>
      <p:bldP spid="23" grpId="0"/>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359A8F9-C0A6-4FB4-A1C8-4049D3A9BD50}"/>
              </a:ext>
            </a:extLst>
          </p:cNvPr>
          <p:cNvSpPr>
            <a:spLocks noGrp="1"/>
          </p:cNvSpPr>
          <p:nvPr>
            <p:ph type="title"/>
          </p:nvPr>
        </p:nvSpPr>
        <p:spPr>
          <a:xfrm>
            <a:off x="664050" y="281087"/>
            <a:ext cx="10880725" cy="461665"/>
          </a:xfrm>
        </p:spPr>
        <p:txBody>
          <a:bodyPr/>
          <a:lstStyle/>
          <a:p>
            <a:r>
              <a:rPr lang="en-US" dirty="0"/>
              <a:t>Row Groups &amp; Segments</a:t>
            </a:r>
          </a:p>
        </p:txBody>
      </p:sp>
      <p:sp>
        <p:nvSpPr>
          <p:cNvPr id="3" name="Text Placeholder 2"/>
          <p:cNvSpPr>
            <a:spLocks noGrp="1"/>
          </p:cNvSpPr>
          <p:nvPr>
            <p:ph sz="quarter" idx="13"/>
          </p:nvPr>
        </p:nvSpPr>
        <p:spPr/>
        <p:txBody>
          <a:bodyPr vert="horz" lIns="0" tIns="0" rIns="0" bIns="0" rtlCol="0" anchor="t">
            <a:normAutofit/>
          </a:bodyPr>
          <a:lstStyle/>
          <a:p>
            <a:pPr marL="0" indent="0">
              <a:buNone/>
            </a:pPr>
            <a:r>
              <a:rPr lang="en-US" b="1" dirty="0">
                <a:latin typeface="Segoe UI" panose="020B0502040204020203" pitchFamily="34" charset="0"/>
              </a:rPr>
              <a:t>Segment</a:t>
            </a:r>
          </a:p>
          <a:p>
            <a:pPr marL="653415" lvl="1" indent="-342900"/>
            <a:r>
              <a:rPr lang="en-US" dirty="0">
                <a:solidFill>
                  <a:srgbClr val="3F3F3F"/>
                </a:solidFill>
                <a:latin typeface="Segoe UI" panose="020B0502040204020203" pitchFamily="34" charset="0"/>
              </a:rPr>
              <a:t>Contains values for one column for a set of rows.</a:t>
            </a:r>
            <a:endParaRPr lang="en-US" dirty="0">
              <a:solidFill>
                <a:srgbClr val="3F3F3F"/>
              </a:solidFill>
              <a:latin typeface="Segoe UI" panose="020B0502040204020203" pitchFamily="34" charset="0"/>
              <a:cs typeface="Segoe UI" panose="020B0502040204020203" pitchFamily="34" charset="0"/>
            </a:endParaRPr>
          </a:p>
          <a:p>
            <a:pPr marL="653415" lvl="1" indent="-342900"/>
            <a:r>
              <a:rPr lang="en-US" dirty="0">
                <a:solidFill>
                  <a:srgbClr val="3F3F3F"/>
                </a:solidFill>
                <a:latin typeface="Segoe UI" panose="020B0502040204020203" pitchFamily="34" charset="0"/>
              </a:rPr>
              <a:t>Segments are compressed.</a:t>
            </a:r>
            <a:endParaRPr lang="en-US" dirty="0">
              <a:solidFill>
                <a:srgbClr val="3F3F3F"/>
              </a:solidFill>
              <a:latin typeface="Segoe UI" panose="020B0502040204020203" pitchFamily="34" charset="0"/>
              <a:cs typeface="Segoe UI" panose="020B0502040204020203" pitchFamily="34" charset="0"/>
            </a:endParaRPr>
          </a:p>
          <a:p>
            <a:pPr marL="653415" lvl="1" indent="-342900"/>
            <a:r>
              <a:rPr lang="en-US" dirty="0">
                <a:solidFill>
                  <a:srgbClr val="3F3F3F"/>
                </a:solidFill>
                <a:latin typeface="Segoe UI" panose="020B0502040204020203" pitchFamily="34" charset="0"/>
              </a:rPr>
              <a:t>Each segment is stored in a separate LOB.</a:t>
            </a:r>
            <a:endParaRPr lang="en-US" dirty="0">
              <a:solidFill>
                <a:srgbClr val="3F3F3F"/>
              </a:solidFill>
              <a:latin typeface="Segoe UI" panose="020B0502040204020203" pitchFamily="34" charset="0"/>
              <a:cs typeface="Segoe UI" panose="020B0502040204020203" pitchFamily="34" charset="0"/>
            </a:endParaRPr>
          </a:p>
          <a:p>
            <a:pPr marL="653415" lvl="1" indent="-342900"/>
            <a:r>
              <a:rPr lang="en-US" dirty="0">
                <a:solidFill>
                  <a:srgbClr val="3F3F3F"/>
                </a:solidFill>
                <a:latin typeface="Segoe UI" panose="020B0502040204020203" pitchFamily="34" charset="0"/>
              </a:rPr>
              <a:t>It is a unit of transfer between disk and memory.</a:t>
            </a:r>
            <a:endParaRPr lang="en-US" dirty="0">
              <a:solidFill>
                <a:srgbClr val="3F3F3F"/>
              </a:solidFill>
              <a:latin typeface="Segoe UI" panose="020B0502040204020203" pitchFamily="34" charset="0"/>
              <a:cs typeface="Segoe UI" panose="020B0502040204020203" pitchFamily="34" charset="0"/>
            </a:endParaRPr>
          </a:p>
          <a:p>
            <a:pPr marL="310515" lvl="1" indent="0">
              <a:buNone/>
            </a:pPr>
            <a:endParaRPr lang="en-US" sz="1800" dirty="0">
              <a:solidFill>
                <a:schemeClr val="accent1">
                  <a:lumMod val="75000"/>
                </a:schemeClr>
              </a:solidFill>
              <a:latin typeface="Segoe UI" panose="020B0502040204020203" pitchFamily="34" charset="0"/>
              <a:cs typeface="Segoe UI" panose="020B0502040204020203" pitchFamily="34" charset="0"/>
            </a:endParaRPr>
          </a:p>
          <a:p>
            <a:pPr marL="0" indent="0">
              <a:buNone/>
            </a:pPr>
            <a:r>
              <a:rPr lang="en-US" b="1" dirty="0">
                <a:latin typeface="Segoe UI" panose="020B0502040204020203" pitchFamily="34" charset="0"/>
              </a:rPr>
              <a:t>Row Group</a:t>
            </a:r>
          </a:p>
          <a:p>
            <a:pPr marL="653415" lvl="1" indent="-342900"/>
            <a:r>
              <a:rPr lang="en-US" dirty="0">
                <a:solidFill>
                  <a:srgbClr val="3F3F3F"/>
                </a:solidFill>
                <a:latin typeface="Segoe UI" panose="020B0502040204020203" pitchFamily="34" charset="0"/>
              </a:rPr>
              <a:t>Segments for the same set of rows </a:t>
            </a:r>
            <a:endParaRPr lang="en-US" dirty="0">
              <a:solidFill>
                <a:srgbClr val="3F3F3F"/>
              </a:solidFill>
              <a:latin typeface="Segoe UI" panose="020B0502040204020203" pitchFamily="34" charset="0"/>
              <a:cs typeface="Segoe UI" panose="020B0502040204020203" pitchFamily="34" charset="0"/>
            </a:endParaRPr>
          </a:p>
          <a:p>
            <a:pPr marL="310515" lvl="1" indent="0">
              <a:buNone/>
            </a:pPr>
            <a:r>
              <a:rPr lang="en-US" dirty="0">
                <a:solidFill>
                  <a:srgbClr val="3F3F3F"/>
                </a:solidFill>
                <a:latin typeface="Segoe UI"/>
                <a:cs typeface="Segoe UI"/>
              </a:rPr>
              <a:t>    comprise a row group.</a:t>
            </a:r>
          </a:p>
          <a:p>
            <a:pPr marL="653415" lvl="1" indent="-342900"/>
            <a:r>
              <a:rPr lang="en-US" dirty="0">
                <a:solidFill>
                  <a:srgbClr val="3F3F3F"/>
                </a:solidFill>
                <a:latin typeface="Segoe UI" panose="020B0502040204020203" pitchFamily="34" charset="0"/>
              </a:rPr>
              <a:t>Position of a value in a column indicates to which </a:t>
            </a:r>
            <a:endParaRPr lang="en-US" dirty="0">
              <a:solidFill>
                <a:srgbClr val="3F3F3F"/>
              </a:solidFill>
              <a:latin typeface="Segoe UI" panose="020B0502040204020203" pitchFamily="34" charset="0"/>
              <a:cs typeface="Segoe UI" panose="020B0502040204020203" pitchFamily="34" charset="0"/>
            </a:endParaRPr>
          </a:p>
          <a:p>
            <a:pPr marL="310515" lvl="1" indent="0">
              <a:buNone/>
            </a:pPr>
            <a:r>
              <a:rPr lang="en-US" dirty="0">
                <a:solidFill>
                  <a:srgbClr val="3F3F3F"/>
                </a:solidFill>
                <a:latin typeface="Segoe UI"/>
                <a:cs typeface="Segoe UI"/>
              </a:rPr>
              <a:t>    row it belongs to.</a:t>
            </a:r>
          </a:p>
          <a:p>
            <a:pPr marL="310515" indent="-310515"/>
            <a:endParaRPr lang="en-US" dirty="0">
              <a:latin typeface="Segoe UI" panose="020B0502040204020203" pitchFamily="34" charset="0"/>
            </a:endParaRPr>
          </a:p>
        </p:txBody>
      </p:sp>
      <p:grpSp>
        <p:nvGrpSpPr>
          <p:cNvPr id="4" name="Group 3"/>
          <p:cNvGrpSpPr/>
          <p:nvPr/>
        </p:nvGrpSpPr>
        <p:grpSpPr>
          <a:xfrm>
            <a:off x="7844019" y="1387766"/>
            <a:ext cx="467934" cy="4806352"/>
            <a:chOff x="7844267" y="1387476"/>
            <a:chExt cx="468000" cy="4807033"/>
          </a:xfrm>
        </p:grpSpPr>
        <p:sp>
          <p:nvSpPr>
            <p:cNvPr id="48" name="Rectangle 4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Rectangle 4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Rectangle 4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TextBox 5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1</a:t>
              </a:r>
            </a:p>
          </p:txBody>
        </p:sp>
        <p:sp>
          <p:nvSpPr>
            <p:cNvPr id="52" name="Rectangle 5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3" name="Rectangle 5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Rectangle 10"/>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5" name="Group 54"/>
          <p:cNvGrpSpPr/>
          <p:nvPr/>
        </p:nvGrpSpPr>
        <p:grpSpPr>
          <a:xfrm>
            <a:off x="8480054" y="1387766"/>
            <a:ext cx="467934" cy="4806352"/>
            <a:chOff x="7844267" y="1387476"/>
            <a:chExt cx="468000" cy="4807033"/>
          </a:xfrm>
        </p:grpSpPr>
        <p:sp>
          <p:nvSpPr>
            <p:cNvPr id="56" name="Rectangle 55"/>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7" name="Rectangle 56"/>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Rectangle 57"/>
            <p:cNvSpPr/>
            <p:nvPr/>
          </p:nvSpPr>
          <p:spPr>
            <a:xfrm>
              <a:off x="7942110" y="4826680"/>
              <a:ext cx="272314" cy="1331659"/>
            </a:xfrm>
            <a:prstGeom prst="rect">
              <a:avLst/>
            </a:prstGeom>
            <a:solidFill>
              <a:srgbClr val="C00000"/>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59" name="TextBox 58"/>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2</a:t>
              </a:r>
            </a:p>
          </p:txBody>
        </p:sp>
        <p:sp>
          <p:nvSpPr>
            <p:cNvPr id="60" name="Rectangle 59"/>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1" name="Rectangle 60"/>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2" name="Rectangle 61"/>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3" name="Group 62"/>
          <p:cNvGrpSpPr/>
          <p:nvPr/>
        </p:nvGrpSpPr>
        <p:grpSpPr>
          <a:xfrm>
            <a:off x="9116088" y="1387766"/>
            <a:ext cx="467934" cy="4806352"/>
            <a:chOff x="7844267" y="1387476"/>
            <a:chExt cx="468000" cy="4807033"/>
          </a:xfrm>
        </p:grpSpPr>
        <p:sp>
          <p:nvSpPr>
            <p:cNvPr id="64" name="Rectangle 63"/>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5" name="Rectangle 64"/>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6" name="Rectangle 65"/>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TextBox 66"/>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3</a:t>
              </a:r>
            </a:p>
          </p:txBody>
        </p:sp>
        <p:sp>
          <p:nvSpPr>
            <p:cNvPr id="68" name="Rectangle 67"/>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Rectangle 68"/>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Rectangle 69"/>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1" name="Group 70"/>
          <p:cNvGrpSpPr/>
          <p:nvPr/>
        </p:nvGrpSpPr>
        <p:grpSpPr>
          <a:xfrm>
            <a:off x="9752124" y="1384305"/>
            <a:ext cx="467934" cy="4806352"/>
            <a:chOff x="7844267" y="1387476"/>
            <a:chExt cx="468000" cy="4807033"/>
          </a:xfrm>
        </p:grpSpPr>
        <p:sp>
          <p:nvSpPr>
            <p:cNvPr id="72" name="Rectangle 71"/>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3" name="Rectangle 72"/>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Rectangle 73"/>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TextBox 74"/>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4</a:t>
              </a:r>
            </a:p>
          </p:txBody>
        </p:sp>
        <p:sp>
          <p:nvSpPr>
            <p:cNvPr id="76" name="Rectangle 75"/>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Rectangle 76"/>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Rectangle 77"/>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9" name="Group 78"/>
          <p:cNvGrpSpPr/>
          <p:nvPr/>
        </p:nvGrpSpPr>
        <p:grpSpPr>
          <a:xfrm>
            <a:off x="10388159" y="1383810"/>
            <a:ext cx="467934" cy="4806352"/>
            <a:chOff x="7844267" y="1387476"/>
            <a:chExt cx="468000" cy="4807033"/>
          </a:xfrm>
        </p:grpSpPr>
        <p:sp>
          <p:nvSpPr>
            <p:cNvPr id="80" name="Rectangle 79"/>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1" name="Rectangle 80"/>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ectangle 81"/>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TextBox 82"/>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5</a:t>
              </a:r>
            </a:p>
          </p:txBody>
        </p:sp>
        <p:sp>
          <p:nvSpPr>
            <p:cNvPr id="84" name="Rectangle 83"/>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Rectangle 84"/>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Rectangle 85"/>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7" name="Group 86"/>
          <p:cNvGrpSpPr/>
          <p:nvPr/>
        </p:nvGrpSpPr>
        <p:grpSpPr>
          <a:xfrm>
            <a:off x="11024192" y="1387766"/>
            <a:ext cx="467934" cy="4806352"/>
            <a:chOff x="7844267" y="1387476"/>
            <a:chExt cx="468000" cy="4807033"/>
          </a:xfrm>
        </p:grpSpPr>
        <p:sp>
          <p:nvSpPr>
            <p:cNvPr id="88" name="Rectangle 87"/>
            <p:cNvSpPr/>
            <p:nvPr/>
          </p:nvSpPr>
          <p:spPr>
            <a:xfrm>
              <a:off x="7942110" y="1837088"/>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89" name="Rectangle 88"/>
            <p:cNvSpPr/>
            <p:nvPr/>
          </p:nvSpPr>
          <p:spPr>
            <a:xfrm>
              <a:off x="7942110" y="3328556"/>
              <a:ext cx="272314" cy="133165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Rectangle 89"/>
            <p:cNvSpPr/>
            <p:nvPr/>
          </p:nvSpPr>
          <p:spPr>
            <a:xfrm>
              <a:off x="7942110" y="4826680"/>
              <a:ext cx="272314" cy="1331659"/>
            </a:xfrm>
            <a:prstGeom prst="rect">
              <a:avLst/>
            </a:prstGeom>
            <a:solidFill>
              <a:schemeClr val="tx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TextBox 90"/>
            <p:cNvSpPr txBox="1"/>
            <p:nvPr/>
          </p:nvSpPr>
          <p:spPr>
            <a:xfrm>
              <a:off x="7879335" y="1387476"/>
              <a:ext cx="397866" cy="312073"/>
            </a:xfrm>
            <a:prstGeom prst="rect">
              <a:avLst/>
            </a:prstGeom>
            <a:noFill/>
            <a:ln>
              <a:solidFill>
                <a:schemeClr val="tx2">
                  <a:lumMod val="60000"/>
                  <a:lumOff val="40000"/>
                </a:schemeClr>
              </a:solidFill>
            </a:ln>
          </p:spPr>
          <p:txBody>
            <a:bodyPr wrap="non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6</a:t>
              </a:r>
            </a:p>
          </p:txBody>
        </p:sp>
        <p:sp>
          <p:nvSpPr>
            <p:cNvPr id="92" name="Rectangle 91"/>
            <p:cNvSpPr/>
            <p:nvPr/>
          </p:nvSpPr>
          <p:spPr>
            <a:xfrm>
              <a:off x="7844267" y="1800917"/>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Rectangle 92"/>
            <p:cNvSpPr/>
            <p:nvPr/>
          </p:nvSpPr>
          <p:spPr>
            <a:xfrm>
              <a:off x="7844267" y="3292385"/>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a:xfrm>
              <a:off x="7844267" y="4790509"/>
              <a:ext cx="468000" cy="1404000"/>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4" name="TextBox 53"/>
          <p:cNvSpPr txBox="1"/>
          <p:nvPr/>
        </p:nvSpPr>
        <p:spPr>
          <a:xfrm>
            <a:off x="9054944" y="421015"/>
            <a:ext cx="1464484" cy="384484"/>
          </a:xfrm>
          <a:prstGeom prst="rect">
            <a:avLst/>
          </a:prstGeom>
          <a:noFill/>
          <a:ln>
            <a:noFill/>
          </a:ln>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Segments</a:t>
            </a:r>
          </a:p>
        </p:txBody>
      </p:sp>
      <p:sp>
        <p:nvSpPr>
          <p:cNvPr id="95" name="TextBox 94"/>
          <p:cNvSpPr txBox="1">
            <a:spLocks noChangeAspect="1"/>
          </p:cNvSpPr>
          <p:nvPr/>
        </p:nvSpPr>
        <p:spPr>
          <a:xfrm>
            <a:off x="6541918" y="3650228"/>
            <a:ext cx="919484" cy="680242"/>
          </a:xfrm>
          <a:prstGeom prst="rect">
            <a:avLst/>
          </a:prstGeom>
          <a:noFill/>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Row</a:t>
            </a:r>
            <a:r>
              <a:rPr kumimoji="0" lang="en-US" sz="1922" b="0" i="0" u="none" strike="noStrike" kern="1200" cap="none" spc="0" normalizeH="0" baseline="0" noProof="0" dirty="0">
                <a:ln>
                  <a:noFill/>
                </a:ln>
                <a:solidFill>
                  <a:srgbClr val="505050"/>
                </a:solidFill>
                <a:effectLst/>
                <a:uLnTx/>
                <a:uFillTx/>
                <a:latin typeface="Segoe UI"/>
                <a:ea typeface="+mn-ea"/>
                <a:cs typeface="+mn-cs"/>
              </a:rPr>
              <a:t> </a:t>
            </a:r>
            <a:r>
              <a:rPr kumimoji="0" lang="en-US" sz="1922" b="1" i="0" u="none" strike="noStrike" kern="1200" cap="none" spc="0" normalizeH="0" baseline="0" noProof="0" dirty="0">
                <a:ln>
                  <a:noFill/>
                </a:ln>
                <a:solidFill>
                  <a:srgbClr val="505050"/>
                </a:solidFill>
                <a:effectLst/>
                <a:uLnTx/>
                <a:uFillTx/>
                <a:latin typeface="Segoe UI"/>
                <a:ea typeface="+mn-ea"/>
                <a:cs typeface="+mn-cs"/>
              </a:rPr>
              <a:t>group</a:t>
            </a:r>
          </a:p>
        </p:txBody>
      </p:sp>
      <p:sp>
        <p:nvSpPr>
          <p:cNvPr id="96" name="Right Brace 95"/>
          <p:cNvSpPr/>
          <p:nvPr/>
        </p:nvSpPr>
        <p:spPr>
          <a:xfrm rot="16200000">
            <a:off x="9455412" y="-676481"/>
            <a:ext cx="458639" cy="3588667"/>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000000"/>
              </a:solidFill>
              <a:effectLst/>
              <a:uLnTx/>
              <a:uFillTx/>
              <a:latin typeface="Segoe UI"/>
              <a:ea typeface="+mn-ea"/>
              <a:cs typeface="+mn-cs"/>
            </a:endParaRPr>
          </a:p>
        </p:txBody>
      </p:sp>
      <p:sp>
        <p:nvSpPr>
          <p:cNvPr id="97" name="Right Brace 96"/>
          <p:cNvSpPr/>
          <p:nvPr/>
        </p:nvSpPr>
        <p:spPr>
          <a:xfrm rot="10800000">
            <a:off x="7332831" y="3288448"/>
            <a:ext cx="458639" cy="1403802"/>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765" b="0" i="0" u="none" strike="noStrike" kern="1200" cap="none" spc="0" normalizeH="0" baseline="0" noProof="0">
              <a:ln>
                <a:noFill/>
              </a:ln>
              <a:solidFill>
                <a:srgbClr val="00000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C05A4F66-9780-49E6-8DF4-FBCDCD50F9A3}"/>
              </a:ext>
            </a:extLst>
          </p:cNvPr>
          <p:cNvSpPr txBox="1">
            <a:spLocks noChangeAspect="1"/>
          </p:cNvSpPr>
          <p:nvPr/>
        </p:nvSpPr>
        <p:spPr>
          <a:xfrm>
            <a:off x="8796463" y="381269"/>
            <a:ext cx="1740004" cy="388120"/>
          </a:xfrm>
          <a:prstGeom prst="rect">
            <a:avLst/>
          </a:prstGeom>
          <a:noFill/>
        </p:spPr>
        <p:txBody>
          <a:bodyPr wrap="square" rtlCol="0">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Columns</a:t>
            </a:r>
          </a:p>
        </p:txBody>
      </p:sp>
      <p:cxnSp>
        <p:nvCxnSpPr>
          <p:cNvPr id="5" name="Straight Arrow Connector 4">
            <a:extLst>
              <a:ext uri="{FF2B5EF4-FFF2-40B4-BE49-F238E27FC236}">
                <a16:creationId xmlns:a16="http://schemas.microsoft.com/office/drawing/2014/main" id="{28024869-10F5-4AC5-8F5E-4D8F5042D838}"/>
              </a:ext>
            </a:extLst>
          </p:cNvPr>
          <p:cNvCxnSpPr>
            <a:cxnSpLocks/>
          </p:cNvCxnSpPr>
          <p:nvPr/>
        </p:nvCxnSpPr>
        <p:spPr>
          <a:xfrm flipV="1">
            <a:off x="6111707" y="5729312"/>
            <a:ext cx="2352410" cy="507128"/>
          </a:xfrm>
          <a:prstGeom prst="straightConnector1">
            <a:avLst/>
          </a:prstGeom>
          <a:ln w="57150">
            <a:solidFill>
              <a:srgbClr val="C00000"/>
            </a:solidFill>
            <a:headEnd type="none" w="lg" len="med"/>
            <a:tailEnd type="triangle"/>
          </a:ln>
        </p:spPr>
        <p:style>
          <a:lnRef idx="1">
            <a:schemeClr val="accent3"/>
          </a:lnRef>
          <a:fillRef idx="0">
            <a:schemeClr val="accent3"/>
          </a:fillRef>
          <a:effectRef idx="0">
            <a:schemeClr val="accent3"/>
          </a:effectRef>
          <a:fontRef idx="minor">
            <a:schemeClr val="tx1"/>
          </a:fontRef>
        </p:style>
      </p:cxnSp>
      <p:sp>
        <p:nvSpPr>
          <p:cNvPr id="7" name="TextBox 6">
            <a:extLst>
              <a:ext uri="{FF2B5EF4-FFF2-40B4-BE49-F238E27FC236}">
                <a16:creationId xmlns:a16="http://schemas.microsoft.com/office/drawing/2014/main" id="{9D4788D5-8E43-4E63-A99E-E3EA2CF14582}"/>
              </a:ext>
            </a:extLst>
          </p:cNvPr>
          <p:cNvSpPr txBox="1">
            <a:spLocks noChangeAspect="1"/>
          </p:cNvSpPr>
          <p:nvPr/>
        </p:nvSpPr>
        <p:spPr>
          <a:xfrm>
            <a:off x="4676503" y="5982876"/>
            <a:ext cx="1435204" cy="388120"/>
          </a:xfrm>
          <a:prstGeom prst="rect">
            <a:avLst/>
          </a:prstGeom>
          <a:noFill/>
        </p:spPr>
        <p:txBody>
          <a:bodyPr wrap="square" rtlCol="0">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922" b="1" i="0" u="none" strike="noStrike" kern="1200" cap="none" spc="0" normalizeH="0" baseline="0" noProof="0" dirty="0">
                <a:ln>
                  <a:noFill/>
                </a:ln>
                <a:solidFill>
                  <a:srgbClr val="505050"/>
                </a:solidFill>
                <a:effectLst/>
                <a:uLnTx/>
                <a:uFillTx/>
                <a:latin typeface="Segoe UI"/>
                <a:ea typeface="+mn-ea"/>
                <a:cs typeface="+mn-cs"/>
              </a:rPr>
              <a:t>Segment</a:t>
            </a:r>
          </a:p>
        </p:txBody>
      </p:sp>
    </p:spTree>
    <p:extLst>
      <p:ext uri="{BB962C8B-B14F-4D97-AF65-F5344CB8AC3E}">
        <p14:creationId xmlns:p14="http://schemas.microsoft.com/office/powerpoint/2010/main" val="2628451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77456">
        <p159:morph option="byObject"/>
      </p:transition>
    </mc:Choice>
    <mc:Fallback xmlns="">
      <p:transition spd="slow" advTm="177456">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2D542E-32E2-497D-AA88-1B736CC0D15D}"/>
              </a:ext>
            </a:extLst>
          </p:cNvPr>
          <p:cNvSpPr>
            <a:spLocks noGrp="1"/>
          </p:cNvSpPr>
          <p:nvPr>
            <p:ph type="title"/>
          </p:nvPr>
        </p:nvSpPr>
        <p:spPr>
          <a:xfrm>
            <a:off x="655638" y="320040"/>
            <a:ext cx="10880725" cy="461665"/>
          </a:xfrm>
        </p:spPr>
        <p:txBody>
          <a:bodyPr wrap="square" anchor="t">
            <a:normAutofit/>
          </a:bodyPr>
          <a:lstStyle/>
          <a:p>
            <a:r>
              <a:rPr lang="en-US" dirty="0"/>
              <a:t>Columnstore Index Types</a:t>
            </a:r>
          </a:p>
        </p:txBody>
      </p:sp>
      <p:graphicFrame>
        <p:nvGraphicFramePr>
          <p:cNvPr id="6" name="Content Placeholder 5">
            <a:extLst>
              <a:ext uri="{FF2B5EF4-FFF2-40B4-BE49-F238E27FC236}">
                <a16:creationId xmlns:a16="http://schemas.microsoft.com/office/drawing/2014/main" id="{9BCCFC44-A619-4030-89DF-503BCBF60096}"/>
              </a:ext>
            </a:extLst>
          </p:cNvPr>
          <p:cNvGraphicFramePr>
            <a:graphicFrameLocks noGrp="1"/>
          </p:cNvGraphicFramePr>
          <p:nvPr>
            <p:ph sz="quarter" idx="13"/>
            <p:extLst>
              <p:ext uri="{D42A27DB-BD31-4B8C-83A1-F6EECF244321}">
                <p14:modId xmlns:p14="http://schemas.microsoft.com/office/powerpoint/2010/main" val="174216601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4456861"/>
      </p:ext>
    </p:extLst>
  </p:cSld>
  <p:clrMapOvr>
    <a:masterClrMapping/>
  </p:clrMapOvr>
  <mc:AlternateContent xmlns:mc="http://schemas.openxmlformats.org/markup-compatibility/2006" xmlns:p14="http://schemas.microsoft.com/office/powerpoint/2010/main">
    <mc:Choice Requires="p14">
      <p:transition spd="slow" p14:dur="2000" advTm="81651"/>
    </mc:Choice>
    <mc:Fallback xmlns="">
      <p:transition spd="slow" advTm="81651"/>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2D542E-32E2-497D-AA88-1B736CC0D15D}"/>
              </a:ext>
            </a:extLst>
          </p:cNvPr>
          <p:cNvSpPr>
            <a:spLocks noGrp="1"/>
          </p:cNvSpPr>
          <p:nvPr>
            <p:ph type="title"/>
          </p:nvPr>
        </p:nvSpPr>
        <p:spPr/>
        <p:txBody>
          <a:bodyPr/>
          <a:lstStyle/>
          <a:p>
            <a:r>
              <a:rPr lang="en-US" dirty="0"/>
              <a:t>Columnstore Index Types</a:t>
            </a:r>
          </a:p>
        </p:txBody>
      </p:sp>
      <p:graphicFrame>
        <p:nvGraphicFramePr>
          <p:cNvPr id="4" name="Content Placeholder 3">
            <a:extLst>
              <a:ext uri="{FF2B5EF4-FFF2-40B4-BE49-F238E27FC236}">
                <a16:creationId xmlns:a16="http://schemas.microsoft.com/office/drawing/2014/main" id="{843F9BD4-0B48-4AE0-A875-5F7DEA16E0FC}"/>
              </a:ext>
            </a:extLst>
          </p:cNvPr>
          <p:cNvGraphicFramePr>
            <a:graphicFrameLocks noGrp="1"/>
          </p:cNvGraphicFramePr>
          <p:nvPr>
            <p:ph sz="quarter" idx="13"/>
            <p:extLst>
              <p:ext uri="{D42A27DB-BD31-4B8C-83A1-F6EECF244321}">
                <p14:modId xmlns:p14="http://schemas.microsoft.com/office/powerpoint/2010/main" val="3906386701"/>
              </p:ext>
            </p:extLst>
          </p:nvPr>
        </p:nvGraphicFramePr>
        <p:xfrm>
          <a:off x="655638" y="1156138"/>
          <a:ext cx="10880726" cy="5071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9557339"/>
      </p:ext>
    </p:extLst>
  </p:cSld>
  <p:clrMapOvr>
    <a:masterClrMapping/>
  </p:clrMapOvr>
  <mc:AlternateContent xmlns:mc="http://schemas.openxmlformats.org/markup-compatibility/2006" xmlns:p14="http://schemas.microsoft.com/office/powerpoint/2010/main">
    <mc:Choice Requires="p14">
      <p:transition spd="slow" p14:dur="2000" advTm="81651"/>
    </mc:Choice>
    <mc:Fallback xmlns="">
      <p:transition spd="slow" advTm="81651"/>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DF189772-FC5A-4176-BC00-4A649B061E18}"/>
              </a:ext>
            </a:extLst>
          </p:cNvPr>
          <p:cNvGraphicFramePr/>
          <p:nvPr>
            <p:extLst>
              <p:ext uri="{D42A27DB-BD31-4B8C-83A1-F6EECF244321}">
                <p14:modId xmlns:p14="http://schemas.microsoft.com/office/powerpoint/2010/main" val="3237993637"/>
              </p:ext>
            </p:extLst>
          </p:nvPr>
        </p:nvGraphicFramePr>
        <p:xfrm>
          <a:off x="937419" y="1239503"/>
          <a:ext cx="10317162" cy="33324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dirty="0"/>
              <a:t>Delta Store</a:t>
            </a:r>
          </a:p>
        </p:txBody>
      </p:sp>
      <p:sp>
        <p:nvSpPr>
          <p:cNvPr id="4" name="Rectangle 3"/>
          <p:cNvSpPr/>
          <p:nvPr/>
        </p:nvSpPr>
        <p:spPr>
          <a:xfrm>
            <a:off x="4296255" y="4778338"/>
            <a:ext cx="3599490" cy="1439796"/>
          </a:xfrm>
          <a:prstGeom prst="rect">
            <a:avLst/>
          </a:prstGeom>
          <a:solidFill>
            <a:schemeClr val="accent1">
              <a:lumMod val="50000"/>
            </a:schemeClr>
          </a:solidFill>
          <a:ln>
            <a:noFill/>
          </a:ln>
          <a:effectLst>
            <a:outerShdw blurRad="76200" dir="13500000" sy="23000" kx="1200000" algn="br"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Segoe UI Light"/>
                <a:ea typeface="+mn-ea"/>
                <a:cs typeface="+mn-cs"/>
              </a:rPr>
              <a:t>Max # row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Segoe UI Light"/>
                <a:ea typeface="+mn-ea"/>
                <a:cs typeface="+mn-cs"/>
              </a:rPr>
              <a:t>delta store</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Segoe UI Light"/>
                <a:ea typeface="+mn-ea"/>
                <a:cs typeface="+mn-cs"/>
              </a:rPr>
              <a:t>1,048,576</a:t>
            </a:r>
          </a:p>
        </p:txBody>
      </p:sp>
    </p:spTree>
    <p:extLst>
      <p:ext uri="{BB962C8B-B14F-4D97-AF65-F5344CB8AC3E}">
        <p14:creationId xmlns:p14="http://schemas.microsoft.com/office/powerpoint/2010/main" val="27842446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p:spPr>
        <p:txBody>
          <a:bodyPr wrap="square" anchor="t">
            <a:normAutofit/>
          </a:bodyPr>
          <a:lstStyle/>
          <a:p>
            <a:r>
              <a:rPr lang="en-US"/>
              <a:t>Heap</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xfrm>
            <a:off x="655637" y="786383"/>
            <a:ext cx="10880725" cy="461665"/>
          </a:xfrm>
        </p:spPr>
        <p:txBody>
          <a:bodyPr>
            <a:normAutofit/>
          </a:bodyPr>
          <a:lstStyle/>
          <a:p>
            <a:r>
              <a:rPr lang="en-US"/>
              <a:t>A heap is a table without a clustered index</a:t>
            </a:r>
          </a:p>
        </p:txBody>
      </p:sp>
      <p:graphicFrame>
        <p:nvGraphicFramePr>
          <p:cNvPr id="5" name="Content Placeholder 4">
            <a:extLst>
              <a:ext uri="{FF2B5EF4-FFF2-40B4-BE49-F238E27FC236}">
                <a16:creationId xmlns:a16="http://schemas.microsoft.com/office/drawing/2014/main" id="{B4B3A3A5-9D01-4F4F-AACF-3434015E1C8E}"/>
              </a:ext>
            </a:extLst>
          </p:cNvPr>
          <p:cNvGraphicFramePr>
            <a:graphicFrameLocks noGrp="1"/>
          </p:cNvGraphicFramePr>
          <p:nvPr>
            <p:ph sz="quarter" idx="13"/>
            <p:extLst>
              <p:ext uri="{D42A27DB-BD31-4B8C-83A1-F6EECF244321}">
                <p14:modId xmlns:p14="http://schemas.microsoft.com/office/powerpoint/2010/main" val="114414683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58101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BA5D590B-D94E-4DE4-9441-174EFBCA4654}"/>
              </a:ext>
            </a:extLst>
          </p:cNvPr>
          <p:cNvGraphicFramePr/>
          <p:nvPr>
            <p:extLst>
              <p:ext uri="{D42A27DB-BD31-4B8C-83A1-F6EECF244321}">
                <p14:modId xmlns:p14="http://schemas.microsoft.com/office/powerpoint/2010/main" val="2099578595"/>
              </p:ext>
            </p:extLst>
          </p:nvPr>
        </p:nvGraphicFramePr>
        <p:xfrm>
          <a:off x="1091066" y="1223428"/>
          <a:ext cx="10317162" cy="50178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dirty="0"/>
              <a:t>Small DML Against the Column Store</a:t>
            </a:r>
          </a:p>
        </p:txBody>
      </p:sp>
    </p:spTree>
    <p:extLst>
      <p:ext uri="{BB962C8B-B14F-4D97-AF65-F5344CB8AC3E}">
        <p14:creationId xmlns:p14="http://schemas.microsoft.com/office/powerpoint/2010/main" val="1161767797"/>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wrap="square" anchor="t">
            <a:normAutofit/>
          </a:bodyPr>
          <a:lstStyle/>
          <a:p>
            <a:r>
              <a:rPr kumimoji="1" lang="en-US"/>
              <a:t>Segment Elimination</a:t>
            </a:r>
          </a:p>
        </p:txBody>
      </p:sp>
      <p:graphicFrame>
        <p:nvGraphicFramePr>
          <p:cNvPr id="13" name="Content Placeholder 2">
            <a:extLst>
              <a:ext uri="{FF2B5EF4-FFF2-40B4-BE49-F238E27FC236}">
                <a16:creationId xmlns:a16="http://schemas.microsoft.com/office/drawing/2014/main" id="{AFFE2C62-3A58-4E44-8D21-2B705CD81B97}"/>
              </a:ext>
            </a:extLst>
          </p:cNvPr>
          <p:cNvGraphicFramePr/>
          <p:nvPr>
            <p:extLst>
              <p:ext uri="{D42A27DB-BD31-4B8C-83A1-F6EECF244321}">
                <p14:modId xmlns:p14="http://schemas.microsoft.com/office/powerpoint/2010/main" val="386485882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73741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7CF8F-3871-4997-8753-05D50A56C11F}"/>
              </a:ext>
            </a:extLst>
          </p:cNvPr>
          <p:cNvSpPr>
            <a:spLocks noGrp="1"/>
          </p:cNvSpPr>
          <p:nvPr>
            <p:ph type="title"/>
          </p:nvPr>
        </p:nvSpPr>
        <p:spPr/>
        <p:txBody>
          <a:bodyPr/>
          <a:lstStyle/>
          <a:p>
            <a:r>
              <a:rPr lang="en-GB" dirty="0"/>
              <a:t>Segment / </a:t>
            </a:r>
            <a:r>
              <a:rPr lang="en-GB" dirty="0" err="1"/>
              <a:t>RowGroup</a:t>
            </a:r>
            <a:r>
              <a:rPr lang="en-GB" dirty="0"/>
              <a:t> Elimination</a:t>
            </a:r>
            <a:endParaRPr lang="en-US" dirty="0"/>
          </a:p>
        </p:txBody>
      </p:sp>
      <p:sp>
        <p:nvSpPr>
          <p:cNvPr id="5" name="TextBox 4">
            <a:extLst>
              <a:ext uri="{FF2B5EF4-FFF2-40B4-BE49-F238E27FC236}">
                <a16:creationId xmlns:a16="http://schemas.microsoft.com/office/drawing/2014/main" id="{D56641DD-0CAC-4CAB-B7BD-77B4185A78B0}"/>
              </a:ext>
            </a:extLst>
          </p:cNvPr>
          <p:cNvSpPr txBox="1"/>
          <p:nvPr/>
        </p:nvSpPr>
        <p:spPr>
          <a:xfrm>
            <a:off x="6445144" y="931181"/>
            <a:ext cx="5147563" cy="923330"/>
          </a:xfrm>
          <a:prstGeom prst="rect">
            <a:avLst/>
          </a:prstGeom>
          <a:noFill/>
          <a:ln>
            <a:solidFill>
              <a:schemeClr val="accent1"/>
            </a:solidFill>
          </a:ln>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SELECT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ProductKey</a:t>
            </a:r>
            <a:r>
              <a:rPr kumimoji="0" lang="en-US" b="0" i="0" u="none" strike="noStrike" kern="1200" cap="none" spc="0" normalizeH="0" baseline="0" noProof="0">
                <a:ln>
                  <a:noFill/>
                </a:ln>
                <a:solidFill>
                  <a:srgbClr val="002050">
                    <a:lumMod val="50000"/>
                  </a:srgbClr>
                </a:solidFill>
                <a:effectLst/>
                <a:uLnTx/>
                <a:uFillTx/>
                <a:latin typeface="Courier New" panose="02070309020205020404" pitchFamily="49" charset="0"/>
                <a:cs typeface="Courier New" panose="02070309020205020404" pitchFamily="49" charset="0"/>
              </a:rPr>
              <a:t>,</a:t>
            </a:r>
            <a:r>
              <a:rPr kumimoji="0" lang="en-US" b="0" i="0" u="none" strike="noStrike" kern="1200" cap="none" spc="0" normalizeH="0" baseline="0" noProof="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a:ln>
                  <a:noFill/>
                </a:ln>
                <a:solidFill>
                  <a:srgbClr val="FD9EFD"/>
                </a:solidFill>
                <a:effectLst/>
                <a:uLnTx/>
                <a:uFillTx/>
                <a:latin typeface="Courier New" panose="02070309020205020404" pitchFamily="49" charset="0"/>
                <a:cs typeface="Courier New" panose="02070309020205020404" pitchFamily="49" charset="0"/>
              </a:rPr>
              <a:t>SUM</a:t>
            </a:r>
            <a:r>
              <a:rPr lang="en-US" dirty="0">
                <a:latin typeface="Courier New" panose="02070309020205020404" pitchFamily="49" charset="0"/>
                <a:cs typeface="Courier New" panose="02070309020205020404" pitchFamily="49" charset="0"/>
              </a:rPr>
              <a:t>(</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SalesAmount</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a:t>
            </a:r>
            <a:endParaRPr kumimoji="0" lang="en-US" b="0" i="0" u="none" strike="noStrike" kern="1200" cap="none" spc="0" normalizeH="0" baseline="0" noProof="0" dirty="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FROM </a:t>
            </a:r>
            <a:r>
              <a:rPr kumimoji="0" lang="en-US" b="0" i="0" u="none" strike="noStrike" kern="1200" cap="none" spc="0" normalizeH="0" baseline="0" noProof="0" dirty="0" err="1">
                <a:ln>
                  <a:noFill/>
                </a:ln>
                <a:solidFill>
                  <a:srgbClr val="505050">
                    <a:lumMod val="50000"/>
                  </a:srgbClr>
                </a:solidFill>
                <a:effectLst/>
                <a:uLnTx/>
                <a:uFillTx/>
                <a:latin typeface="Courier New" panose="02070309020205020404" pitchFamily="49" charset="0"/>
                <a:cs typeface="Courier New" panose="02070309020205020404" pitchFamily="49" charset="0"/>
              </a:rPr>
              <a:t>SalesTable</a:t>
            </a:r>
            <a:endPar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WHERE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OrderDateKey</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rPr>
              <a:t>&lt; ’20101108’</a:t>
            </a:r>
            <a:endParaRPr kumimoji="0" lang="en-US" b="0" i="0" u="none" strike="noStrike" kern="1200" cap="none" spc="0" normalizeH="0" baseline="0" noProof="0" dirty="0">
              <a:ln>
                <a:noFill/>
              </a:ln>
              <a:solidFill>
                <a:srgbClr val="FFFFFF"/>
              </a:solidFill>
              <a:effectLst/>
              <a:uLnTx/>
              <a:uFillTx/>
              <a:latin typeface="Courier New" panose="02070309020205020404" pitchFamily="49" charset="0"/>
              <a:cs typeface="Courier New" panose="02070309020205020404" pitchFamily="49" charset="0"/>
            </a:endParaRPr>
          </a:p>
        </p:txBody>
      </p:sp>
      <p:pic>
        <p:nvPicPr>
          <p:cNvPr id="7" name="table">
            <a:extLst>
              <a:ext uri="{FF2B5EF4-FFF2-40B4-BE49-F238E27FC236}">
                <a16:creationId xmlns:a16="http://schemas.microsoft.com/office/drawing/2014/main" id="{CE01AA63-5A13-45A3-AA94-E054161B982A}"/>
              </a:ext>
            </a:extLst>
          </p:cNvPr>
          <p:cNvPicPr>
            <a:picLocks noChangeAspect="1"/>
          </p:cNvPicPr>
          <p:nvPr/>
        </p:nvPicPr>
        <p:blipFill rotWithShape="1">
          <a:blip r:embed="rId4"/>
          <a:srcRect r="30190"/>
          <a:stretch/>
        </p:blipFill>
        <p:spPr>
          <a:xfrm>
            <a:off x="8195757" y="2035534"/>
            <a:ext cx="1573450" cy="1762140"/>
          </a:xfrm>
          <a:prstGeom prst="rect">
            <a:avLst/>
          </a:prstGeom>
          <a:noFill/>
          <a:ln>
            <a:noFill/>
          </a:ln>
        </p:spPr>
      </p:pic>
      <p:pic>
        <p:nvPicPr>
          <p:cNvPr id="9" name="table">
            <a:extLst>
              <a:ext uri="{FF2B5EF4-FFF2-40B4-BE49-F238E27FC236}">
                <a16:creationId xmlns:a16="http://schemas.microsoft.com/office/drawing/2014/main" id="{A63D69BC-367D-4BFF-BB7D-88C655687549}"/>
              </a:ext>
            </a:extLst>
          </p:cNvPr>
          <p:cNvPicPr>
            <a:picLocks noChangeAspect="1"/>
          </p:cNvPicPr>
          <p:nvPr/>
        </p:nvPicPr>
        <p:blipFill rotWithShape="1">
          <a:blip r:embed="rId5"/>
          <a:srcRect r="29833"/>
          <a:stretch/>
        </p:blipFill>
        <p:spPr>
          <a:xfrm>
            <a:off x="6452309" y="2029673"/>
            <a:ext cx="1581497" cy="2008021"/>
          </a:xfrm>
          <a:prstGeom prst="rect">
            <a:avLst/>
          </a:prstGeom>
          <a:noFill/>
          <a:ln>
            <a:noFill/>
          </a:ln>
        </p:spPr>
      </p:pic>
      <p:pic>
        <p:nvPicPr>
          <p:cNvPr id="11" name="table">
            <a:extLst>
              <a:ext uri="{FF2B5EF4-FFF2-40B4-BE49-F238E27FC236}">
                <a16:creationId xmlns:a16="http://schemas.microsoft.com/office/drawing/2014/main" id="{2FB7026D-966B-4155-B92B-62CE4AAB974E}"/>
              </a:ext>
            </a:extLst>
          </p:cNvPr>
          <p:cNvPicPr>
            <a:picLocks noChangeAspect="1"/>
          </p:cNvPicPr>
          <p:nvPr/>
        </p:nvPicPr>
        <p:blipFill rotWithShape="1">
          <a:blip r:embed="rId6"/>
          <a:srcRect r="29324"/>
          <a:stretch/>
        </p:blipFill>
        <p:spPr>
          <a:xfrm>
            <a:off x="4713270" y="2029673"/>
            <a:ext cx="1592972" cy="2130961"/>
          </a:xfrm>
          <a:prstGeom prst="rect">
            <a:avLst/>
          </a:prstGeom>
          <a:noFill/>
          <a:ln>
            <a:noFill/>
          </a:ln>
        </p:spPr>
      </p:pic>
      <p:pic>
        <p:nvPicPr>
          <p:cNvPr id="13" name="table">
            <a:extLst>
              <a:ext uri="{FF2B5EF4-FFF2-40B4-BE49-F238E27FC236}">
                <a16:creationId xmlns:a16="http://schemas.microsoft.com/office/drawing/2014/main" id="{04FEB06F-E11B-46A5-9744-4283EBE386F8}"/>
              </a:ext>
            </a:extLst>
          </p:cNvPr>
          <p:cNvPicPr>
            <a:picLocks noChangeAspect="1"/>
          </p:cNvPicPr>
          <p:nvPr/>
        </p:nvPicPr>
        <p:blipFill rotWithShape="1">
          <a:blip r:embed="rId7"/>
          <a:srcRect r="29446"/>
          <a:stretch/>
        </p:blipFill>
        <p:spPr>
          <a:xfrm>
            <a:off x="1236393" y="2029673"/>
            <a:ext cx="1590204" cy="1885082"/>
          </a:xfrm>
          <a:prstGeom prst="rect">
            <a:avLst/>
          </a:prstGeom>
          <a:noFill/>
          <a:ln>
            <a:noFill/>
          </a:ln>
        </p:spPr>
      </p:pic>
      <p:pic>
        <p:nvPicPr>
          <p:cNvPr id="15" name="table">
            <a:extLst>
              <a:ext uri="{FF2B5EF4-FFF2-40B4-BE49-F238E27FC236}">
                <a16:creationId xmlns:a16="http://schemas.microsoft.com/office/drawing/2014/main" id="{541A13A1-D420-4993-B452-ECBA5D2F537E}"/>
              </a:ext>
            </a:extLst>
          </p:cNvPr>
          <p:cNvPicPr>
            <a:picLocks noChangeAspect="1"/>
          </p:cNvPicPr>
          <p:nvPr/>
        </p:nvPicPr>
        <p:blipFill rotWithShape="1">
          <a:blip r:embed="rId8"/>
          <a:srcRect r="29093"/>
          <a:stretch/>
        </p:blipFill>
        <p:spPr>
          <a:xfrm>
            <a:off x="2975393" y="2035534"/>
            <a:ext cx="1598162" cy="2008021"/>
          </a:xfrm>
          <a:prstGeom prst="rect">
            <a:avLst/>
          </a:prstGeom>
          <a:noFill/>
          <a:ln>
            <a:noFill/>
          </a:ln>
        </p:spPr>
      </p:pic>
      <p:pic>
        <p:nvPicPr>
          <p:cNvPr id="17" name="table">
            <a:extLst>
              <a:ext uri="{FF2B5EF4-FFF2-40B4-BE49-F238E27FC236}">
                <a16:creationId xmlns:a16="http://schemas.microsoft.com/office/drawing/2014/main" id="{794080B0-EB9A-4141-9C44-B367CBE81A42}"/>
              </a:ext>
            </a:extLst>
          </p:cNvPr>
          <p:cNvPicPr>
            <a:picLocks noChangeAspect="1"/>
          </p:cNvPicPr>
          <p:nvPr/>
        </p:nvPicPr>
        <p:blipFill rotWithShape="1">
          <a:blip r:embed="rId9"/>
          <a:srcRect r="29836"/>
          <a:stretch/>
        </p:blipFill>
        <p:spPr>
          <a:xfrm>
            <a:off x="9931158" y="2029673"/>
            <a:ext cx="1581434" cy="2253901"/>
          </a:xfrm>
          <a:prstGeom prst="rect">
            <a:avLst/>
          </a:prstGeom>
          <a:noFill/>
          <a:ln>
            <a:noFill/>
          </a:ln>
        </p:spPr>
      </p:pic>
      <p:pic>
        <p:nvPicPr>
          <p:cNvPr id="19" name="table">
            <a:extLst>
              <a:ext uri="{FF2B5EF4-FFF2-40B4-BE49-F238E27FC236}">
                <a16:creationId xmlns:a16="http://schemas.microsoft.com/office/drawing/2014/main" id="{67D53B80-D67D-4F6B-AF4D-8AFF5031A8A7}"/>
              </a:ext>
            </a:extLst>
          </p:cNvPr>
          <p:cNvPicPr>
            <a:picLocks noChangeAspect="1"/>
          </p:cNvPicPr>
          <p:nvPr/>
        </p:nvPicPr>
        <p:blipFill rotWithShape="1">
          <a:blip r:embed="rId10"/>
          <a:srcRect r="30190"/>
          <a:stretch/>
        </p:blipFill>
        <p:spPr>
          <a:xfrm>
            <a:off x="8195757" y="4538812"/>
            <a:ext cx="1573450" cy="1885082"/>
          </a:xfrm>
          <a:prstGeom prst="rect">
            <a:avLst/>
          </a:prstGeom>
          <a:noFill/>
          <a:ln>
            <a:noFill/>
          </a:ln>
        </p:spPr>
      </p:pic>
      <p:pic>
        <p:nvPicPr>
          <p:cNvPr id="21" name="table">
            <a:extLst>
              <a:ext uri="{FF2B5EF4-FFF2-40B4-BE49-F238E27FC236}">
                <a16:creationId xmlns:a16="http://schemas.microsoft.com/office/drawing/2014/main" id="{7B9D0544-75D7-4A18-859C-FDC3FDCDFDC6}"/>
              </a:ext>
            </a:extLst>
          </p:cNvPr>
          <p:cNvPicPr>
            <a:picLocks noChangeAspect="1"/>
          </p:cNvPicPr>
          <p:nvPr/>
        </p:nvPicPr>
        <p:blipFill rotWithShape="1">
          <a:blip r:embed="rId11"/>
          <a:srcRect r="29095"/>
          <a:stretch/>
        </p:blipFill>
        <p:spPr>
          <a:xfrm>
            <a:off x="6445144" y="4532951"/>
            <a:ext cx="1598134" cy="2008021"/>
          </a:xfrm>
          <a:prstGeom prst="rect">
            <a:avLst/>
          </a:prstGeom>
          <a:noFill/>
          <a:ln>
            <a:noFill/>
          </a:ln>
        </p:spPr>
      </p:pic>
      <p:pic>
        <p:nvPicPr>
          <p:cNvPr id="23" name="table">
            <a:extLst>
              <a:ext uri="{FF2B5EF4-FFF2-40B4-BE49-F238E27FC236}">
                <a16:creationId xmlns:a16="http://schemas.microsoft.com/office/drawing/2014/main" id="{1F6FCCC7-CA3A-4356-8D00-77CE661E8A68}"/>
              </a:ext>
            </a:extLst>
          </p:cNvPr>
          <p:cNvPicPr>
            <a:picLocks noChangeAspect="1"/>
          </p:cNvPicPr>
          <p:nvPr/>
        </p:nvPicPr>
        <p:blipFill rotWithShape="1">
          <a:blip r:embed="rId12"/>
          <a:srcRect r="29324"/>
          <a:stretch/>
        </p:blipFill>
        <p:spPr>
          <a:xfrm>
            <a:off x="4715577" y="4532951"/>
            <a:ext cx="1592972" cy="2130961"/>
          </a:xfrm>
          <a:prstGeom prst="rect">
            <a:avLst/>
          </a:prstGeom>
          <a:noFill/>
          <a:ln>
            <a:noFill/>
          </a:ln>
        </p:spPr>
      </p:pic>
      <p:pic>
        <p:nvPicPr>
          <p:cNvPr id="25" name="table">
            <a:extLst>
              <a:ext uri="{FF2B5EF4-FFF2-40B4-BE49-F238E27FC236}">
                <a16:creationId xmlns:a16="http://schemas.microsoft.com/office/drawing/2014/main" id="{CDD2904A-3D8F-4959-A962-6AFC9EAA6F4C}"/>
              </a:ext>
            </a:extLst>
          </p:cNvPr>
          <p:cNvPicPr>
            <a:picLocks noChangeAspect="1"/>
          </p:cNvPicPr>
          <p:nvPr/>
        </p:nvPicPr>
        <p:blipFill rotWithShape="1">
          <a:blip r:embed="rId13"/>
          <a:srcRect r="29093"/>
          <a:stretch/>
        </p:blipFill>
        <p:spPr>
          <a:xfrm>
            <a:off x="1236392" y="4532951"/>
            <a:ext cx="1598162" cy="1885082"/>
          </a:xfrm>
          <a:prstGeom prst="rect">
            <a:avLst/>
          </a:prstGeom>
          <a:noFill/>
          <a:ln>
            <a:noFill/>
          </a:ln>
        </p:spPr>
      </p:pic>
      <p:pic>
        <p:nvPicPr>
          <p:cNvPr id="27" name="table">
            <a:extLst>
              <a:ext uri="{FF2B5EF4-FFF2-40B4-BE49-F238E27FC236}">
                <a16:creationId xmlns:a16="http://schemas.microsoft.com/office/drawing/2014/main" id="{98628883-32A6-4B74-88D0-FD029E50DAF2}"/>
              </a:ext>
            </a:extLst>
          </p:cNvPr>
          <p:cNvPicPr>
            <a:picLocks noChangeAspect="1"/>
          </p:cNvPicPr>
          <p:nvPr/>
        </p:nvPicPr>
        <p:blipFill rotWithShape="1">
          <a:blip r:embed="rId14"/>
          <a:srcRect r="29093"/>
          <a:stretch/>
        </p:blipFill>
        <p:spPr>
          <a:xfrm>
            <a:off x="2975392" y="4538812"/>
            <a:ext cx="1598162" cy="2008021"/>
          </a:xfrm>
          <a:prstGeom prst="rect">
            <a:avLst/>
          </a:prstGeom>
          <a:noFill/>
          <a:ln>
            <a:noFill/>
          </a:ln>
        </p:spPr>
      </p:pic>
      <p:pic>
        <p:nvPicPr>
          <p:cNvPr id="29" name="table">
            <a:extLst>
              <a:ext uri="{FF2B5EF4-FFF2-40B4-BE49-F238E27FC236}">
                <a16:creationId xmlns:a16="http://schemas.microsoft.com/office/drawing/2014/main" id="{213E6893-E3F4-4847-96D6-3C4EC0B9E86D}"/>
              </a:ext>
            </a:extLst>
          </p:cNvPr>
          <p:cNvPicPr>
            <a:picLocks noChangeAspect="1"/>
          </p:cNvPicPr>
          <p:nvPr/>
        </p:nvPicPr>
        <p:blipFill rotWithShape="1">
          <a:blip r:embed="rId15"/>
          <a:srcRect r="28970"/>
          <a:stretch/>
        </p:blipFill>
        <p:spPr>
          <a:xfrm>
            <a:off x="9911663" y="4532951"/>
            <a:ext cx="1600929" cy="2253901"/>
          </a:xfrm>
          <a:prstGeom prst="rect">
            <a:avLst/>
          </a:prstGeom>
          <a:noFill/>
          <a:ln>
            <a:noFill/>
          </a:ln>
        </p:spPr>
      </p:pic>
      <p:sp>
        <p:nvSpPr>
          <p:cNvPr id="53" name="TextBox 52">
            <a:extLst>
              <a:ext uri="{FF2B5EF4-FFF2-40B4-BE49-F238E27FC236}">
                <a16:creationId xmlns:a16="http://schemas.microsoft.com/office/drawing/2014/main" id="{EC56BAFD-21A4-4684-A374-C7FACD99CAD0}"/>
              </a:ext>
            </a:extLst>
          </p:cNvPr>
          <p:cNvSpPr txBox="1"/>
          <p:nvPr/>
        </p:nvSpPr>
        <p:spPr>
          <a:xfrm rot="17916099">
            <a:off x="-214164" y="2783452"/>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1</a:t>
            </a:r>
          </a:p>
        </p:txBody>
      </p:sp>
      <p:sp>
        <p:nvSpPr>
          <p:cNvPr id="55" name="TextBox 54">
            <a:extLst>
              <a:ext uri="{FF2B5EF4-FFF2-40B4-BE49-F238E27FC236}">
                <a16:creationId xmlns:a16="http://schemas.microsoft.com/office/drawing/2014/main" id="{4C4566B1-37E7-4E78-A785-6B5BD525DFE9}"/>
              </a:ext>
            </a:extLst>
          </p:cNvPr>
          <p:cNvSpPr txBox="1"/>
          <p:nvPr/>
        </p:nvSpPr>
        <p:spPr>
          <a:xfrm rot="17916099">
            <a:off x="-214164" y="5259128"/>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2</a:t>
            </a:r>
          </a:p>
        </p:txBody>
      </p:sp>
    </p:spTree>
    <p:custDataLst>
      <p:tags r:id="rId1"/>
    </p:custDataLst>
    <p:extLst>
      <p:ext uri="{BB962C8B-B14F-4D97-AF65-F5344CB8AC3E}">
        <p14:creationId xmlns:p14="http://schemas.microsoft.com/office/powerpoint/2010/main" val="23891083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7CF8F-3871-4997-8753-05D50A56C11F}"/>
              </a:ext>
            </a:extLst>
          </p:cNvPr>
          <p:cNvSpPr>
            <a:spLocks noGrp="1"/>
          </p:cNvSpPr>
          <p:nvPr>
            <p:ph type="title"/>
          </p:nvPr>
        </p:nvSpPr>
        <p:spPr/>
        <p:txBody>
          <a:bodyPr/>
          <a:lstStyle/>
          <a:p>
            <a:r>
              <a:rPr lang="en-GB" dirty="0"/>
              <a:t>Segment / </a:t>
            </a:r>
            <a:r>
              <a:rPr lang="en-GB" dirty="0" err="1"/>
              <a:t>RowGroup</a:t>
            </a:r>
            <a:r>
              <a:rPr lang="en-GB" dirty="0"/>
              <a:t> Elimination</a:t>
            </a:r>
            <a:endParaRPr lang="en-US" dirty="0"/>
          </a:p>
        </p:txBody>
      </p:sp>
      <p:sp>
        <p:nvSpPr>
          <p:cNvPr id="5" name="TextBox 4">
            <a:extLst>
              <a:ext uri="{FF2B5EF4-FFF2-40B4-BE49-F238E27FC236}">
                <a16:creationId xmlns:a16="http://schemas.microsoft.com/office/drawing/2014/main" id="{D56641DD-0CAC-4CAB-B7BD-77B4185A78B0}"/>
              </a:ext>
            </a:extLst>
          </p:cNvPr>
          <p:cNvSpPr txBox="1"/>
          <p:nvPr/>
        </p:nvSpPr>
        <p:spPr>
          <a:xfrm>
            <a:off x="6445144" y="931181"/>
            <a:ext cx="5147563" cy="923330"/>
          </a:xfrm>
          <a:prstGeom prst="rect">
            <a:avLst/>
          </a:prstGeom>
          <a:noFill/>
          <a:ln>
            <a:solidFill>
              <a:schemeClr val="accent1"/>
            </a:solidFill>
          </a:ln>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SELECT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ProductKey</a:t>
            </a:r>
            <a:r>
              <a:rPr kumimoji="0" lang="en-US" b="0" i="0" u="none" strike="noStrike" kern="1200" cap="none" spc="0" normalizeH="0" baseline="0" noProof="0">
                <a:ln>
                  <a:noFill/>
                </a:ln>
                <a:solidFill>
                  <a:srgbClr val="002050">
                    <a:lumMod val="50000"/>
                  </a:srgbClr>
                </a:solidFill>
                <a:effectLst/>
                <a:uLnTx/>
                <a:uFillTx/>
                <a:latin typeface="Courier New" panose="02070309020205020404" pitchFamily="49" charset="0"/>
                <a:cs typeface="Courier New" panose="02070309020205020404" pitchFamily="49" charset="0"/>
              </a:rPr>
              <a:t>,</a:t>
            </a:r>
            <a:r>
              <a:rPr kumimoji="0" lang="en-US" b="0" i="0" u="none" strike="noStrike" kern="1200" cap="none" spc="0" normalizeH="0" baseline="0" noProof="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a:ln>
                  <a:noFill/>
                </a:ln>
                <a:solidFill>
                  <a:srgbClr val="FD9EFD"/>
                </a:solidFill>
                <a:effectLst/>
                <a:uLnTx/>
                <a:uFillTx/>
                <a:latin typeface="Courier New" panose="02070309020205020404" pitchFamily="49" charset="0"/>
                <a:cs typeface="Courier New" panose="02070309020205020404" pitchFamily="49" charset="0"/>
              </a:rPr>
              <a:t>SUM</a:t>
            </a:r>
            <a:r>
              <a:rPr lang="en-US" dirty="0">
                <a:latin typeface="Courier New" panose="02070309020205020404" pitchFamily="49" charset="0"/>
                <a:cs typeface="Courier New" panose="02070309020205020404" pitchFamily="49" charset="0"/>
              </a:rPr>
              <a:t>(</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SalesAmount</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a:t>
            </a:r>
            <a:endParaRPr kumimoji="0" lang="en-US" b="0" i="0" u="none" strike="noStrike" kern="1200" cap="none" spc="0" normalizeH="0" baseline="0" noProof="0" dirty="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FROM </a:t>
            </a:r>
            <a:r>
              <a:rPr kumimoji="0" lang="en-US" b="0" i="0" u="none" strike="noStrike" kern="1200" cap="none" spc="0" normalizeH="0" baseline="0" noProof="0" dirty="0" err="1">
                <a:ln>
                  <a:noFill/>
                </a:ln>
                <a:solidFill>
                  <a:srgbClr val="505050">
                    <a:lumMod val="50000"/>
                  </a:srgbClr>
                </a:solidFill>
                <a:effectLst/>
                <a:uLnTx/>
                <a:uFillTx/>
                <a:latin typeface="Courier New" panose="02070309020205020404" pitchFamily="49" charset="0"/>
                <a:cs typeface="Courier New" panose="02070309020205020404" pitchFamily="49" charset="0"/>
              </a:rPr>
              <a:t>SalesTable</a:t>
            </a:r>
            <a:endPar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WHERE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OrderDateKey</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rPr>
              <a:t>&lt; ’20101108’</a:t>
            </a:r>
            <a:endParaRPr kumimoji="0" lang="en-US" b="0" i="0" u="none" strike="noStrike" kern="1200" cap="none" spc="0" normalizeH="0" baseline="0" noProof="0" dirty="0">
              <a:ln>
                <a:noFill/>
              </a:ln>
              <a:solidFill>
                <a:srgbClr val="FFFFFF"/>
              </a:solidFill>
              <a:effectLst/>
              <a:uLnTx/>
              <a:uFillTx/>
              <a:latin typeface="Courier New" panose="02070309020205020404" pitchFamily="49" charset="0"/>
              <a:cs typeface="Courier New" panose="02070309020205020404" pitchFamily="49" charset="0"/>
            </a:endParaRPr>
          </a:p>
        </p:txBody>
      </p:sp>
      <p:pic>
        <p:nvPicPr>
          <p:cNvPr id="7" name="table">
            <a:extLst>
              <a:ext uri="{FF2B5EF4-FFF2-40B4-BE49-F238E27FC236}">
                <a16:creationId xmlns:a16="http://schemas.microsoft.com/office/drawing/2014/main" id="{CE01AA63-5A13-45A3-AA94-E054161B982A}"/>
              </a:ext>
            </a:extLst>
          </p:cNvPr>
          <p:cNvPicPr>
            <a:picLocks noChangeAspect="1"/>
          </p:cNvPicPr>
          <p:nvPr/>
        </p:nvPicPr>
        <p:blipFill rotWithShape="1">
          <a:blip r:embed="rId4"/>
          <a:srcRect r="30190"/>
          <a:stretch/>
        </p:blipFill>
        <p:spPr>
          <a:xfrm>
            <a:off x="8195757" y="2035534"/>
            <a:ext cx="1573450" cy="1762140"/>
          </a:xfrm>
          <a:prstGeom prst="rect">
            <a:avLst/>
          </a:prstGeom>
          <a:noFill/>
          <a:ln>
            <a:noFill/>
          </a:ln>
        </p:spPr>
      </p:pic>
      <p:pic>
        <p:nvPicPr>
          <p:cNvPr id="9" name="table">
            <a:extLst>
              <a:ext uri="{FF2B5EF4-FFF2-40B4-BE49-F238E27FC236}">
                <a16:creationId xmlns:a16="http://schemas.microsoft.com/office/drawing/2014/main" id="{A63D69BC-367D-4BFF-BB7D-88C655687549}"/>
              </a:ext>
            </a:extLst>
          </p:cNvPr>
          <p:cNvPicPr>
            <a:picLocks noChangeAspect="1"/>
          </p:cNvPicPr>
          <p:nvPr/>
        </p:nvPicPr>
        <p:blipFill rotWithShape="1">
          <a:blip r:embed="rId5"/>
          <a:srcRect r="29833"/>
          <a:stretch/>
        </p:blipFill>
        <p:spPr>
          <a:xfrm>
            <a:off x="6452309" y="2029673"/>
            <a:ext cx="1581497" cy="2008021"/>
          </a:xfrm>
          <a:prstGeom prst="rect">
            <a:avLst/>
          </a:prstGeom>
          <a:noFill/>
          <a:ln>
            <a:noFill/>
          </a:ln>
        </p:spPr>
      </p:pic>
      <p:pic>
        <p:nvPicPr>
          <p:cNvPr id="11" name="table">
            <a:extLst>
              <a:ext uri="{FF2B5EF4-FFF2-40B4-BE49-F238E27FC236}">
                <a16:creationId xmlns:a16="http://schemas.microsoft.com/office/drawing/2014/main" id="{2FB7026D-966B-4155-B92B-62CE4AAB974E}"/>
              </a:ext>
            </a:extLst>
          </p:cNvPr>
          <p:cNvPicPr>
            <a:picLocks noChangeAspect="1"/>
          </p:cNvPicPr>
          <p:nvPr/>
        </p:nvPicPr>
        <p:blipFill rotWithShape="1">
          <a:blip r:embed="rId6"/>
          <a:srcRect r="29324"/>
          <a:stretch/>
        </p:blipFill>
        <p:spPr>
          <a:xfrm>
            <a:off x="4713270" y="2029673"/>
            <a:ext cx="1592972" cy="2130961"/>
          </a:xfrm>
          <a:prstGeom prst="rect">
            <a:avLst/>
          </a:prstGeom>
          <a:noFill/>
          <a:ln>
            <a:noFill/>
          </a:ln>
        </p:spPr>
      </p:pic>
      <p:pic>
        <p:nvPicPr>
          <p:cNvPr id="13" name="table">
            <a:extLst>
              <a:ext uri="{FF2B5EF4-FFF2-40B4-BE49-F238E27FC236}">
                <a16:creationId xmlns:a16="http://schemas.microsoft.com/office/drawing/2014/main" id="{04FEB06F-E11B-46A5-9744-4283EBE386F8}"/>
              </a:ext>
            </a:extLst>
          </p:cNvPr>
          <p:cNvPicPr>
            <a:picLocks noChangeAspect="1"/>
          </p:cNvPicPr>
          <p:nvPr/>
        </p:nvPicPr>
        <p:blipFill rotWithShape="1">
          <a:blip r:embed="rId7"/>
          <a:srcRect r="29446"/>
          <a:stretch/>
        </p:blipFill>
        <p:spPr>
          <a:xfrm>
            <a:off x="1236393" y="2029673"/>
            <a:ext cx="1590204" cy="1885082"/>
          </a:xfrm>
          <a:prstGeom prst="rect">
            <a:avLst/>
          </a:prstGeom>
          <a:noFill/>
          <a:ln>
            <a:noFill/>
          </a:ln>
        </p:spPr>
      </p:pic>
      <p:pic>
        <p:nvPicPr>
          <p:cNvPr id="15" name="table">
            <a:extLst>
              <a:ext uri="{FF2B5EF4-FFF2-40B4-BE49-F238E27FC236}">
                <a16:creationId xmlns:a16="http://schemas.microsoft.com/office/drawing/2014/main" id="{541A13A1-D420-4993-B452-ECBA5D2F537E}"/>
              </a:ext>
            </a:extLst>
          </p:cNvPr>
          <p:cNvPicPr>
            <a:picLocks noChangeAspect="1"/>
          </p:cNvPicPr>
          <p:nvPr/>
        </p:nvPicPr>
        <p:blipFill rotWithShape="1">
          <a:blip r:embed="rId8"/>
          <a:srcRect r="29093"/>
          <a:stretch/>
        </p:blipFill>
        <p:spPr>
          <a:xfrm>
            <a:off x="2975393" y="2035534"/>
            <a:ext cx="1598162" cy="2008021"/>
          </a:xfrm>
          <a:prstGeom prst="rect">
            <a:avLst/>
          </a:prstGeom>
          <a:noFill/>
          <a:ln>
            <a:noFill/>
          </a:ln>
        </p:spPr>
      </p:pic>
      <p:pic>
        <p:nvPicPr>
          <p:cNvPr id="17" name="table">
            <a:extLst>
              <a:ext uri="{FF2B5EF4-FFF2-40B4-BE49-F238E27FC236}">
                <a16:creationId xmlns:a16="http://schemas.microsoft.com/office/drawing/2014/main" id="{794080B0-EB9A-4141-9C44-B367CBE81A42}"/>
              </a:ext>
            </a:extLst>
          </p:cNvPr>
          <p:cNvPicPr>
            <a:picLocks noChangeAspect="1"/>
          </p:cNvPicPr>
          <p:nvPr/>
        </p:nvPicPr>
        <p:blipFill rotWithShape="1">
          <a:blip r:embed="rId9"/>
          <a:srcRect r="29836"/>
          <a:stretch/>
        </p:blipFill>
        <p:spPr>
          <a:xfrm>
            <a:off x="9931158" y="2029673"/>
            <a:ext cx="1581434" cy="2253901"/>
          </a:xfrm>
          <a:prstGeom prst="rect">
            <a:avLst/>
          </a:prstGeom>
          <a:noFill/>
          <a:ln>
            <a:noFill/>
          </a:ln>
        </p:spPr>
      </p:pic>
      <p:pic>
        <p:nvPicPr>
          <p:cNvPr id="19" name="table">
            <a:extLst>
              <a:ext uri="{FF2B5EF4-FFF2-40B4-BE49-F238E27FC236}">
                <a16:creationId xmlns:a16="http://schemas.microsoft.com/office/drawing/2014/main" id="{67D53B80-D67D-4F6B-AF4D-8AFF5031A8A7}"/>
              </a:ext>
            </a:extLst>
          </p:cNvPr>
          <p:cNvPicPr>
            <a:picLocks noChangeAspect="1"/>
          </p:cNvPicPr>
          <p:nvPr/>
        </p:nvPicPr>
        <p:blipFill rotWithShape="1">
          <a:blip r:embed="rId10"/>
          <a:srcRect r="30190"/>
          <a:stretch/>
        </p:blipFill>
        <p:spPr>
          <a:xfrm>
            <a:off x="8195757" y="4538812"/>
            <a:ext cx="1573450" cy="1885082"/>
          </a:xfrm>
          <a:prstGeom prst="rect">
            <a:avLst/>
          </a:prstGeom>
          <a:noFill/>
          <a:ln>
            <a:noFill/>
          </a:ln>
        </p:spPr>
      </p:pic>
      <p:pic>
        <p:nvPicPr>
          <p:cNvPr id="21" name="table">
            <a:extLst>
              <a:ext uri="{FF2B5EF4-FFF2-40B4-BE49-F238E27FC236}">
                <a16:creationId xmlns:a16="http://schemas.microsoft.com/office/drawing/2014/main" id="{7B9D0544-75D7-4A18-859C-FDC3FDCDFDC6}"/>
              </a:ext>
            </a:extLst>
          </p:cNvPr>
          <p:cNvPicPr>
            <a:picLocks noChangeAspect="1"/>
          </p:cNvPicPr>
          <p:nvPr/>
        </p:nvPicPr>
        <p:blipFill rotWithShape="1">
          <a:blip r:embed="rId11"/>
          <a:srcRect r="29095"/>
          <a:stretch/>
        </p:blipFill>
        <p:spPr>
          <a:xfrm>
            <a:off x="6445144" y="4532951"/>
            <a:ext cx="1598134" cy="2008021"/>
          </a:xfrm>
          <a:prstGeom prst="rect">
            <a:avLst/>
          </a:prstGeom>
          <a:noFill/>
          <a:ln>
            <a:noFill/>
          </a:ln>
        </p:spPr>
      </p:pic>
      <p:pic>
        <p:nvPicPr>
          <p:cNvPr id="23" name="table">
            <a:extLst>
              <a:ext uri="{FF2B5EF4-FFF2-40B4-BE49-F238E27FC236}">
                <a16:creationId xmlns:a16="http://schemas.microsoft.com/office/drawing/2014/main" id="{1F6FCCC7-CA3A-4356-8D00-77CE661E8A68}"/>
              </a:ext>
            </a:extLst>
          </p:cNvPr>
          <p:cNvPicPr>
            <a:picLocks noChangeAspect="1"/>
          </p:cNvPicPr>
          <p:nvPr/>
        </p:nvPicPr>
        <p:blipFill rotWithShape="1">
          <a:blip r:embed="rId12"/>
          <a:srcRect r="29324"/>
          <a:stretch/>
        </p:blipFill>
        <p:spPr>
          <a:xfrm>
            <a:off x="4715577" y="4532951"/>
            <a:ext cx="1592972" cy="2130961"/>
          </a:xfrm>
          <a:prstGeom prst="rect">
            <a:avLst/>
          </a:prstGeom>
          <a:noFill/>
          <a:ln>
            <a:noFill/>
          </a:ln>
        </p:spPr>
      </p:pic>
      <p:pic>
        <p:nvPicPr>
          <p:cNvPr id="25" name="table">
            <a:extLst>
              <a:ext uri="{FF2B5EF4-FFF2-40B4-BE49-F238E27FC236}">
                <a16:creationId xmlns:a16="http://schemas.microsoft.com/office/drawing/2014/main" id="{CDD2904A-3D8F-4959-A962-6AFC9EAA6F4C}"/>
              </a:ext>
            </a:extLst>
          </p:cNvPr>
          <p:cNvPicPr>
            <a:picLocks noChangeAspect="1"/>
          </p:cNvPicPr>
          <p:nvPr/>
        </p:nvPicPr>
        <p:blipFill rotWithShape="1">
          <a:blip r:embed="rId13"/>
          <a:srcRect r="29093"/>
          <a:stretch/>
        </p:blipFill>
        <p:spPr>
          <a:xfrm>
            <a:off x="1236392" y="4532951"/>
            <a:ext cx="1598162" cy="1885082"/>
          </a:xfrm>
          <a:prstGeom prst="rect">
            <a:avLst/>
          </a:prstGeom>
          <a:noFill/>
          <a:ln>
            <a:noFill/>
          </a:ln>
        </p:spPr>
      </p:pic>
      <p:pic>
        <p:nvPicPr>
          <p:cNvPr id="27" name="table">
            <a:extLst>
              <a:ext uri="{FF2B5EF4-FFF2-40B4-BE49-F238E27FC236}">
                <a16:creationId xmlns:a16="http://schemas.microsoft.com/office/drawing/2014/main" id="{98628883-32A6-4B74-88D0-FD029E50DAF2}"/>
              </a:ext>
            </a:extLst>
          </p:cNvPr>
          <p:cNvPicPr>
            <a:picLocks noChangeAspect="1"/>
          </p:cNvPicPr>
          <p:nvPr/>
        </p:nvPicPr>
        <p:blipFill rotWithShape="1">
          <a:blip r:embed="rId14"/>
          <a:srcRect r="29093"/>
          <a:stretch/>
        </p:blipFill>
        <p:spPr>
          <a:xfrm>
            <a:off x="2975392" y="4538812"/>
            <a:ext cx="1598162" cy="2008021"/>
          </a:xfrm>
          <a:prstGeom prst="rect">
            <a:avLst/>
          </a:prstGeom>
          <a:noFill/>
          <a:ln>
            <a:noFill/>
          </a:ln>
        </p:spPr>
      </p:pic>
      <p:pic>
        <p:nvPicPr>
          <p:cNvPr id="29" name="table">
            <a:extLst>
              <a:ext uri="{FF2B5EF4-FFF2-40B4-BE49-F238E27FC236}">
                <a16:creationId xmlns:a16="http://schemas.microsoft.com/office/drawing/2014/main" id="{213E6893-E3F4-4847-96D6-3C4EC0B9E86D}"/>
              </a:ext>
            </a:extLst>
          </p:cNvPr>
          <p:cNvPicPr>
            <a:picLocks noChangeAspect="1"/>
          </p:cNvPicPr>
          <p:nvPr/>
        </p:nvPicPr>
        <p:blipFill rotWithShape="1">
          <a:blip r:embed="rId15"/>
          <a:srcRect r="28970"/>
          <a:stretch/>
        </p:blipFill>
        <p:spPr>
          <a:xfrm>
            <a:off x="9911663" y="4532951"/>
            <a:ext cx="1600929" cy="2253901"/>
          </a:xfrm>
          <a:prstGeom prst="rect">
            <a:avLst/>
          </a:prstGeom>
          <a:noFill/>
          <a:ln>
            <a:noFill/>
          </a:ln>
        </p:spPr>
      </p:pic>
      <p:cxnSp>
        <p:nvCxnSpPr>
          <p:cNvPr id="31" name="Straight Connector 30">
            <a:extLst>
              <a:ext uri="{FF2B5EF4-FFF2-40B4-BE49-F238E27FC236}">
                <a16:creationId xmlns:a16="http://schemas.microsoft.com/office/drawing/2014/main" id="{BD3D6D96-795B-4DD5-99F5-0300A2EFF28F}"/>
              </a:ext>
            </a:extLst>
          </p:cNvPr>
          <p:cNvCxnSpPr>
            <a:cxnSpLocks/>
          </p:cNvCxnSpPr>
          <p:nvPr/>
        </p:nvCxnSpPr>
        <p:spPr>
          <a:xfrm>
            <a:off x="1230531" y="2108748"/>
            <a:ext cx="5052662" cy="4429212"/>
          </a:xfrm>
          <a:prstGeom prst="line">
            <a:avLst/>
          </a:prstGeom>
          <a:ln w="8890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BE68F09-6456-48E5-B74E-0F559B471E4B}"/>
              </a:ext>
            </a:extLst>
          </p:cNvPr>
          <p:cNvCxnSpPr>
            <a:cxnSpLocks/>
          </p:cNvCxnSpPr>
          <p:nvPr/>
        </p:nvCxnSpPr>
        <p:spPr>
          <a:xfrm flipV="1">
            <a:off x="1236392" y="2108748"/>
            <a:ext cx="5066296" cy="4309285"/>
          </a:xfrm>
          <a:prstGeom prst="line">
            <a:avLst/>
          </a:prstGeom>
          <a:ln w="8890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4" name="Diagram 43">
            <a:extLst>
              <a:ext uri="{FF2B5EF4-FFF2-40B4-BE49-F238E27FC236}">
                <a16:creationId xmlns:a16="http://schemas.microsoft.com/office/drawing/2014/main" id="{384CBD12-E74F-4655-9F0C-3DB3990125C0}"/>
              </a:ext>
            </a:extLst>
          </p:cNvPr>
          <p:cNvGraphicFramePr/>
          <p:nvPr/>
        </p:nvGraphicFramePr>
        <p:xfrm>
          <a:off x="863707" y="913888"/>
          <a:ext cx="2821853" cy="85261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aphicFrame>
        <p:nvGraphicFramePr>
          <p:cNvPr id="45" name="Diagram 44">
            <a:extLst>
              <a:ext uri="{FF2B5EF4-FFF2-40B4-BE49-F238E27FC236}">
                <a16:creationId xmlns:a16="http://schemas.microsoft.com/office/drawing/2014/main" id="{D816D891-4D71-4F19-B7DD-B95CF2949167}"/>
              </a:ext>
            </a:extLst>
          </p:cNvPr>
          <p:cNvGraphicFramePr/>
          <p:nvPr>
            <p:extLst>
              <p:ext uri="{D42A27DB-BD31-4B8C-83A1-F6EECF244321}">
                <p14:modId xmlns:p14="http://schemas.microsoft.com/office/powerpoint/2010/main" val="2927776753"/>
              </p:ext>
            </p:extLst>
          </p:nvPr>
        </p:nvGraphicFramePr>
        <p:xfrm>
          <a:off x="2623778" y="931181"/>
          <a:ext cx="3472222" cy="852613"/>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sp>
        <p:nvSpPr>
          <p:cNvPr id="53" name="TextBox 52">
            <a:extLst>
              <a:ext uri="{FF2B5EF4-FFF2-40B4-BE49-F238E27FC236}">
                <a16:creationId xmlns:a16="http://schemas.microsoft.com/office/drawing/2014/main" id="{EC56BAFD-21A4-4684-A374-C7FACD99CAD0}"/>
              </a:ext>
            </a:extLst>
          </p:cNvPr>
          <p:cNvSpPr txBox="1"/>
          <p:nvPr/>
        </p:nvSpPr>
        <p:spPr>
          <a:xfrm rot="17916099">
            <a:off x="-214164" y="2783452"/>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1</a:t>
            </a:r>
          </a:p>
        </p:txBody>
      </p:sp>
      <p:sp>
        <p:nvSpPr>
          <p:cNvPr id="55" name="TextBox 54">
            <a:extLst>
              <a:ext uri="{FF2B5EF4-FFF2-40B4-BE49-F238E27FC236}">
                <a16:creationId xmlns:a16="http://schemas.microsoft.com/office/drawing/2014/main" id="{4C4566B1-37E7-4E78-A785-6B5BD525DFE9}"/>
              </a:ext>
            </a:extLst>
          </p:cNvPr>
          <p:cNvSpPr txBox="1"/>
          <p:nvPr/>
        </p:nvSpPr>
        <p:spPr>
          <a:xfrm rot="17916099">
            <a:off x="-214164" y="5259128"/>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2</a:t>
            </a:r>
          </a:p>
        </p:txBody>
      </p:sp>
    </p:spTree>
    <p:custDataLst>
      <p:tags r:id="rId1"/>
    </p:custDataLst>
    <p:extLst>
      <p:ext uri="{BB962C8B-B14F-4D97-AF65-F5344CB8AC3E}">
        <p14:creationId xmlns:p14="http://schemas.microsoft.com/office/powerpoint/2010/main" val="10597690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7CF8F-3871-4997-8753-05D50A56C11F}"/>
              </a:ext>
            </a:extLst>
          </p:cNvPr>
          <p:cNvSpPr>
            <a:spLocks noGrp="1"/>
          </p:cNvSpPr>
          <p:nvPr>
            <p:ph type="title"/>
          </p:nvPr>
        </p:nvSpPr>
        <p:spPr/>
        <p:txBody>
          <a:bodyPr/>
          <a:lstStyle/>
          <a:p>
            <a:r>
              <a:rPr lang="en-GB" dirty="0"/>
              <a:t>Segment / </a:t>
            </a:r>
            <a:r>
              <a:rPr lang="en-GB" dirty="0" err="1"/>
              <a:t>RowGroup</a:t>
            </a:r>
            <a:r>
              <a:rPr lang="en-GB" dirty="0"/>
              <a:t> Elimination</a:t>
            </a:r>
            <a:endParaRPr lang="en-US" dirty="0"/>
          </a:p>
        </p:txBody>
      </p:sp>
      <p:sp>
        <p:nvSpPr>
          <p:cNvPr id="5" name="TextBox 4">
            <a:extLst>
              <a:ext uri="{FF2B5EF4-FFF2-40B4-BE49-F238E27FC236}">
                <a16:creationId xmlns:a16="http://schemas.microsoft.com/office/drawing/2014/main" id="{D56641DD-0CAC-4CAB-B7BD-77B4185A78B0}"/>
              </a:ext>
            </a:extLst>
          </p:cNvPr>
          <p:cNvSpPr txBox="1"/>
          <p:nvPr/>
        </p:nvSpPr>
        <p:spPr>
          <a:xfrm>
            <a:off x="6445144" y="931181"/>
            <a:ext cx="5147563" cy="923330"/>
          </a:xfrm>
          <a:prstGeom prst="rect">
            <a:avLst/>
          </a:prstGeom>
          <a:noFill/>
          <a:ln>
            <a:solidFill>
              <a:schemeClr val="accent1"/>
            </a:solidFill>
          </a:ln>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SELECT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ProductKey</a:t>
            </a:r>
            <a:r>
              <a:rPr kumimoji="0" lang="en-US" b="0" i="0" u="none" strike="noStrike" kern="1200" cap="none" spc="0" normalizeH="0" baseline="0" noProof="0">
                <a:ln>
                  <a:noFill/>
                </a:ln>
                <a:solidFill>
                  <a:srgbClr val="002050">
                    <a:lumMod val="50000"/>
                  </a:srgbClr>
                </a:solidFill>
                <a:effectLst/>
                <a:uLnTx/>
                <a:uFillTx/>
                <a:latin typeface="Courier New" panose="02070309020205020404" pitchFamily="49" charset="0"/>
                <a:cs typeface="Courier New" panose="02070309020205020404" pitchFamily="49" charset="0"/>
              </a:rPr>
              <a:t>,</a:t>
            </a:r>
            <a:r>
              <a:rPr kumimoji="0" lang="en-US" b="0" i="0" u="none" strike="noStrike" kern="1200" cap="none" spc="0" normalizeH="0" baseline="0" noProof="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a:ln>
                  <a:noFill/>
                </a:ln>
                <a:solidFill>
                  <a:srgbClr val="FD9EFD"/>
                </a:solidFill>
                <a:effectLst/>
                <a:uLnTx/>
                <a:uFillTx/>
                <a:latin typeface="Courier New" panose="02070309020205020404" pitchFamily="49" charset="0"/>
                <a:cs typeface="Courier New" panose="02070309020205020404" pitchFamily="49" charset="0"/>
              </a:rPr>
              <a:t>SUM</a:t>
            </a:r>
            <a:r>
              <a:rPr lang="en-US" dirty="0">
                <a:latin typeface="Courier New" panose="02070309020205020404" pitchFamily="49" charset="0"/>
                <a:cs typeface="Courier New" panose="02070309020205020404" pitchFamily="49" charset="0"/>
              </a:rPr>
              <a:t>(</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SalesAmount</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a:t>
            </a:r>
            <a:endParaRPr kumimoji="0" lang="en-US" b="0" i="0" u="none" strike="noStrike" kern="1200" cap="none" spc="0" normalizeH="0" baseline="0" noProof="0" dirty="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FROM </a:t>
            </a:r>
            <a:r>
              <a:rPr kumimoji="0" lang="en-US" b="0" i="0" u="none" strike="noStrike" kern="1200" cap="none" spc="0" normalizeH="0" baseline="0" noProof="0" dirty="0" err="1">
                <a:ln>
                  <a:noFill/>
                </a:ln>
                <a:solidFill>
                  <a:srgbClr val="505050">
                    <a:lumMod val="50000"/>
                  </a:srgbClr>
                </a:solidFill>
                <a:effectLst/>
                <a:uLnTx/>
                <a:uFillTx/>
                <a:latin typeface="Courier New" panose="02070309020205020404" pitchFamily="49" charset="0"/>
                <a:cs typeface="Courier New" panose="02070309020205020404" pitchFamily="49" charset="0"/>
              </a:rPr>
              <a:t>SalesTable</a:t>
            </a:r>
            <a:endPar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WHERE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OrderDateKey</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rPr>
              <a:t>&lt; ’20101108’</a:t>
            </a:r>
            <a:endParaRPr kumimoji="0" lang="en-US" b="0" i="0" u="none" strike="noStrike" kern="1200" cap="none" spc="0" normalizeH="0" baseline="0" noProof="0" dirty="0">
              <a:ln>
                <a:noFill/>
              </a:ln>
              <a:solidFill>
                <a:srgbClr val="FFFFFF"/>
              </a:solidFill>
              <a:effectLst/>
              <a:uLnTx/>
              <a:uFillTx/>
              <a:latin typeface="Courier New" panose="02070309020205020404" pitchFamily="49" charset="0"/>
              <a:cs typeface="Courier New" panose="02070309020205020404" pitchFamily="49" charset="0"/>
            </a:endParaRPr>
          </a:p>
        </p:txBody>
      </p:sp>
      <p:pic>
        <p:nvPicPr>
          <p:cNvPr id="7" name="table">
            <a:extLst>
              <a:ext uri="{FF2B5EF4-FFF2-40B4-BE49-F238E27FC236}">
                <a16:creationId xmlns:a16="http://schemas.microsoft.com/office/drawing/2014/main" id="{CE01AA63-5A13-45A3-AA94-E054161B982A}"/>
              </a:ext>
            </a:extLst>
          </p:cNvPr>
          <p:cNvPicPr>
            <a:picLocks noChangeAspect="1"/>
          </p:cNvPicPr>
          <p:nvPr/>
        </p:nvPicPr>
        <p:blipFill rotWithShape="1">
          <a:blip r:embed="rId4"/>
          <a:srcRect r="30190"/>
          <a:stretch/>
        </p:blipFill>
        <p:spPr>
          <a:xfrm>
            <a:off x="8195757" y="2035534"/>
            <a:ext cx="1573450" cy="1762140"/>
          </a:xfrm>
          <a:prstGeom prst="rect">
            <a:avLst/>
          </a:prstGeom>
          <a:noFill/>
          <a:ln>
            <a:noFill/>
          </a:ln>
        </p:spPr>
      </p:pic>
      <p:pic>
        <p:nvPicPr>
          <p:cNvPr id="9" name="table">
            <a:extLst>
              <a:ext uri="{FF2B5EF4-FFF2-40B4-BE49-F238E27FC236}">
                <a16:creationId xmlns:a16="http://schemas.microsoft.com/office/drawing/2014/main" id="{A63D69BC-367D-4BFF-BB7D-88C655687549}"/>
              </a:ext>
            </a:extLst>
          </p:cNvPr>
          <p:cNvPicPr>
            <a:picLocks noChangeAspect="1"/>
          </p:cNvPicPr>
          <p:nvPr/>
        </p:nvPicPr>
        <p:blipFill rotWithShape="1">
          <a:blip r:embed="rId5"/>
          <a:srcRect r="29833"/>
          <a:stretch/>
        </p:blipFill>
        <p:spPr>
          <a:xfrm>
            <a:off x="6452309" y="2029673"/>
            <a:ext cx="1581497" cy="2008021"/>
          </a:xfrm>
          <a:prstGeom prst="rect">
            <a:avLst/>
          </a:prstGeom>
          <a:noFill/>
          <a:ln>
            <a:noFill/>
          </a:ln>
        </p:spPr>
      </p:pic>
      <p:pic>
        <p:nvPicPr>
          <p:cNvPr id="11" name="table">
            <a:extLst>
              <a:ext uri="{FF2B5EF4-FFF2-40B4-BE49-F238E27FC236}">
                <a16:creationId xmlns:a16="http://schemas.microsoft.com/office/drawing/2014/main" id="{2FB7026D-966B-4155-B92B-62CE4AAB974E}"/>
              </a:ext>
            </a:extLst>
          </p:cNvPr>
          <p:cNvPicPr>
            <a:picLocks noChangeAspect="1"/>
          </p:cNvPicPr>
          <p:nvPr/>
        </p:nvPicPr>
        <p:blipFill rotWithShape="1">
          <a:blip r:embed="rId6"/>
          <a:srcRect r="29324"/>
          <a:stretch/>
        </p:blipFill>
        <p:spPr>
          <a:xfrm>
            <a:off x="4713270" y="2029673"/>
            <a:ext cx="1592972" cy="2130961"/>
          </a:xfrm>
          <a:prstGeom prst="rect">
            <a:avLst/>
          </a:prstGeom>
          <a:noFill/>
          <a:ln>
            <a:noFill/>
          </a:ln>
        </p:spPr>
      </p:pic>
      <p:pic>
        <p:nvPicPr>
          <p:cNvPr id="13" name="table">
            <a:extLst>
              <a:ext uri="{FF2B5EF4-FFF2-40B4-BE49-F238E27FC236}">
                <a16:creationId xmlns:a16="http://schemas.microsoft.com/office/drawing/2014/main" id="{04FEB06F-E11B-46A5-9744-4283EBE386F8}"/>
              </a:ext>
            </a:extLst>
          </p:cNvPr>
          <p:cNvPicPr>
            <a:picLocks noChangeAspect="1"/>
          </p:cNvPicPr>
          <p:nvPr/>
        </p:nvPicPr>
        <p:blipFill rotWithShape="1">
          <a:blip r:embed="rId7"/>
          <a:srcRect r="29446"/>
          <a:stretch/>
        </p:blipFill>
        <p:spPr>
          <a:xfrm>
            <a:off x="1236393" y="2029673"/>
            <a:ext cx="1590204" cy="1885082"/>
          </a:xfrm>
          <a:prstGeom prst="rect">
            <a:avLst/>
          </a:prstGeom>
          <a:noFill/>
          <a:ln>
            <a:noFill/>
          </a:ln>
        </p:spPr>
      </p:pic>
      <p:pic>
        <p:nvPicPr>
          <p:cNvPr id="15" name="table">
            <a:extLst>
              <a:ext uri="{FF2B5EF4-FFF2-40B4-BE49-F238E27FC236}">
                <a16:creationId xmlns:a16="http://schemas.microsoft.com/office/drawing/2014/main" id="{541A13A1-D420-4993-B452-ECBA5D2F537E}"/>
              </a:ext>
            </a:extLst>
          </p:cNvPr>
          <p:cNvPicPr>
            <a:picLocks noChangeAspect="1"/>
          </p:cNvPicPr>
          <p:nvPr/>
        </p:nvPicPr>
        <p:blipFill rotWithShape="1">
          <a:blip r:embed="rId8"/>
          <a:srcRect r="29093"/>
          <a:stretch/>
        </p:blipFill>
        <p:spPr>
          <a:xfrm>
            <a:off x="2975393" y="2035534"/>
            <a:ext cx="1598162" cy="2008021"/>
          </a:xfrm>
          <a:prstGeom prst="rect">
            <a:avLst/>
          </a:prstGeom>
          <a:noFill/>
          <a:ln>
            <a:noFill/>
          </a:ln>
        </p:spPr>
      </p:pic>
      <p:pic>
        <p:nvPicPr>
          <p:cNvPr id="17" name="table">
            <a:extLst>
              <a:ext uri="{FF2B5EF4-FFF2-40B4-BE49-F238E27FC236}">
                <a16:creationId xmlns:a16="http://schemas.microsoft.com/office/drawing/2014/main" id="{794080B0-EB9A-4141-9C44-B367CBE81A42}"/>
              </a:ext>
            </a:extLst>
          </p:cNvPr>
          <p:cNvPicPr>
            <a:picLocks noChangeAspect="1"/>
          </p:cNvPicPr>
          <p:nvPr/>
        </p:nvPicPr>
        <p:blipFill rotWithShape="1">
          <a:blip r:embed="rId9"/>
          <a:srcRect r="29836"/>
          <a:stretch/>
        </p:blipFill>
        <p:spPr>
          <a:xfrm>
            <a:off x="9931158" y="2029673"/>
            <a:ext cx="1581434" cy="2253901"/>
          </a:xfrm>
          <a:prstGeom prst="rect">
            <a:avLst/>
          </a:prstGeom>
          <a:noFill/>
          <a:ln>
            <a:noFill/>
          </a:ln>
        </p:spPr>
      </p:pic>
      <p:pic>
        <p:nvPicPr>
          <p:cNvPr id="19" name="table">
            <a:extLst>
              <a:ext uri="{FF2B5EF4-FFF2-40B4-BE49-F238E27FC236}">
                <a16:creationId xmlns:a16="http://schemas.microsoft.com/office/drawing/2014/main" id="{67D53B80-D67D-4F6B-AF4D-8AFF5031A8A7}"/>
              </a:ext>
            </a:extLst>
          </p:cNvPr>
          <p:cNvPicPr>
            <a:picLocks noChangeAspect="1"/>
          </p:cNvPicPr>
          <p:nvPr/>
        </p:nvPicPr>
        <p:blipFill rotWithShape="1">
          <a:blip r:embed="rId10"/>
          <a:srcRect r="30190"/>
          <a:stretch/>
        </p:blipFill>
        <p:spPr>
          <a:xfrm>
            <a:off x="8195757" y="4538812"/>
            <a:ext cx="1573450" cy="1885082"/>
          </a:xfrm>
          <a:prstGeom prst="rect">
            <a:avLst/>
          </a:prstGeom>
          <a:noFill/>
          <a:ln>
            <a:noFill/>
          </a:ln>
        </p:spPr>
      </p:pic>
      <p:pic>
        <p:nvPicPr>
          <p:cNvPr id="21" name="table">
            <a:extLst>
              <a:ext uri="{FF2B5EF4-FFF2-40B4-BE49-F238E27FC236}">
                <a16:creationId xmlns:a16="http://schemas.microsoft.com/office/drawing/2014/main" id="{7B9D0544-75D7-4A18-859C-FDC3FDCDFDC6}"/>
              </a:ext>
            </a:extLst>
          </p:cNvPr>
          <p:cNvPicPr>
            <a:picLocks noChangeAspect="1"/>
          </p:cNvPicPr>
          <p:nvPr/>
        </p:nvPicPr>
        <p:blipFill rotWithShape="1">
          <a:blip r:embed="rId11"/>
          <a:srcRect r="29095"/>
          <a:stretch/>
        </p:blipFill>
        <p:spPr>
          <a:xfrm>
            <a:off x="6445144" y="4532951"/>
            <a:ext cx="1598134" cy="2008021"/>
          </a:xfrm>
          <a:prstGeom prst="rect">
            <a:avLst/>
          </a:prstGeom>
          <a:noFill/>
          <a:ln>
            <a:noFill/>
          </a:ln>
        </p:spPr>
      </p:pic>
      <p:pic>
        <p:nvPicPr>
          <p:cNvPr id="23" name="table">
            <a:extLst>
              <a:ext uri="{FF2B5EF4-FFF2-40B4-BE49-F238E27FC236}">
                <a16:creationId xmlns:a16="http://schemas.microsoft.com/office/drawing/2014/main" id="{1F6FCCC7-CA3A-4356-8D00-77CE661E8A68}"/>
              </a:ext>
            </a:extLst>
          </p:cNvPr>
          <p:cNvPicPr>
            <a:picLocks noChangeAspect="1"/>
          </p:cNvPicPr>
          <p:nvPr/>
        </p:nvPicPr>
        <p:blipFill rotWithShape="1">
          <a:blip r:embed="rId12"/>
          <a:srcRect r="29324"/>
          <a:stretch/>
        </p:blipFill>
        <p:spPr>
          <a:xfrm>
            <a:off x="4715577" y="4532951"/>
            <a:ext cx="1592972" cy="2130961"/>
          </a:xfrm>
          <a:prstGeom prst="rect">
            <a:avLst/>
          </a:prstGeom>
          <a:noFill/>
          <a:ln>
            <a:noFill/>
          </a:ln>
        </p:spPr>
      </p:pic>
      <p:pic>
        <p:nvPicPr>
          <p:cNvPr id="25" name="table">
            <a:extLst>
              <a:ext uri="{FF2B5EF4-FFF2-40B4-BE49-F238E27FC236}">
                <a16:creationId xmlns:a16="http://schemas.microsoft.com/office/drawing/2014/main" id="{CDD2904A-3D8F-4959-A962-6AFC9EAA6F4C}"/>
              </a:ext>
            </a:extLst>
          </p:cNvPr>
          <p:cNvPicPr>
            <a:picLocks noChangeAspect="1"/>
          </p:cNvPicPr>
          <p:nvPr/>
        </p:nvPicPr>
        <p:blipFill rotWithShape="1">
          <a:blip r:embed="rId13"/>
          <a:srcRect r="29093"/>
          <a:stretch/>
        </p:blipFill>
        <p:spPr>
          <a:xfrm>
            <a:off x="1236392" y="4532951"/>
            <a:ext cx="1598162" cy="1885082"/>
          </a:xfrm>
          <a:prstGeom prst="rect">
            <a:avLst/>
          </a:prstGeom>
          <a:noFill/>
          <a:ln>
            <a:noFill/>
          </a:ln>
        </p:spPr>
      </p:pic>
      <p:pic>
        <p:nvPicPr>
          <p:cNvPr id="27" name="table">
            <a:extLst>
              <a:ext uri="{FF2B5EF4-FFF2-40B4-BE49-F238E27FC236}">
                <a16:creationId xmlns:a16="http://schemas.microsoft.com/office/drawing/2014/main" id="{98628883-32A6-4B74-88D0-FD029E50DAF2}"/>
              </a:ext>
            </a:extLst>
          </p:cNvPr>
          <p:cNvPicPr>
            <a:picLocks noChangeAspect="1"/>
          </p:cNvPicPr>
          <p:nvPr/>
        </p:nvPicPr>
        <p:blipFill rotWithShape="1">
          <a:blip r:embed="rId14"/>
          <a:srcRect r="29093"/>
          <a:stretch/>
        </p:blipFill>
        <p:spPr>
          <a:xfrm>
            <a:off x="2975392" y="4538812"/>
            <a:ext cx="1598162" cy="2008021"/>
          </a:xfrm>
          <a:prstGeom prst="rect">
            <a:avLst/>
          </a:prstGeom>
          <a:noFill/>
          <a:ln>
            <a:noFill/>
          </a:ln>
        </p:spPr>
      </p:pic>
      <p:pic>
        <p:nvPicPr>
          <p:cNvPr id="29" name="table">
            <a:extLst>
              <a:ext uri="{FF2B5EF4-FFF2-40B4-BE49-F238E27FC236}">
                <a16:creationId xmlns:a16="http://schemas.microsoft.com/office/drawing/2014/main" id="{213E6893-E3F4-4847-96D6-3C4EC0B9E86D}"/>
              </a:ext>
            </a:extLst>
          </p:cNvPr>
          <p:cNvPicPr>
            <a:picLocks noChangeAspect="1"/>
          </p:cNvPicPr>
          <p:nvPr/>
        </p:nvPicPr>
        <p:blipFill rotWithShape="1">
          <a:blip r:embed="rId15"/>
          <a:srcRect r="28970"/>
          <a:stretch/>
        </p:blipFill>
        <p:spPr>
          <a:xfrm>
            <a:off x="9911663" y="4532951"/>
            <a:ext cx="1600929" cy="2253901"/>
          </a:xfrm>
          <a:prstGeom prst="rect">
            <a:avLst/>
          </a:prstGeom>
          <a:noFill/>
          <a:ln>
            <a:noFill/>
          </a:ln>
        </p:spPr>
      </p:pic>
      <p:cxnSp>
        <p:nvCxnSpPr>
          <p:cNvPr id="31" name="Straight Connector 30">
            <a:extLst>
              <a:ext uri="{FF2B5EF4-FFF2-40B4-BE49-F238E27FC236}">
                <a16:creationId xmlns:a16="http://schemas.microsoft.com/office/drawing/2014/main" id="{BD3D6D96-795B-4DD5-99F5-0300A2EFF28F}"/>
              </a:ext>
            </a:extLst>
          </p:cNvPr>
          <p:cNvCxnSpPr>
            <a:cxnSpLocks/>
          </p:cNvCxnSpPr>
          <p:nvPr/>
        </p:nvCxnSpPr>
        <p:spPr>
          <a:xfrm>
            <a:off x="1230531" y="2108748"/>
            <a:ext cx="5052662" cy="4429212"/>
          </a:xfrm>
          <a:prstGeom prst="line">
            <a:avLst/>
          </a:prstGeom>
          <a:ln w="8890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BE68F09-6456-48E5-B74E-0F559B471E4B}"/>
              </a:ext>
            </a:extLst>
          </p:cNvPr>
          <p:cNvCxnSpPr>
            <a:cxnSpLocks/>
          </p:cNvCxnSpPr>
          <p:nvPr/>
        </p:nvCxnSpPr>
        <p:spPr>
          <a:xfrm flipV="1">
            <a:off x="1236392" y="2108748"/>
            <a:ext cx="5066296" cy="4309285"/>
          </a:xfrm>
          <a:prstGeom prst="line">
            <a:avLst/>
          </a:prstGeom>
          <a:ln w="8890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4" name="Diagram 43">
            <a:extLst>
              <a:ext uri="{FF2B5EF4-FFF2-40B4-BE49-F238E27FC236}">
                <a16:creationId xmlns:a16="http://schemas.microsoft.com/office/drawing/2014/main" id="{384CBD12-E74F-4655-9F0C-3DB3990125C0}"/>
              </a:ext>
            </a:extLst>
          </p:cNvPr>
          <p:cNvGraphicFramePr/>
          <p:nvPr/>
        </p:nvGraphicFramePr>
        <p:xfrm>
          <a:off x="863707" y="913888"/>
          <a:ext cx="2821853" cy="85261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aphicFrame>
        <p:nvGraphicFramePr>
          <p:cNvPr id="45" name="Diagram 44">
            <a:extLst>
              <a:ext uri="{FF2B5EF4-FFF2-40B4-BE49-F238E27FC236}">
                <a16:creationId xmlns:a16="http://schemas.microsoft.com/office/drawing/2014/main" id="{D816D891-4D71-4F19-B7DD-B95CF2949167}"/>
              </a:ext>
            </a:extLst>
          </p:cNvPr>
          <p:cNvGraphicFramePr/>
          <p:nvPr/>
        </p:nvGraphicFramePr>
        <p:xfrm>
          <a:off x="2623778" y="931181"/>
          <a:ext cx="3472222" cy="852613"/>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cxnSp>
        <p:nvCxnSpPr>
          <p:cNvPr id="46" name="Straight Connector 45">
            <a:extLst>
              <a:ext uri="{FF2B5EF4-FFF2-40B4-BE49-F238E27FC236}">
                <a16:creationId xmlns:a16="http://schemas.microsoft.com/office/drawing/2014/main" id="{0DC18549-3E32-43EA-9713-354553F55D55}"/>
              </a:ext>
            </a:extLst>
          </p:cNvPr>
          <p:cNvCxnSpPr>
            <a:cxnSpLocks/>
          </p:cNvCxnSpPr>
          <p:nvPr/>
        </p:nvCxnSpPr>
        <p:spPr>
          <a:xfrm>
            <a:off x="1258889" y="4641272"/>
            <a:ext cx="10253703" cy="1896688"/>
          </a:xfrm>
          <a:prstGeom prst="line">
            <a:avLst/>
          </a:prstGeom>
          <a:ln w="889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D92CDC8-2DB8-4F42-AF77-A14FB1D3A2E3}"/>
              </a:ext>
            </a:extLst>
          </p:cNvPr>
          <p:cNvCxnSpPr>
            <a:cxnSpLocks/>
          </p:cNvCxnSpPr>
          <p:nvPr/>
        </p:nvCxnSpPr>
        <p:spPr>
          <a:xfrm flipV="1">
            <a:off x="1258889" y="4641273"/>
            <a:ext cx="10277474" cy="1896687"/>
          </a:xfrm>
          <a:prstGeom prst="line">
            <a:avLst/>
          </a:prstGeom>
          <a:ln w="889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C56BAFD-21A4-4684-A374-C7FACD99CAD0}"/>
              </a:ext>
            </a:extLst>
          </p:cNvPr>
          <p:cNvSpPr txBox="1"/>
          <p:nvPr/>
        </p:nvSpPr>
        <p:spPr>
          <a:xfrm rot="17916099">
            <a:off x="-214164" y="2783452"/>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1</a:t>
            </a:r>
          </a:p>
        </p:txBody>
      </p:sp>
      <p:sp>
        <p:nvSpPr>
          <p:cNvPr id="55" name="TextBox 54">
            <a:extLst>
              <a:ext uri="{FF2B5EF4-FFF2-40B4-BE49-F238E27FC236}">
                <a16:creationId xmlns:a16="http://schemas.microsoft.com/office/drawing/2014/main" id="{4C4566B1-37E7-4E78-A785-6B5BD525DFE9}"/>
              </a:ext>
            </a:extLst>
          </p:cNvPr>
          <p:cNvSpPr txBox="1"/>
          <p:nvPr/>
        </p:nvSpPr>
        <p:spPr>
          <a:xfrm rot="17916099">
            <a:off x="-214164" y="5259128"/>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2</a:t>
            </a:r>
          </a:p>
        </p:txBody>
      </p:sp>
    </p:spTree>
    <p:custDataLst>
      <p:tags r:id="rId1"/>
    </p:custDataLst>
    <p:extLst>
      <p:ext uri="{BB962C8B-B14F-4D97-AF65-F5344CB8AC3E}">
        <p14:creationId xmlns:p14="http://schemas.microsoft.com/office/powerpoint/2010/main" val="1001301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7CF8F-3871-4997-8753-05D50A56C11F}"/>
              </a:ext>
            </a:extLst>
          </p:cNvPr>
          <p:cNvSpPr>
            <a:spLocks noGrp="1"/>
          </p:cNvSpPr>
          <p:nvPr>
            <p:ph type="title"/>
          </p:nvPr>
        </p:nvSpPr>
        <p:spPr/>
        <p:txBody>
          <a:bodyPr/>
          <a:lstStyle/>
          <a:p>
            <a:r>
              <a:rPr lang="en-GB" dirty="0"/>
              <a:t>Segment / </a:t>
            </a:r>
            <a:r>
              <a:rPr lang="en-GB" dirty="0" err="1"/>
              <a:t>RowGroup</a:t>
            </a:r>
            <a:r>
              <a:rPr lang="en-GB" dirty="0"/>
              <a:t> Elimination</a:t>
            </a:r>
            <a:endParaRPr lang="en-US" dirty="0"/>
          </a:p>
        </p:txBody>
      </p:sp>
      <p:sp>
        <p:nvSpPr>
          <p:cNvPr id="5" name="TextBox 4">
            <a:extLst>
              <a:ext uri="{FF2B5EF4-FFF2-40B4-BE49-F238E27FC236}">
                <a16:creationId xmlns:a16="http://schemas.microsoft.com/office/drawing/2014/main" id="{D56641DD-0CAC-4CAB-B7BD-77B4185A78B0}"/>
              </a:ext>
            </a:extLst>
          </p:cNvPr>
          <p:cNvSpPr txBox="1"/>
          <p:nvPr/>
        </p:nvSpPr>
        <p:spPr>
          <a:xfrm>
            <a:off x="6445144" y="931181"/>
            <a:ext cx="5147563" cy="923330"/>
          </a:xfrm>
          <a:prstGeom prst="rect">
            <a:avLst/>
          </a:prstGeom>
          <a:noFill/>
          <a:ln>
            <a:solidFill>
              <a:schemeClr val="accent1"/>
            </a:solidFill>
          </a:ln>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SELECT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ProductKey</a:t>
            </a:r>
            <a:r>
              <a:rPr kumimoji="0" lang="en-US" b="0" i="0" u="none" strike="noStrike" kern="1200" cap="none" spc="0" normalizeH="0" baseline="0" noProof="0">
                <a:ln>
                  <a:noFill/>
                </a:ln>
                <a:solidFill>
                  <a:srgbClr val="002050">
                    <a:lumMod val="50000"/>
                  </a:srgbClr>
                </a:solidFill>
                <a:effectLst/>
                <a:uLnTx/>
                <a:uFillTx/>
                <a:latin typeface="Courier New" panose="02070309020205020404" pitchFamily="49" charset="0"/>
                <a:cs typeface="Courier New" panose="02070309020205020404" pitchFamily="49" charset="0"/>
              </a:rPr>
              <a:t>,</a:t>
            </a:r>
            <a:r>
              <a:rPr kumimoji="0" lang="en-US" b="0" i="0" u="none" strike="noStrike" kern="1200" cap="none" spc="0" normalizeH="0" baseline="0" noProof="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a:ln>
                  <a:noFill/>
                </a:ln>
                <a:solidFill>
                  <a:srgbClr val="FD9EFD"/>
                </a:solidFill>
                <a:effectLst/>
                <a:uLnTx/>
                <a:uFillTx/>
                <a:latin typeface="Courier New" panose="02070309020205020404" pitchFamily="49" charset="0"/>
                <a:cs typeface="Courier New" panose="02070309020205020404" pitchFamily="49" charset="0"/>
              </a:rPr>
              <a:t>SUM</a:t>
            </a:r>
            <a:r>
              <a:rPr lang="en-US" dirty="0">
                <a:latin typeface="Courier New" panose="02070309020205020404" pitchFamily="49" charset="0"/>
                <a:cs typeface="Courier New" panose="02070309020205020404" pitchFamily="49" charset="0"/>
              </a:rPr>
              <a:t>(</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SalesAmount</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a:t>
            </a:r>
            <a:endParaRPr kumimoji="0" lang="en-US" b="0" i="0" u="none" strike="noStrike" kern="1200" cap="none" spc="0" normalizeH="0" baseline="0" noProof="0" dirty="0">
              <a:ln>
                <a:noFill/>
              </a:ln>
              <a:solidFill>
                <a:srgbClr val="FFFFFF">
                  <a:lumMod val="85000"/>
                  <a:lumOff val="15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FROM </a:t>
            </a:r>
            <a:r>
              <a:rPr kumimoji="0" lang="en-US" b="0" i="0" u="none" strike="noStrike" kern="1200" cap="none" spc="0" normalizeH="0" baseline="0" noProof="0" dirty="0" err="1">
                <a:ln>
                  <a:noFill/>
                </a:ln>
                <a:solidFill>
                  <a:srgbClr val="505050">
                    <a:lumMod val="50000"/>
                  </a:srgbClr>
                </a:solidFill>
                <a:effectLst/>
                <a:uLnTx/>
                <a:uFillTx/>
                <a:latin typeface="Courier New" panose="02070309020205020404" pitchFamily="49" charset="0"/>
                <a:cs typeface="Courier New" panose="02070309020205020404" pitchFamily="49" charset="0"/>
              </a:rPr>
              <a:t>SalesTable</a:t>
            </a:r>
            <a:endPar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70C0"/>
                </a:solidFill>
                <a:effectLst/>
                <a:uLnTx/>
                <a:uFillTx/>
                <a:latin typeface="Courier New" panose="02070309020205020404" pitchFamily="49" charset="0"/>
                <a:cs typeface="Courier New" panose="02070309020205020404" pitchFamily="49" charset="0"/>
              </a:rPr>
              <a:t>WHERE </a:t>
            </a:r>
            <a:r>
              <a:rPr kumimoji="0" lang="en-US" b="0" i="0" u="none" strike="noStrike" kern="1200" cap="none" spc="0" normalizeH="0" baseline="0" noProof="0" dirty="0" err="1">
                <a:ln>
                  <a:noFill/>
                </a:ln>
                <a:solidFill>
                  <a:srgbClr val="002050">
                    <a:lumMod val="50000"/>
                  </a:srgbClr>
                </a:solidFill>
                <a:effectLst/>
                <a:uLnTx/>
                <a:uFillTx/>
                <a:latin typeface="Courier New" panose="02070309020205020404" pitchFamily="49" charset="0"/>
                <a:cs typeface="Courier New" panose="02070309020205020404" pitchFamily="49" charset="0"/>
              </a:rPr>
              <a:t>OrderDateKey</a:t>
            </a:r>
            <a:r>
              <a:rPr kumimoji="0" lang="en-US" b="0" i="0" u="none" strike="noStrike" kern="1200" cap="none" spc="0" normalizeH="0" baseline="0" noProof="0" dirty="0">
                <a:ln>
                  <a:noFill/>
                </a:ln>
                <a:solidFill>
                  <a:srgbClr val="002050">
                    <a:lumMod val="50000"/>
                  </a:srgbClr>
                </a:solidFill>
                <a:effectLst/>
                <a:uLnTx/>
                <a:uFillTx/>
                <a:latin typeface="Courier New" panose="02070309020205020404" pitchFamily="49" charset="0"/>
                <a:cs typeface="Courier New" panose="02070309020205020404" pitchFamily="49" charset="0"/>
              </a:rPr>
              <a:t> </a:t>
            </a:r>
            <a:r>
              <a:rPr kumimoji="0" lang="en-US" b="0" i="0" u="none" strike="noStrike" kern="1200" cap="none" spc="0" normalizeH="0" baseline="0" noProof="0" dirty="0">
                <a:ln>
                  <a:noFill/>
                </a:ln>
                <a:solidFill>
                  <a:srgbClr val="505050">
                    <a:lumMod val="50000"/>
                  </a:srgbClr>
                </a:solidFill>
                <a:effectLst/>
                <a:uLnTx/>
                <a:uFillTx/>
                <a:latin typeface="Courier New" panose="02070309020205020404" pitchFamily="49" charset="0"/>
                <a:cs typeface="Courier New" panose="02070309020205020404" pitchFamily="49" charset="0"/>
              </a:rPr>
              <a:t>&lt; ’20101108’</a:t>
            </a:r>
            <a:endParaRPr kumimoji="0" lang="en-US" b="0" i="0" u="none" strike="noStrike" kern="1200" cap="none" spc="0" normalizeH="0" baseline="0" noProof="0" dirty="0">
              <a:ln>
                <a:noFill/>
              </a:ln>
              <a:solidFill>
                <a:srgbClr val="FFFFFF"/>
              </a:solidFill>
              <a:effectLst/>
              <a:uLnTx/>
              <a:uFillTx/>
              <a:latin typeface="Courier New" panose="02070309020205020404" pitchFamily="49" charset="0"/>
              <a:cs typeface="Courier New" panose="02070309020205020404" pitchFamily="49" charset="0"/>
            </a:endParaRPr>
          </a:p>
        </p:txBody>
      </p:sp>
      <p:pic>
        <p:nvPicPr>
          <p:cNvPr id="7" name="table">
            <a:extLst>
              <a:ext uri="{FF2B5EF4-FFF2-40B4-BE49-F238E27FC236}">
                <a16:creationId xmlns:a16="http://schemas.microsoft.com/office/drawing/2014/main" id="{CE01AA63-5A13-45A3-AA94-E054161B982A}"/>
              </a:ext>
            </a:extLst>
          </p:cNvPr>
          <p:cNvPicPr>
            <a:picLocks noChangeAspect="1"/>
          </p:cNvPicPr>
          <p:nvPr/>
        </p:nvPicPr>
        <p:blipFill rotWithShape="1">
          <a:blip r:embed="rId4"/>
          <a:srcRect r="30190"/>
          <a:stretch/>
        </p:blipFill>
        <p:spPr>
          <a:xfrm>
            <a:off x="8195757" y="2035534"/>
            <a:ext cx="1573450" cy="1762140"/>
          </a:xfrm>
          <a:prstGeom prst="rect">
            <a:avLst/>
          </a:prstGeom>
          <a:noFill/>
          <a:ln>
            <a:noFill/>
          </a:ln>
        </p:spPr>
      </p:pic>
      <p:pic>
        <p:nvPicPr>
          <p:cNvPr id="9" name="table">
            <a:extLst>
              <a:ext uri="{FF2B5EF4-FFF2-40B4-BE49-F238E27FC236}">
                <a16:creationId xmlns:a16="http://schemas.microsoft.com/office/drawing/2014/main" id="{A63D69BC-367D-4BFF-BB7D-88C655687549}"/>
              </a:ext>
            </a:extLst>
          </p:cNvPr>
          <p:cNvPicPr>
            <a:picLocks noChangeAspect="1"/>
          </p:cNvPicPr>
          <p:nvPr/>
        </p:nvPicPr>
        <p:blipFill rotWithShape="1">
          <a:blip r:embed="rId5"/>
          <a:srcRect r="29833"/>
          <a:stretch/>
        </p:blipFill>
        <p:spPr>
          <a:xfrm>
            <a:off x="6452309" y="2029673"/>
            <a:ext cx="1581497" cy="2008021"/>
          </a:xfrm>
          <a:prstGeom prst="rect">
            <a:avLst/>
          </a:prstGeom>
          <a:noFill/>
          <a:ln>
            <a:noFill/>
          </a:ln>
        </p:spPr>
      </p:pic>
      <p:pic>
        <p:nvPicPr>
          <p:cNvPr id="11" name="table">
            <a:extLst>
              <a:ext uri="{FF2B5EF4-FFF2-40B4-BE49-F238E27FC236}">
                <a16:creationId xmlns:a16="http://schemas.microsoft.com/office/drawing/2014/main" id="{2FB7026D-966B-4155-B92B-62CE4AAB974E}"/>
              </a:ext>
            </a:extLst>
          </p:cNvPr>
          <p:cNvPicPr>
            <a:picLocks noChangeAspect="1"/>
          </p:cNvPicPr>
          <p:nvPr/>
        </p:nvPicPr>
        <p:blipFill rotWithShape="1">
          <a:blip r:embed="rId6"/>
          <a:srcRect r="29324"/>
          <a:stretch/>
        </p:blipFill>
        <p:spPr>
          <a:xfrm>
            <a:off x="4713270" y="2029673"/>
            <a:ext cx="1592972" cy="2130961"/>
          </a:xfrm>
          <a:prstGeom prst="rect">
            <a:avLst/>
          </a:prstGeom>
          <a:solidFill>
            <a:schemeClr val="bg2"/>
          </a:solidFill>
          <a:ln>
            <a:noFill/>
          </a:ln>
        </p:spPr>
      </p:pic>
      <p:pic>
        <p:nvPicPr>
          <p:cNvPr id="13" name="table">
            <a:extLst>
              <a:ext uri="{FF2B5EF4-FFF2-40B4-BE49-F238E27FC236}">
                <a16:creationId xmlns:a16="http://schemas.microsoft.com/office/drawing/2014/main" id="{04FEB06F-E11B-46A5-9744-4283EBE386F8}"/>
              </a:ext>
            </a:extLst>
          </p:cNvPr>
          <p:cNvPicPr>
            <a:picLocks noChangeAspect="1"/>
          </p:cNvPicPr>
          <p:nvPr/>
        </p:nvPicPr>
        <p:blipFill rotWithShape="1">
          <a:blip r:embed="rId7"/>
          <a:srcRect r="29446"/>
          <a:stretch/>
        </p:blipFill>
        <p:spPr>
          <a:xfrm>
            <a:off x="1236393" y="2029673"/>
            <a:ext cx="1590204" cy="1885082"/>
          </a:xfrm>
          <a:prstGeom prst="rect">
            <a:avLst/>
          </a:prstGeom>
          <a:solidFill>
            <a:schemeClr val="bg2"/>
          </a:solidFill>
          <a:ln>
            <a:noFill/>
          </a:ln>
        </p:spPr>
      </p:pic>
      <p:pic>
        <p:nvPicPr>
          <p:cNvPr id="15" name="table">
            <a:extLst>
              <a:ext uri="{FF2B5EF4-FFF2-40B4-BE49-F238E27FC236}">
                <a16:creationId xmlns:a16="http://schemas.microsoft.com/office/drawing/2014/main" id="{541A13A1-D420-4993-B452-ECBA5D2F537E}"/>
              </a:ext>
            </a:extLst>
          </p:cNvPr>
          <p:cNvPicPr>
            <a:picLocks noChangeAspect="1"/>
          </p:cNvPicPr>
          <p:nvPr/>
        </p:nvPicPr>
        <p:blipFill rotWithShape="1">
          <a:blip r:embed="rId8"/>
          <a:srcRect r="29093"/>
          <a:stretch/>
        </p:blipFill>
        <p:spPr>
          <a:xfrm>
            <a:off x="2975393" y="2035534"/>
            <a:ext cx="1598162" cy="2008021"/>
          </a:xfrm>
          <a:prstGeom prst="rect">
            <a:avLst/>
          </a:prstGeom>
          <a:solidFill>
            <a:schemeClr val="bg2"/>
          </a:solidFill>
          <a:ln>
            <a:noFill/>
          </a:ln>
        </p:spPr>
      </p:pic>
      <p:pic>
        <p:nvPicPr>
          <p:cNvPr id="17" name="table">
            <a:extLst>
              <a:ext uri="{FF2B5EF4-FFF2-40B4-BE49-F238E27FC236}">
                <a16:creationId xmlns:a16="http://schemas.microsoft.com/office/drawing/2014/main" id="{794080B0-EB9A-4141-9C44-B367CBE81A42}"/>
              </a:ext>
            </a:extLst>
          </p:cNvPr>
          <p:cNvPicPr>
            <a:picLocks noChangeAspect="1"/>
          </p:cNvPicPr>
          <p:nvPr/>
        </p:nvPicPr>
        <p:blipFill rotWithShape="1">
          <a:blip r:embed="rId9"/>
          <a:srcRect r="29836"/>
          <a:stretch/>
        </p:blipFill>
        <p:spPr>
          <a:xfrm>
            <a:off x="9931158" y="2029673"/>
            <a:ext cx="1581434" cy="2253901"/>
          </a:xfrm>
          <a:prstGeom prst="rect">
            <a:avLst/>
          </a:prstGeom>
          <a:noFill/>
          <a:ln>
            <a:noFill/>
          </a:ln>
        </p:spPr>
      </p:pic>
      <p:pic>
        <p:nvPicPr>
          <p:cNvPr id="19" name="table">
            <a:extLst>
              <a:ext uri="{FF2B5EF4-FFF2-40B4-BE49-F238E27FC236}">
                <a16:creationId xmlns:a16="http://schemas.microsoft.com/office/drawing/2014/main" id="{67D53B80-D67D-4F6B-AF4D-8AFF5031A8A7}"/>
              </a:ext>
            </a:extLst>
          </p:cNvPr>
          <p:cNvPicPr>
            <a:picLocks noChangeAspect="1"/>
          </p:cNvPicPr>
          <p:nvPr/>
        </p:nvPicPr>
        <p:blipFill rotWithShape="1">
          <a:blip r:embed="rId10"/>
          <a:srcRect r="30190"/>
          <a:stretch/>
        </p:blipFill>
        <p:spPr>
          <a:xfrm>
            <a:off x="8195757" y="4538812"/>
            <a:ext cx="1573450" cy="1885082"/>
          </a:xfrm>
          <a:prstGeom prst="rect">
            <a:avLst/>
          </a:prstGeom>
          <a:solidFill>
            <a:schemeClr val="bg2"/>
          </a:solidFill>
          <a:ln>
            <a:noFill/>
          </a:ln>
        </p:spPr>
      </p:pic>
      <p:pic>
        <p:nvPicPr>
          <p:cNvPr id="21" name="table">
            <a:extLst>
              <a:ext uri="{FF2B5EF4-FFF2-40B4-BE49-F238E27FC236}">
                <a16:creationId xmlns:a16="http://schemas.microsoft.com/office/drawing/2014/main" id="{7B9D0544-75D7-4A18-859C-FDC3FDCDFDC6}"/>
              </a:ext>
            </a:extLst>
          </p:cNvPr>
          <p:cNvPicPr>
            <a:picLocks noChangeAspect="1"/>
          </p:cNvPicPr>
          <p:nvPr/>
        </p:nvPicPr>
        <p:blipFill rotWithShape="1">
          <a:blip r:embed="rId11"/>
          <a:srcRect r="29095"/>
          <a:stretch/>
        </p:blipFill>
        <p:spPr>
          <a:xfrm>
            <a:off x="6445144" y="4532951"/>
            <a:ext cx="1598134" cy="2008021"/>
          </a:xfrm>
          <a:prstGeom prst="rect">
            <a:avLst/>
          </a:prstGeom>
          <a:solidFill>
            <a:schemeClr val="bg2"/>
          </a:solidFill>
          <a:ln>
            <a:noFill/>
          </a:ln>
        </p:spPr>
      </p:pic>
      <p:pic>
        <p:nvPicPr>
          <p:cNvPr id="23" name="table">
            <a:extLst>
              <a:ext uri="{FF2B5EF4-FFF2-40B4-BE49-F238E27FC236}">
                <a16:creationId xmlns:a16="http://schemas.microsoft.com/office/drawing/2014/main" id="{1F6FCCC7-CA3A-4356-8D00-77CE661E8A68}"/>
              </a:ext>
            </a:extLst>
          </p:cNvPr>
          <p:cNvPicPr>
            <a:picLocks noChangeAspect="1"/>
          </p:cNvPicPr>
          <p:nvPr/>
        </p:nvPicPr>
        <p:blipFill rotWithShape="1">
          <a:blip r:embed="rId12"/>
          <a:srcRect r="29324"/>
          <a:stretch/>
        </p:blipFill>
        <p:spPr>
          <a:xfrm>
            <a:off x="4715577" y="4532951"/>
            <a:ext cx="1592972" cy="2130961"/>
          </a:xfrm>
          <a:prstGeom prst="rect">
            <a:avLst/>
          </a:prstGeom>
          <a:solidFill>
            <a:schemeClr val="bg2"/>
          </a:solidFill>
          <a:ln>
            <a:noFill/>
          </a:ln>
        </p:spPr>
      </p:pic>
      <p:pic>
        <p:nvPicPr>
          <p:cNvPr id="25" name="table">
            <a:extLst>
              <a:ext uri="{FF2B5EF4-FFF2-40B4-BE49-F238E27FC236}">
                <a16:creationId xmlns:a16="http://schemas.microsoft.com/office/drawing/2014/main" id="{CDD2904A-3D8F-4959-A962-6AFC9EAA6F4C}"/>
              </a:ext>
            </a:extLst>
          </p:cNvPr>
          <p:cNvPicPr>
            <a:picLocks noChangeAspect="1"/>
          </p:cNvPicPr>
          <p:nvPr/>
        </p:nvPicPr>
        <p:blipFill rotWithShape="1">
          <a:blip r:embed="rId13"/>
          <a:srcRect r="29093"/>
          <a:stretch/>
        </p:blipFill>
        <p:spPr>
          <a:xfrm>
            <a:off x="1236392" y="4532951"/>
            <a:ext cx="1598162" cy="1885082"/>
          </a:xfrm>
          <a:prstGeom prst="rect">
            <a:avLst/>
          </a:prstGeom>
          <a:solidFill>
            <a:schemeClr val="bg2"/>
          </a:solidFill>
          <a:ln>
            <a:noFill/>
          </a:ln>
        </p:spPr>
      </p:pic>
      <p:pic>
        <p:nvPicPr>
          <p:cNvPr id="27" name="table">
            <a:extLst>
              <a:ext uri="{FF2B5EF4-FFF2-40B4-BE49-F238E27FC236}">
                <a16:creationId xmlns:a16="http://schemas.microsoft.com/office/drawing/2014/main" id="{98628883-32A6-4B74-88D0-FD029E50DAF2}"/>
              </a:ext>
            </a:extLst>
          </p:cNvPr>
          <p:cNvPicPr>
            <a:picLocks noChangeAspect="1"/>
          </p:cNvPicPr>
          <p:nvPr/>
        </p:nvPicPr>
        <p:blipFill rotWithShape="1">
          <a:blip r:embed="rId14"/>
          <a:srcRect r="29093"/>
          <a:stretch/>
        </p:blipFill>
        <p:spPr>
          <a:xfrm>
            <a:off x="2975392" y="4538812"/>
            <a:ext cx="1598162" cy="2008021"/>
          </a:xfrm>
          <a:prstGeom prst="rect">
            <a:avLst/>
          </a:prstGeom>
          <a:solidFill>
            <a:schemeClr val="bg2"/>
          </a:solidFill>
          <a:ln>
            <a:noFill/>
          </a:ln>
        </p:spPr>
      </p:pic>
      <p:pic>
        <p:nvPicPr>
          <p:cNvPr id="29" name="table">
            <a:extLst>
              <a:ext uri="{FF2B5EF4-FFF2-40B4-BE49-F238E27FC236}">
                <a16:creationId xmlns:a16="http://schemas.microsoft.com/office/drawing/2014/main" id="{213E6893-E3F4-4847-96D6-3C4EC0B9E86D}"/>
              </a:ext>
            </a:extLst>
          </p:cNvPr>
          <p:cNvPicPr>
            <a:picLocks noChangeAspect="1"/>
          </p:cNvPicPr>
          <p:nvPr/>
        </p:nvPicPr>
        <p:blipFill rotWithShape="1">
          <a:blip r:embed="rId15"/>
          <a:srcRect r="28970"/>
          <a:stretch/>
        </p:blipFill>
        <p:spPr>
          <a:xfrm>
            <a:off x="9911663" y="4532951"/>
            <a:ext cx="1600929" cy="2253901"/>
          </a:xfrm>
          <a:prstGeom prst="rect">
            <a:avLst/>
          </a:prstGeom>
          <a:solidFill>
            <a:schemeClr val="bg2"/>
          </a:solidFill>
          <a:ln>
            <a:noFill/>
          </a:ln>
        </p:spPr>
      </p:pic>
      <p:cxnSp>
        <p:nvCxnSpPr>
          <p:cNvPr id="31" name="Straight Connector 30">
            <a:extLst>
              <a:ext uri="{FF2B5EF4-FFF2-40B4-BE49-F238E27FC236}">
                <a16:creationId xmlns:a16="http://schemas.microsoft.com/office/drawing/2014/main" id="{BD3D6D96-795B-4DD5-99F5-0300A2EFF28F}"/>
              </a:ext>
            </a:extLst>
          </p:cNvPr>
          <p:cNvCxnSpPr>
            <a:cxnSpLocks/>
          </p:cNvCxnSpPr>
          <p:nvPr/>
        </p:nvCxnSpPr>
        <p:spPr>
          <a:xfrm>
            <a:off x="1230531" y="2108748"/>
            <a:ext cx="5052662" cy="4429212"/>
          </a:xfrm>
          <a:prstGeom prst="line">
            <a:avLst/>
          </a:prstGeom>
          <a:ln w="8890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BE68F09-6456-48E5-B74E-0F559B471E4B}"/>
              </a:ext>
            </a:extLst>
          </p:cNvPr>
          <p:cNvCxnSpPr>
            <a:cxnSpLocks/>
          </p:cNvCxnSpPr>
          <p:nvPr/>
        </p:nvCxnSpPr>
        <p:spPr>
          <a:xfrm flipV="1">
            <a:off x="1236392" y="2108748"/>
            <a:ext cx="5066296" cy="4309285"/>
          </a:xfrm>
          <a:prstGeom prst="line">
            <a:avLst/>
          </a:prstGeom>
          <a:ln w="88900">
            <a:solidFill>
              <a:srgbClr val="D83B0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4" name="Diagram 43">
            <a:extLst>
              <a:ext uri="{FF2B5EF4-FFF2-40B4-BE49-F238E27FC236}">
                <a16:creationId xmlns:a16="http://schemas.microsoft.com/office/drawing/2014/main" id="{384CBD12-E74F-4655-9F0C-3DB3990125C0}"/>
              </a:ext>
            </a:extLst>
          </p:cNvPr>
          <p:cNvGraphicFramePr/>
          <p:nvPr>
            <p:extLst>
              <p:ext uri="{D42A27DB-BD31-4B8C-83A1-F6EECF244321}">
                <p14:modId xmlns:p14="http://schemas.microsoft.com/office/powerpoint/2010/main" val="4092396979"/>
              </p:ext>
            </p:extLst>
          </p:nvPr>
        </p:nvGraphicFramePr>
        <p:xfrm>
          <a:off x="863707" y="913888"/>
          <a:ext cx="2821853" cy="85261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6" name="Freeform: Shape 5">
            <a:extLst>
              <a:ext uri="{FF2B5EF4-FFF2-40B4-BE49-F238E27FC236}">
                <a16:creationId xmlns:a16="http://schemas.microsoft.com/office/drawing/2014/main" id="{F3B920B4-A72D-2C5D-B789-9811E468632A}"/>
              </a:ext>
            </a:extLst>
          </p:cNvPr>
          <p:cNvSpPr/>
          <p:nvPr/>
        </p:nvSpPr>
        <p:spPr>
          <a:xfrm>
            <a:off x="1230532" y="931181"/>
            <a:ext cx="4730000" cy="851779"/>
          </a:xfrm>
          <a:custGeom>
            <a:avLst/>
            <a:gdLst>
              <a:gd name="connsiteX0" fmla="*/ 0 w 2773947"/>
              <a:gd name="connsiteY0" fmla="*/ 0 h 851779"/>
              <a:gd name="connsiteX1" fmla="*/ 2348058 w 2773947"/>
              <a:gd name="connsiteY1" fmla="*/ 0 h 851779"/>
              <a:gd name="connsiteX2" fmla="*/ 2773947 w 2773947"/>
              <a:gd name="connsiteY2" fmla="*/ 425890 h 851779"/>
              <a:gd name="connsiteX3" fmla="*/ 2348058 w 2773947"/>
              <a:gd name="connsiteY3" fmla="*/ 851779 h 851779"/>
              <a:gd name="connsiteX4" fmla="*/ 0 w 2773947"/>
              <a:gd name="connsiteY4" fmla="*/ 851779 h 851779"/>
              <a:gd name="connsiteX5" fmla="*/ 425890 w 2773947"/>
              <a:gd name="connsiteY5" fmla="*/ 425890 h 851779"/>
              <a:gd name="connsiteX6" fmla="*/ 0 w 2773947"/>
              <a:gd name="connsiteY6" fmla="*/ 0 h 851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3947" h="851779">
                <a:moveTo>
                  <a:pt x="0" y="0"/>
                </a:moveTo>
                <a:lnTo>
                  <a:pt x="2348058" y="0"/>
                </a:lnTo>
                <a:lnTo>
                  <a:pt x="2773947" y="425890"/>
                </a:lnTo>
                <a:lnTo>
                  <a:pt x="2348058" y="851779"/>
                </a:lnTo>
                <a:lnTo>
                  <a:pt x="0" y="851779"/>
                </a:lnTo>
                <a:lnTo>
                  <a:pt x="425890" y="425890"/>
                </a:lnTo>
                <a:lnTo>
                  <a:pt x="0" y="0"/>
                </a:lnTo>
                <a:close/>
              </a:path>
            </a:pathLst>
          </a:custGeom>
          <a:solidFill>
            <a:schemeClr val="accent3">
              <a:lumMod val="75000"/>
            </a:schemeClr>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456370" tIns="15240" rIns="425889" bIns="15240" numCol="1" spcCol="1270" anchor="ctr" anchorCtr="0">
            <a:noAutofit/>
          </a:bodyPr>
          <a:lstStyle/>
          <a:p>
            <a:pPr marL="0" lvl="0" indent="0" algn="ctr" defTabSz="1066800">
              <a:lnSpc>
                <a:spcPct val="90000"/>
              </a:lnSpc>
              <a:spcBef>
                <a:spcPct val="0"/>
              </a:spcBef>
              <a:spcAft>
                <a:spcPct val="35000"/>
              </a:spcAft>
              <a:buNone/>
            </a:pPr>
            <a:r>
              <a:rPr lang="en-US" sz="2400" kern="1200" dirty="0"/>
              <a:t>Results</a:t>
            </a:r>
          </a:p>
        </p:txBody>
      </p:sp>
      <p:cxnSp>
        <p:nvCxnSpPr>
          <p:cNvPr id="46" name="Straight Connector 45">
            <a:extLst>
              <a:ext uri="{FF2B5EF4-FFF2-40B4-BE49-F238E27FC236}">
                <a16:creationId xmlns:a16="http://schemas.microsoft.com/office/drawing/2014/main" id="{0DC18549-3E32-43EA-9713-354553F55D55}"/>
              </a:ext>
            </a:extLst>
          </p:cNvPr>
          <p:cNvCxnSpPr>
            <a:cxnSpLocks/>
          </p:cNvCxnSpPr>
          <p:nvPr/>
        </p:nvCxnSpPr>
        <p:spPr>
          <a:xfrm>
            <a:off x="1258889" y="4641272"/>
            <a:ext cx="10253703" cy="1896688"/>
          </a:xfrm>
          <a:prstGeom prst="line">
            <a:avLst/>
          </a:prstGeom>
          <a:ln w="889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D92CDC8-2DB8-4F42-AF77-A14FB1D3A2E3}"/>
              </a:ext>
            </a:extLst>
          </p:cNvPr>
          <p:cNvCxnSpPr>
            <a:cxnSpLocks/>
          </p:cNvCxnSpPr>
          <p:nvPr/>
        </p:nvCxnSpPr>
        <p:spPr>
          <a:xfrm flipV="1">
            <a:off x="1258889" y="4641273"/>
            <a:ext cx="10277474" cy="1896687"/>
          </a:xfrm>
          <a:prstGeom prst="line">
            <a:avLst/>
          </a:prstGeom>
          <a:ln w="889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C56BAFD-21A4-4684-A374-C7FACD99CAD0}"/>
              </a:ext>
            </a:extLst>
          </p:cNvPr>
          <p:cNvSpPr txBox="1"/>
          <p:nvPr/>
        </p:nvSpPr>
        <p:spPr>
          <a:xfrm rot="17916099">
            <a:off x="-214164" y="2783452"/>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1</a:t>
            </a:r>
          </a:p>
        </p:txBody>
      </p:sp>
      <p:sp>
        <p:nvSpPr>
          <p:cNvPr id="55" name="TextBox 54">
            <a:extLst>
              <a:ext uri="{FF2B5EF4-FFF2-40B4-BE49-F238E27FC236}">
                <a16:creationId xmlns:a16="http://schemas.microsoft.com/office/drawing/2014/main" id="{4C4566B1-37E7-4E78-A785-6B5BD525DFE9}"/>
              </a:ext>
            </a:extLst>
          </p:cNvPr>
          <p:cNvSpPr txBox="1"/>
          <p:nvPr/>
        </p:nvSpPr>
        <p:spPr>
          <a:xfrm rot="17916099">
            <a:off x="-214164" y="5259128"/>
            <a:ext cx="1590204" cy="307777"/>
          </a:xfrm>
          <a:prstGeom prst="rect">
            <a:avLst/>
          </a:prstGeom>
          <a:noFill/>
        </p:spPr>
        <p:txBody>
          <a:bodyPr wrap="square" lIns="0" tIns="0" rIns="0" bIns="0" rtlCol="0">
            <a:spAutoFit/>
          </a:bodyPr>
          <a:lstStyle/>
          <a:p>
            <a:pPr algn="l"/>
            <a:r>
              <a:rPr lang="en-US" sz="2000">
                <a:gradFill>
                  <a:gsLst>
                    <a:gs pos="2917">
                      <a:schemeClr val="tx1"/>
                    </a:gs>
                    <a:gs pos="30000">
                      <a:schemeClr val="tx1"/>
                    </a:gs>
                  </a:gsLst>
                  <a:lin ang="5400000" scaled="0"/>
                </a:gradFill>
              </a:rPr>
              <a:t>Rowgroup # 2</a:t>
            </a:r>
          </a:p>
        </p:txBody>
      </p:sp>
      <p:sp>
        <p:nvSpPr>
          <p:cNvPr id="3" name="Rectangle 2">
            <a:extLst>
              <a:ext uri="{FF2B5EF4-FFF2-40B4-BE49-F238E27FC236}">
                <a16:creationId xmlns:a16="http://schemas.microsoft.com/office/drawing/2014/main" id="{5E823198-0CDA-A1F9-9868-56615DFCDFF2}"/>
              </a:ext>
            </a:extLst>
          </p:cNvPr>
          <p:cNvSpPr/>
          <p:nvPr/>
        </p:nvSpPr>
        <p:spPr bwMode="auto">
          <a:xfrm>
            <a:off x="6445144" y="1962833"/>
            <a:ext cx="5289656" cy="2320741"/>
          </a:xfrm>
          <a:prstGeom prst="rect">
            <a:avLst/>
          </a:prstGeom>
          <a:solidFill>
            <a:schemeClr val="accent3">
              <a:lumMod val="75000"/>
              <a:alpha val="6000"/>
            </a:schemeClr>
          </a:solidFill>
          <a:ln w="3810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2162303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D575BE-0FAF-4EE1-A942-6D2007C84718}"/>
              </a:ext>
            </a:extLst>
          </p:cNvPr>
          <p:cNvSpPr>
            <a:spLocks noGrp="1"/>
          </p:cNvSpPr>
          <p:nvPr>
            <p:ph type="title"/>
          </p:nvPr>
        </p:nvSpPr>
        <p:spPr>
          <a:xfrm>
            <a:off x="655638" y="320040"/>
            <a:ext cx="10880725" cy="923330"/>
          </a:xfrm>
        </p:spPr>
        <p:txBody>
          <a:bodyPr/>
          <a:lstStyle/>
          <a:p>
            <a:r>
              <a:rPr lang="en-US" dirty="0"/>
              <a:t>Poor Workloads for CCI</a:t>
            </a:r>
            <a:br>
              <a:rPr lang="en-US" dirty="0">
                <a:solidFill>
                  <a:srgbClr val="0078D7"/>
                </a:solidFill>
              </a:rPr>
            </a:br>
            <a:endParaRPr lang="en-US" dirty="0">
              <a:solidFill>
                <a:srgbClr val="0078D7"/>
              </a:solidFill>
            </a:endParaRPr>
          </a:p>
        </p:txBody>
      </p:sp>
      <p:graphicFrame>
        <p:nvGraphicFramePr>
          <p:cNvPr id="2" name="Content Placeholder 1">
            <a:extLst>
              <a:ext uri="{FF2B5EF4-FFF2-40B4-BE49-F238E27FC236}">
                <a16:creationId xmlns:a16="http://schemas.microsoft.com/office/drawing/2014/main" id="{B243F843-AA49-4A2C-B817-2439FBF3E0AB}"/>
              </a:ext>
            </a:extLst>
          </p:cNvPr>
          <p:cNvGraphicFramePr>
            <a:graphicFrameLocks noGrp="1"/>
          </p:cNvGraphicFramePr>
          <p:nvPr>
            <p:ph sz="half" idx="4294967295"/>
            <p:extLst>
              <p:ext uri="{D42A27DB-BD31-4B8C-83A1-F6EECF244321}">
                <p14:modId xmlns:p14="http://schemas.microsoft.com/office/powerpoint/2010/main" val="3401633300"/>
              </p:ext>
            </p:extLst>
          </p:nvPr>
        </p:nvGraphicFramePr>
        <p:xfrm>
          <a:off x="941387" y="1054327"/>
          <a:ext cx="10594975" cy="5295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228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wrap="square" anchor="t">
            <a:normAutofit/>
          </a:bodyPr>
          <a:lstStyle/>
          <a:p>
            <a:r>
              <a:rPr kumimoji="1" lang="en-US"/>
              <a:t>Batch Mode Processing</a:t>
            </a:r>
          </a:p>
        </p:txBody>
      </p:sp>
      <p:graphicFrame>
        <p:nvGraphicFramePr>
          <p:cNvPr id="7" name="Content Placeholder 2">
            <a:extLst>
              <a:ext uri="{FF2B5EF4-FFF2-40B4-BE49-F238E27FC236}">
                <a16:creationId xmlns:a16="http://schemas.microsoft.com/office/drawing/2014/main" id="{ABD57352-C2AF-419B-B8C3-FCD9744EE404}"/>
              </a:ext>
            </a:extLst>
          </p:cNvPr>
          <p:cNvGraphicFramePr/>
          <p:nvPr>
            <p:extLst>
              <p:ext uri="{D42A27DB-BD31-4B8C-83A1-F6EECF244321}">
                <p14:modId xmlns:p14="http://schemas.microsoft.com/office/powerpoint/2010/main" val="218017478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5177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ColumnStore Index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a:t>Measure the performance of rowstore indexes versus colunmstore indexes.</a:t>
            </a:r>
          </a:p>
          <a:p>
            <a:endParaRPr lang="en-US"/>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865064506"/>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Heap Struct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prstGeom prst="rect">
            <a:avLst/>
          </a:prstGeom>
        </p:spPr>
        <p:txBody>
          <a:bodyPr>
            <a:normAutofit/>
          </a:bodyPr>
          <a:lstStyle/>
          <a:p>
            <a:r>
              <a:rPr lang="en-US"/>
              <a:t>Heaps have one row in </a:t>
            </a:r>
            <a:r>
              <a:rPr lang="en-US">
                <a:solidFill>
                  <a:srgbClr val="107C10"/>
                </a:solidFill>
              </a:rPr>
              <a:t>sys</a:t>
            </a:r>
            <a:r>
              <a:rPr lang="en-US"/>
              <a:t>.</a:t>
            </a:r>
            <a:r>
              <a:rPr lang="en-US">
                <a:solidFill>
                  <a:srgbClr val="107C10"/>
                </a:solidFill>
              </a:rPr>
              <a:t>partitions</a:t>
            </a:r>
            <a:r>
              <a:rPr lang="en-US"/>
              <a:t>, with index_id = 0 for each partition used by the heap</a:t>
            </a:r>
          </a:p>
        </p:txBody>
      </p:sp>
      <p:pic>
        <p:nvPicPr>
          <p:cNvPr id="9" name="Content Placeholder 8">
            <a:extLst>
              <a:ext uri="{FF2B5EF4-FFF2-40B4-BE49-F238E27FC236}">
                <a16:creationId xmlns:a16="http://schemas.microsoft.com/office/drawing/2014/main" id="{C7689798-9D65-4F55-8F33-30A720234451}"/>
              </a:ext>
            </a:extLst>
          </p:cNvPr>
          <p:cNvPicPr>
            <a:picLocks noGrp="1" noChangeAspect="1"/>
          </p:cNvPicPr>
          <p:nvPr>
            <p:ph type="pic" sz="quarter" idx="22"/>
          </p:nvPr>
        </p:nvPicPr>
        <p:blipFill rotWithShape="1">
          <a:blip r:embed="rId3"/>
          <a:srcRect t="9434" b="9434"/>
          <a:stretch/>
        </p:blipFill>
        <p:spPr>
          <a:prstGeom prst="rect">
            <a:avLst/>
          </a:prstGeom>
          <a:noFill/>
        </p:spPr>
      </p:pic>
      <p:pic>
        <p:nvPicPr>
          <p:cNvPr id="5" name="Picture 4">
            <a:extLst>
              <a:ext uri="{FF2B5EF4-FFF2-40B4-BE49-F238E27FC236}">
                <a16:creationId xmlns:a16="http://schemas.microsoft.com/office/drawing/2014/main" id="{CA9BE8B1-2103-462D-9304-31D76C834B7F}"/>
              </a:ext>
            </a:extLst>
          </p:cNvPr>
          <p:cNvPicPr>
            <a:picLocks noChangeAspect="1"/>
          </p:cNvPicPr>
          <p:nvPr/>
        </p:nvPicPr>
        <p:blipFill rotWithShape="1">
          <a:blip r:embed="rId4"/>
          <a:srcRect r="2" b="8288"/>
          <a:stretch/>
        </p:blipFill>
        <p:spPr>
          <a:xfrm>
            <a:off x="6705853" y="2336418"/>
            <a:ext cx="4815269" cy="3113470"/>
          </a:xfrm>
          <a:prstGeom prst="rect">
            <a:avLst/>
          </a:prstGeom>
          <a:noFill/>
        </p:spPr>
      </p:pic>
    </p:spTree>
    <p:extLst>
      <p:ext uri="{BB962C8B-B14F-4D97-AF65-F5344CB8AC3E}">
        <p14:creationId xmlns:p14="http://schemas.microsoft.com/office/powerpoint/2010/main" val="23904243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625162211"/>
              </p:ext>
            </p:extLst>
          </p:nvPr>
        </p:nvGraphicFramePr>
        <p:xfrm>
          <a:off x="655638" y="1408114"/>
          <a:ext cx="10880725" cy="28521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4633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TIMING" val="|43.4|23.3|21.5"/>
</p:tagLst>
</file>

<file path=ppt/tags/tag47.xml><?xml version="1.0" encoding="utf-8"?>
<p:tagLst xmlns:a="http://schemas.openxmlformats.org/drawingml/2006/main" xmlns:r="http://schemas.openxmlformats.org/officeDocument/2006/relationships" xmlns:p="http://schemas.openxmlformats.org/presentationml/2006/main">
  <p:tag name="TIMING" val="|20.9|25.4"/>
</p:tagLst>
</file>

<file path=ppt/tags/tag48.xml><?xml version="1.0" encoding="utf-8"?>
<p:tagLst xmlns:a="http://schemas.openxmlformats.org/drawingml/2006/main" xmlns:r="http://schemas.openxmlformats.org/officeDocument/2006/relationships" xmlns:p="http://schemas.openxmlformats.org/presentationml/2006/main">
  <p:tag name="TIMING" val="|20.9|25.4"/>
</p:tagLst>
</file>

<file path=ppt/tags/tag49.xml><?xml version="1.0" encoding="utf-8"?>
<p:tagLst xmlns:a="http://schemas.openxmlformats.org/drawingml/2006/main" xmlns:r="http://schemas.openxmlformats.org/officeDocument/2006/relationships" xmlns:p="http://schemas.openxmlformats.org/presentationml/2006/main">
  <p:tag name="TIMING" val="|20.9|25.4"/>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TIMING" val="|20.9|25.4"/>
</p:tagLst>
</file>

<file path=ppt/tags/tag51.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3.xml><?xml version="1.0" encoding="utf-8"?>
<a:theme xmlns:a="http://schemas.openxmlformats.org/drawingml/2006/main" name="2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6.xml><?xml version="1.0" encoding="utf-8"?>
<a:theme xmlns:a="http://schemas.openxmlformats.org/drawingml/2006/main" name="2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8.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8CD4B627-EB12-4927-9A17-7D2AD8CB44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7C42A160-080E-4178-8FDB-B5422D4D778A}">
  <ds:schemaRefs>
    <ds:schemaRef ds:uri="Strauss.PersonalizationDefinition"/>
  </ds:schemaRefs>
</ds:datastoreItem>
</file>

<file path=customXml/itemProps11.xml><?xml version="1.0" encoding="utf-8"?>
<ds:datastoreItem xmlns:ds="http://schemas.openxmlformats.org/officeDocument/2006/customXml" ds:itemID="{9CFE9A22-C3CB-45B7-B365-FE59FD6BB66B}">
  <ds:schemaRefs>
    <ds:schemaRef ds:uri="Strauss.PersonalizationDefinition"/>
  </ds:schemaRefs>
</ds:datastoreItem>
</file>

<file path=customXml/itemProps12.xml><?xml version="1.0" encoding="utf-8"?>
<ds:datastoreItem xmlns:ds="http://schemas.openxmlformats.org/officeDocument/2006/customXml" ds:itemID="{FDF350C7-94E8-4D0F-AE22-38F437380DED}">
  <ds:schemaRefs>
    <ds:schemaRef ds:uri="Strauss.PersonalizationDefinition"/>
  </ds:schemaRefs>
</ds:datastoreItem>
</file>

<file path=customXml/itemProps13.xml><?xml version="1.0" encoding="utf-8"?>
<ds:datastoreItem xmlns:ds="http://schemas.openxmlformats.org/officeDocument/2006/customXml" ds:itemID="{5319EDF9-1291-4762-B099-14F0AC870E88}">
  <ds:schemaRefs>
    <ds:schemaRef ds:uri="Strauss.PersonalizationDefinition"/>
  </ds:schemaRefs>
</ds:datastoreItem>
</file>

<file path=customXml/itemProps14.xml><?xml version="1.0" encoding="utf-8"?>
<ds:datastoreItem xmlns:ds="http://schemas.openxmlformats.org/officeDocument/2006/customXml" ds:itemID="{4C04CDDE-2D6B-4F45-8A75-E18007E562B8}">
  <ds:schemaRefs>
    <ds:schemaRef ds:uri="Strauss.PersonalizationDefinition"/>
  </ds:schemaRefs>
</ds:datastoreItem>
</file>

<file path=customXml/itemProps15.xml><?xml version="1.0" encoding="utf-8"?>
<ds:datastoreItem xmlns:ds="http://schemas.openxmlformats.org/officeDocument/2006/customXml" ds:itemID="{35A184F6-9A4D-432E-BD2E-8543C142498D}">
  <ds:schemaRefs>
    <ds:schemaRef ds:uri="Strauss.PersonalizationDefinition"/>
  </ds:schemaRefs>
</ds:datastoreItem>
</file>

<file path=customXml/itemProps2.xml><?xml version="1.0" encoding="utf-8"?>
<ds:datastoreItem xmlns:ds="http://schemas.openxmlformats.org/officeDocument/2006/customXml" ds:itemID="{C5285313-F55F-42C2-BF9A-066CABB51CDB}">
  <ds:schemaRefs>
    <ds:schemaRef ds:uri="Strauss.PersonalizationDefinition"/>
  </ds:schemaRefs>
</ds:datastoreItem>
</file>

<file path=customXml/itemProps3.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4.xml><?xml version="1.0" encoding="utf-8"?>
<ds:datastoreItem xmlns:ds="http://schemas.openxmlformats.org/officeDocument/2006/customXml" ds:itemID="{8A4789B3-563F-4B20-AF11-A45A6247B950}">
  <ds:schemaRefs>
    <ds:schemaRef ds:uri="Strauss.PersonalizationDefinition"/>
  </ds:schemaRefs>
</ds:datastoreItem>
</file>

<file path=customXml/itemProps5.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6.xml><?xml version="1.0" encoding="utf-8"?>
<ds:datastoreItem xmlns:ds="http://schemas.openxmlformats.org/officeDocument/2006/customXml" ds:itemID="{CD086AF5-CCD3-41C8-B98A-2B159789D38E}">
  <ds:schemaRefs>
    <ds:schemaRef ds:uri="Strauss.PersonalizationDefinition"/>
  </ds:schemaRefs>
</ds:datastoreItem>
</file>

<file path=customXml/itemProps7.xml><?xml version="1.0" encoding="utf-8"?>
<ds:datastoreItem xmlns:ds="http://schemas.openxmlformats.org/officeDocument/2006/customXml" ds:itemID="{EBCC33FC-94BB-4B1D-A4C6-D2E6A3A4B1FD}">
  <ds:schemaRefs>
    <ds:schemaRef ds:uri="Strauss.PersonalizationDefinition"/>
  </ds:schemaRefs>
</ds:datastoreItem>
</file>

<file path=customXml/itemProps8.xml><?xml version="1.0" encoding="utf-8"?>
<ds:datastoreItem xmlns:ds="http://schemas.openxmlformats.org/officeDocument/2006/customXml" ds:itemID="{75C05EC8-D295-4080-807A-6EA8C339A657}">
  <ds:schemaRefs>
    <ds:schemaRef ds:uri="Strauss.PersonalizationDefinition"/>
  </ds:schemaRefs>
</ds:datastoreItem>
</file>

<file path=customXml/itemProps9.xml><?xml version="1.0" encoding="utf-8"?>
<ds:datastoreItem xmlns:ds="http://schemas.openxmlformats.org/officeDocument/2006/customXml" ds:itemID="{9EEC7FED-AC7D-45C9-8F29-C2C8A7233C3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2293</TotalTime>
  <Words>18757</Words>
  <Application>Microsoft Office PowerPoint</Application>
  <PresentationFormat>Widescreen</PresentationFormat>
  <Paragraphs>1811</Paragraphs>
  <Slides>91</Slides>
  <Notes>82</Notes>
  <HiddenSlides>1</HiddenSlides>
  <MMClips>0</MMClips>
  <ScaleCrop>false</ScaleCrop>
  <HeadingPairs>
    <vt:vector size="6" baseType="variant">
      <vt:variant>
        <vt:lpstr>Fonts Used</vt:lpstr>
      </vt:variant>
      <vt:variant>
        <vt:i4>14</vt:i4>
      </vt:variant>
      <vt:variant>
        <vt:lpstr>Theme</vt:lpstr>
      </vt:variant>
      <vt:variant>
        <vt:i4>7</vt:i4>
      </vt:variant>
      <vt:variant>
        <vt:lpstr>Slide Titles</vt:lpstr>
      </vt:variant>
      <vt:variant>
        <vt:i4>91</vt:i4>
      </vt:variant>
    </vt:vector>
  </HeadingPairs>
  <TitlesOfParts>
    <vt:vector size="112" baseType="lpstr">
      <vt:lpstr>&amp;quot</vt:lpstr>
      <vt:lpstr>Arial</vt:lpstr>
      <vt:lpstr>Calibri</vt:lpstr>
      <vt:lpstr>Calibri Light</vt:lpstr>
      <vt:lpstr>Century Gothic</vt:lpstr>
      <vt:lpstr>Comic Sans MS</vt:lpstr>
      <vt:lpstr>Consolas</vt:lpstr>
      <vt:lpstr>Courier New</vt:lpstr>
      <vt:lpstr>Lucida Console</vt:lpstr>
      <vt:lpstr>Open Sans</vt:lpstr>
      <vt:lpstr>Segoe UI</vt:lpstr>
      <vt:lpstr>Segoe UI Light</vt:lpstr>
      <vt:lpstr>Segoe UI Semibold</vt:lpstr>
      <vt:lpstr>Wingdings</vt:lpstr>
      <vt:lpstr>PASS 2013_SpeakerTemplate_Final</vt:lpstr>
      <vt:lpstr>WHITE TEMPLATE</vt:lpstr>
      <vt:lpstr>2_Dark Blue</vt:lpstr>
      <vt:lpstr>Workshop</vt:lpstr>
      <vt:lpstr>1_Workshop</vt:lpstr>
      <vt:lpstr>2_Workshop</vt:lpstr>
      <vt:lpstr>1_Dark Blue</vt:lpstr>
      <vt:lpstr>SQL Server Index Structure</vt:lpstr>
      <vt:lpstr>Learning Units covered in this Module</vt:lpstr>
      <vt:lpstr>Lesson 1: Index Internals </vt:lpstr>
      <vt:lpstr>Objectives</vt:lpstr>
      <vt:lpstr>What is an Index?</vt:lpstr>
      <vt:lpstr>What is SARGability?</vt:lpstr>
      <vt:lpstr>PowerPoint Presentation</vt:lpstr>
      <vt:lpstr>Heap</vt:lpstr>
      <vt:lpstr>Heap Structures</vt:lpstr>
      <vt:lpstr>Clustered Indexes</vt:lpstr>
      <vt:lpstr>Clustered Index Structure</vt:lpstr>
      <vt:lpstr>Demonstration</vt:lpstr>
      <vt:lpstr>Non-Clustered Indexes</vt:lpstr>
      <vt:lpstr>Non-Clustered Index Structure</vt:lpstr>
      <vt:lpstr>Clustered vs Nonclustered Indexes</vt:lpstr>
      <vt:lpstr>Bookmark Lookup or RID lookup </vt:lpstr>
      <vt:lpstr>Key Lookup </vt:lpstr>
      <vt:lpstr>Non-Clustered Index with Included Column </vt:lpstr>
      <vt:lpstr>Included columns for non-clustered indexes</vt:lpstr>
      <vt:lpstr>Demonstration</vt:lpstr>
      <vt:lpstr>Questions?</vt:lpstr>
      <vt:lpstr>Knowledge Check</vt:lpstr>
      <vt:lpstr>Lesson 2: Index Strategy</vt:lpstr>
      <vt:lpstr>Objectives</vt:lpstr>
      <vt:lpstr>Characteristics of a Good Clustering Key</vt:lpstr>
      <vt:lpstr>Best Practices for Clustered indexes</vt:lpstr>
      <vt:lpstr>Clustered Index vs Primary key considerations</vt:lpstr>
      <vt:lpstr>Non-Clustered Index Strategy</vt:lpstr>
      <vt:lpstr>Single Vs Multi-column indexes</vt:lpstr>
      <vt:lpstr>Multi-Column Indexing Access </vt:lpstr>
      <vt:lpstr>Multi-Column Indexing Access (Seek Predicates) </vt:lpstr>
      <vt:lpstr>Multi-Column Indexing Access (Scan Predicates) </vt:lpstr>
      <vt:lpstr>Demonstration</vt:lpstr>
      <vt:lpstr>Questions?</vt:lpstr>
      <vt:lpstr>Lesson 3: Partitioned Tables and Indexes</vt:lpstr>
      <vt:lpstr>Objectives</vt:lpstr>
      <vt:lpstr>What is Partitioning?</vt:lpstr>
      <vt:lpstr>Partitioning benefits</vt:lpstr>
      <vt:lpstr>Horizontal Partitioning</vt:lpstr>
      <vt:lpstr>Table Partitioning Concepts</vt:lpstr>
      <vt:lpstr>Aligned vs Non-aligned indexes</vt:lpstr>
      <vt:lpstr>Indexes on Partitioned Table</vt:lpstr>
      <vt:lpstr>Partitioned table and index sample</vt:lpstr>
      <vt:lpstr>Table Partitioning Operations</vt:lpstr>
      <vt:lpstr>Demonstration</vt:lpstr>
      <vt:lpstr>SQL Server Partitioning</vt:lpstr>
      <vt:lpstr>Questions?</vt:lpstr>
      <vt:lpstr>Knowledge Check</vt:lpstr>
      <vt:lpstr>Lesson 4: Index Monitoring and Fragmentation</vt:lpstr>
      <vt:lpstr>Objectives</vt:lpstr>
      <vt:lpstr>Why to monitor Index usage</vt:lpstr>
      <vt:lpstr>Clustered Index usage patterns</vt:lpstr>
      <vt:lpstr>Non-Clustered Index usage patterns</vt:lpstr>
      <vt:lpstr>sys.dm_db_index_usage_stats</vt:lpstr>
      <vt:lpstr>sys.dm_db_index_operational_stats </vt:lpstr>
      <vt:lpstr>sys.dm_db_index_physical_stats </vt:lpstr>
      <vt:lpstr>Fragmentation</vt:lpstr>
      <vt:lpstr>Page splits</vt:lpstr>
      <vt:lpstr>Page Splits</vt:lpstr>
      <vt:lpstr>Read-Ahead Scans</vt:lpstr>
      <vt:lpstr>SQL Index Fragmentation and Maintenance options</vt:lpstr>
      <vt:lpstr>Fill Factor</vt:lpstr>
      <vt:lpstr>Reducing fragmentation</vt:lpstr>
      <vt:lpstr>Missing Index Recommendations</vt:lpstr>
      <vt:lpstr>Choosing Indexes </vt:lpstr>
      <vt:lpstr>Demonstration</vt:lpstr>
      <vt:lpstr>Index Maintenance</vt:lpstr>
      <vt:lpstr>Questions?</vt:lpstr>
      <vt:lpstr>Knowledge Check</vt:lpstr>
      <vt:lpstr>Lesson 5: Columnstore Indexes</vt:lpstr>
      <vt:lpstr>Objectives</vt:lpstr>
      <vt:lpstr>Rowstore INDEX design</vt:lpstr>
      <vt:lpstr>RowStore vs ColumnStore</vt:lpstr>
      <vt:lpstr>Rowstore vs Columnstore Tables </vt:lpstr>
      <vt:lpstr>Columnstore Index Concept </vt:lpstr>
      <vt:lpstr>Row Groups &amp; Segments</vt:lpstr>
      <vt:lpstr>Columnstore Index Types</vt:lpstr>
      <vt:lpstr>Columnstore Index Types</vt:lpstr>
      <vt:lpstr>Delta Store</vt:lpstr>
      <vt:lpstr>Small DML Against the Column Store</vt:lpstr>
      <vt:lpstr>Segment Elimination</vt:lpstr>
      <vt:lpstr>Segment / RowGroup Elimination</vt:lpstr>
      <vt:lpstr>Segment / RowGroup Elimination</vt:lpstr>
      <vt:lpstr>Segment / RowGroup Elimination</vt:lpstr>
      <vt:lpstr>Segment / RowGroup Elimination</vt:lpstr>
      <vt:lpstr>Poor Workloads for CCI </vt:lpstr>
      <vt:lpstr>Batch Mode Processing</vt:lpstr>
      <vt:lpstr>ColumnStore Index Performance</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Index Structure</dc:title>
  <dc:creator>boB Taylor</dc:creator>
  <cp:lastModifiedBy>John Deardurff</cp:lastModifiedBy>
  <cp:revision>62</cp:revision>
  <dcterms:created xsi:type="dcterms:W3CDTF">2020-03-17T15:54:44Z</dcterms:created>
  <dcterms:modified xsi:type="dcterms:W3CDTF">2023-04-05T16:0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